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4"/>
  </p:sldMasterIdLst>
  <p:notesMasterIdLst>
    <p:notesMasterId r:id="rId29"/>
  </p:notesMasterIdLst>
  <p:sldIdLst>
    <p:sldId id="276" r:id="rId5"/>
    <p:sldId id="2147374563" r:id="rId6"/>
    <p:sldId id="2147374564" r:id="rId7"/>
    <p:sldId id="2134804957" r:id="rId8"/>
    <p:sldId id="5950" r:id="rId9"/>
    <p:sldId id="5951" r:id="rId10"/>
    <p:sldId id="5952" r:id="rId11"/>
    <p:sldId id="5978" r:id="rId12"/>
    <p:sldId id="2147374471" r:id="rId13"/>
    <p:sldId id="2147374567" r:id="rId14"/>
    <p:sldId id="5958" r:id="rId15"/>
    <p:sldId id="2147374571" r:id="rId16"/>
    <p:sldId id="2134804958" r:id="rId17"/>
    <p:sldId id="2134804959" r:id="rId18"/>
    <p:sldId id="5962" r:id="rId19"/>
    <p:sldId id="5963" r:id="rId20"/>
    <p:sldId id="2147374565" r:id="rId21"/>
    <p:sldId id="2147374572" r:id="rId22"/>
    <p:sldId id="5970" r:id="rId23"/>
    <p:sldId id="2147374573" r:id="rId24"/>
    <p:sldId id="5974" r:id="rId25"/>
    <p:sldId id="5977" r:id="rId26"/>
    <p:sldId id="2134804947" r:id="rId27"/>
    <p:sldId id="2134804952" r:id="rId28"/>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013D9C-5349-4E0E-9123-9E385B4FC9CB}">
          <p14:sldIdLst>
            <p14:sldId id="276"/>
            <p14:sldId id="2147374563"/>
            <p14:sldId id="2147374564"/>
          </p14:sldIdLst>
        </p14:section>
        <p14:section name="Classification and prevalance" id="{A78AA130-72A2-45BD-952B-02D13D63386B}">
          <p14:sldIdLst>
            <p14:sldId id="2134804957"/>
            <p14:sldId id="5950"/>
            <p14:sldId id="5951"/>
            <p14:sldId id="5952"/>
            <p14:sldId id="5978"/>
            <p14:sldId id="2147374471"/>
          </p14:sldIdLst>
        </p14:section>
        <p14:section name="Etiology and risk factors" id="{9C11499D-21AC-47E5-AE73-5C4700E5336E}">
          <p14:sldIdLst>
            <p14:sldId id="2147374567"/>
            <p14:sldId id="5958"/>
            <p14:sldId id="2147374571"/>
            <p14:sldId id="2134804958"/>
          </p14:sldIdLst>
        </p14:section>
        <p14:section name="Prevention and management" id="{90E3E912-AF1E-4CD5-8F68-C937F377998E}">
          <p14:sldIdLst>
            <p14:sldId id="2134804959"/>
            <p14:sldId id="5962"/>
            <p14:sldId id="5963"/>
            <p14:sldId id="2147374565"/>
            <p14:sldId id="2147374572"/>
            <p14:sldId id="5970"/>
            <p14:sldId id="2147374573"/>
            <p14:sldId id="5974"/>
            <p14:sldId id="5977"/>
          </p14:sldIdLst>
        </p14:section>
        <p14:section name="Key takeaways" id="{536CA960-AF25-4B0B-BAE4-54659AB395CC}">
          <p14:sldIdLst>
            <p14:sldId id="2134804947"/>
            <p14:sldId id="2134804952"/>
          </p14:sldIdLst>
        </p14:section>
      </p14:sectionLst>
    </p:ext>
    <p:ext uri="{EFAFB233-063F-42B5-8137-9DF3F51BA10A}">
      <p15:sldGuideLst xmlns:p15="http://schemas.microsoft.com/office/powerpoint/2012/main">
        <p15:guide id="8" pos="336" userDrawn="1">
          <p15:clr>
            <a:srgbClr val="A4A3A4"/>
          </p15:clr>
        </p15:guide>
        <p15:guide id="10" orient="horz" pos="232" userDrawn="1">
          <p15:clr>
            <a:srgbClr val="A4A3A4"/>
          </p15:clr>
        </p15:guide>
        <p15:guide id="13" pos="7320" userDrawn="1">
          <p15:clr>
            <a:srgbClr val="A4A3A4"/>
          </p15:clr>
        </p15:guide>
        <p15:guide id="14" pos="384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7E4C12-938B-0A7B-4C64-3D83C0D79B4A}" name="LDTS (Lauren Self)" initials="LS" userId="S::ldts@novonordisk.com::c7a98653-8b81-43d7-872d-392454deb22b" providerId="AD"/>
  <p188:author id="{806AC013-869C-B6EB-DCAC-53190E5C176A}" name="O'Llenecia Walker" initials="OW" userId="S::owalker@sixdegreesmed.com::04887c83-c392-4689-abfd-e284f8142aeb" providerId="AD"/>
  <p188:author id="{30D2AF1C-972C-331F-4446-0D38A947512A}" name="Sally Johnson-Majewski" initials="SJM" userId="Sally Johnson-Majewski" providerId="None"/>
  <p188:author id="{BDB94521-57F1-29B4-4240-578F34024B2B}" name="Martha Downen" initials="MD" userId="S::martha@downenconsults.com::72ea58f5-a10c-443d-bdc1-dd7dddb558b6" providerId="AD"/>
  <p188:author id="{4FB6B23C-2DE5-4E5F-7817-723DFFC851D3}" name="CIR (Cindy Rockoff)" initials="C(R" userId="S::CIR@novonordisk.com::4625a6b0-1628-469a-af8c-a3929d32e6d3" providerId="AD"/>
  <p188:author id="{8065794B-1C42-C3EA-3DA3-523D35A5E89F}" name="mwcollabllc@gmail.com" initials="mw" userId="S::urn:spo:guest#mwcollabllc@gmail.com::" providerId="AD"/>
  <p188:author id="{473D5053-9AFB-3D66-95E5-FC4E6E84D316}" name="cornier@musc.edu" initials="co" userId="S::urn:spo:guest#cornier@musc.edu::" providerId="AD"/>
  <p188:author id="{95582667-6102-27E7-ED8E-01A166EB4B6B}" name="Guest User" initials="GU" userId="Guest User" providerId="Windows Live"/>
  <p188:author id="{5681AC69-2D96-BD7A-58A4-AF57D8298DE7}" name="BRSZ (Gabriel Smolarz)" initials="BS" userId="S::brsz_novonordisk.com#ext#@sixdegreesmed.com::fe3a2788-a25e-430b-ab55-086b4040e359" providerId="AD"/>
  <p188:author id="{53FB578E-439B-66BB-018F-8A201732EE8D}" name="LT (GS)" initials="LT" userId="LT (GS)" providerId="None"/>
  <p188:author id="{AD746296-9BAD-8EAB-FC46-97D0808E8ACD}" name="Robin Edwards" initials="RE" userId="275a01684d148080" providerId="Windows Live"/>
  <p188:author id="{DBC5319F-8119-722E-99E2-C96E7E0C77CE}" name="Nikta Tamashekan" initials="NT" userId="Nikta Tamashekan" providerId="None"/>
  <p188:author id="{660B61A7-3A8D-B6B9-3D5E-57B26B7F5813}" name="Six Degrees Medical " initials="SDM" userId="Six Degrees Medical " providerId="None"/>
  <p188:author id="{E260DECF-5D16-C129-D53D-9510B96293D3}" name="Melissa Lohmann" initials="ML" userId="1ab7e9b8f9dc23b1" providerId="Windows Live"/>
  <p188:author id="{C38856D3-27A9-77F2-4676-840C3EB4FE90}" name="jtir@novonordisk.com" initials="jt" userId="S::urn:spo:guest#jtir@novonordisk.com::" providerId="AD"/>
  <p188:author id="{64D27CD9-29A8-C8CE-4F62-F40238EC0EC6}" name="Alison Terry" initials="AT" userId="813caf1177b3a882" providerId="Windows Live"/>
  <p188:author id="{43A959E2-2DDD-0507-DF1B-159094AA8C69}" name="LT" initials="LT" userId="LT" providerId="None"/>
  <p188:author id="{F12158E4-1962-E187-B8D7-238C4D79B815}" name="sally.majewski@hotmail.com" initials="sa" userId="S::urn:spo:guest#sally.majewski@hotmail.com::" providerId="AD"/>
  <p188:author id="{C71BF0EF-F165-52C9-45C1-5E73B47E4C7C}" name="BRSZ (Gabriel Smolarz)" initials="B(S" userId="S::BRSZ@novonordisk.com::0bb70a97-6657-4730-aa20-f334c76ea3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965"/>
    <a:srgbClr val="545251"/>
    <a:srgbClr val="005AD2"/>
    <a:srgbClr val="ED7D31"/>
    <a:srgbClr val="66687B"/>
    <a:srgbClr val="5B9BD5"/>
    <a:srgbClr val="FFFFFF"/>
    <a:srgbClr val="2A918B"/>
    <a:srgbClr val="27B0BB"/>
    <a:srgbClr val="FE9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579"/>
    <p:restoredTop sz="79923" autoAdjust="0"/>
  </p:normalViewPr>
  <p:slideViewPr>
    <p:cSldViewPr snapToGrid="0">
      <p:cViewPr varScale="1">
        <p:scale>
          <a:sx n="77" d="100"/>
          <a:sy n="77" d="100"/>
        </p:scale>
        <p:origin x="1000" y="280"/>
      </p:cViewPr>
      <p:guideLst>
        <p:guide pos="336"/>
        <p:guide orient="horz" pos="232"/>
        <p:guide pos="7320"/>
        <p:guide pos="3840"/>
      </p:guideLst>
    </p:cSldViewPr>
  </p:slideViewPr>
  <p:notesTextViewPr>
    <p:cViewPr>
      <p:scale>
        <a:sx n="1" d="1"/>
        <a:sy n="1" d="1"/>
      </p:scale>
      <p:origin x="0" y="0"/>
    </p:cViewPr>
  </p:notesTextViewPr>
  <p:sorterViewPr>
    <p:cViewPr>
      <p:scale>
        <a:sx n="100" d="100"/>
        <a:sy n="100" d="100"/>
      </p:scale>
      <p:origin x="0" y="-4956"/>
    </p:cViewPr>
  </p:sorterViewPr>
  <p:notesViewPr>
    <p:cSldViewPr snapToGrid="0">
      <p:cViewPr varScale="1">
        <p:scale>
          <a:sx n="81" d="100"/>
          <a:sy n="81" d="100"/>
        </p:scale>
        <p:origin x="3260"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8/10/relationships/authors" Target="author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915026246719161E-2"/>
          <c:y val="4.5999646978231723E-2"/>
          <c:w val="0.78073290593629985"/>
          <c:h val="0.81733644473297018"/>
        </c:manualLayout>
      </c:layout>
      <c:lineChart>
        <c:grouping val="standard"/>
        <c:varyColors val="0"/>
        <c:ser>
          <c:idx val="0"/>
          <c:order val="0"/>
          <c:tx>
            <c:strRef>
              <c:f>Sheet1!$B$1</c:f>
              <c:strCache>
                <c:ptCount val="1"/>
                <c:pt idx="0">
                  <c:v>Series 1</c:v>
                </c:pt>
              </c:strCache>
            </c:strRef>
          </c:tx>
          <c:spPr>
            <a:ln w="28575" cap="rnd">
              <a:solidFill>
                <a:schemeClr val="tx1"/>
              </a:solidFill>
              <a:round/>
            </a:ln>
            <a:effectLst/>
          </c:spPr>
          <c:marker>
            <c:symbol val="none"/>
          </c:marker>
          <c:cat>
            <c:numRef>
              <c:f>Sheet1!$A$2:$A$16</c:f>
              <c:numCache>
                <c:formatCode>General</c:formatCode>
                <c:ptCount val="15"/>
                <c:pt idx="0">
                  <c:v>5</c:v>
                </c:pt>
                <c:pt idx="1">
                  <c:v>6</c:v>
                </c:pt>
                <c:pt idx="2">
                  <c:v>7</c:v>
                </c:pt>
                <c:pt idx="3">
                  <c:v>8</c:v>
                </c:pt>
                <c:pt idx="4">
                  <c:v>9</c:v>
                </c:pt>
                <c:pt idx="5">
                  <c:v>10</c:v>
                </c:pt>
                <c:pt idx="6">
                  <c:v>11</c:v>
                </c:pt>
                <c:pt idx="7">
                  <c:v>12</c:v>
                </c:pt>
                <c:pt idx="8">
                  <c:v>13</c:v>
                </c:pt>
                <c:pt idx="9">
                  <c:v>14</c:v>
                </c:pt>
                <c:pt idx="10">
                  <c:v>15</c:v>
                </c:pt>
                <c:pt idx="11">
                  <c:v>16</c:v>
                </c:pt>
                <c:pt idx="12">
                  <c:v>17</c:v>
                </c:pt>
                <c:pt idx="13">
                  <c:v>18</c:v>
                </c:pt>
                <c:pt idx="14">
                  <c:v>19</c:v>
                </c:pt>
              </c:numCache>
            </c:numRef>
          </c:cat>
          <c:val>
            <c:numRef>
              <c:f>Sheet1!$B$2:$B$16</c:f>
              <c:numCache>
                <c:formatCode>General</c:formatCode>
                <c:ptCount val="15"/>
                <c:pt idx="0">
                  <c:v>21.2</c:v>
                </c:pt>
                <c:pt idx="1">
                  <c:v>22.1</c:v>
                </c:pt>
                <c:pt idx="2">
                  <c:v>23.25</c:v>
                </c:pt>
                <c:pt idx="3">
                  <c:v>24.7</c:v>
                </c:pt>
                <c:pt idx="4">
                  <c:v>26.5</c:v>
                </c:pt>
                <c:pt idx="5">
                  <c:v>28.3</c:v>
                </c:pt>
                <c:pt idx="6">
                  <c:v>30.1</c:v>
                </c:pt>
                <c:pt idx="7">
                  <c:v>31.85</c:v>
                </c:pt>
                <c:pt idx="8">
                  <c:v>33.4</c:v>
                </c:pt>
                <c:pt idx="9">
                  <c:v>34.65</c:v>
                </c:pt>
                <c:pt idx="10">
                  <c:v>35.549999999999997</c:v>
                </c:pt>
                <c:pt idx="11">
                  <c:v>36.049999999999997</c:v>
                </c:pt>
                <c:pt idx="12">
                  <c:v>36.28</c:v>
                </c:pt>
                <c:pt idx="13">
                  <c:v>36.28</c:v>
                </c:pt>
                <c:pt idx="14">
                  <c:v>36.18</c:v>
                </c:pt>
              </c:numCache>
            </c:numRef>
          </c:val>
          <c:smooth val="1"/>
          <c:extLst>
            <c:ext xmlns:c16="http://schemas.microsoft.com/office/drawing/2014/chart" uri="{C3380CC4-5D6E-409C-BE32-E72D297353CC}">
              <c16:uniqueId val="{00000000-313F-4404-8B4E-92D536BC3080}"/>
            </c:ext>
          </c:extLst>
        </c:ser>
        <c:ser>
          <c:idx val="1"/>
          <c:order val="1"/>
          <c:tx>
            <c:strRef>
              <c:f>Sheet1!$C$1</c:f>
              <c:strCache>
                <c:ptCount val="1"/>
                <c:pt idx="0">
                  <c:v>Series 2</c:v>
                </c:pt>
              </c:strCache>
            </c:strRef>
          </c:tx>
          <c:spPr>
            <a:ln w="28575" cap="rnd">
              <a:solidFill>
                <a:schemeClr val="bg1">
                  <a:lumMod val="50000"/>
                </a:schemeClr>
              </a:solidFill>
              <a:round/>
            </a:ln>
            <a:effectLst/>
          </c:spPr>
          <c:marker>
            <c:symbol val="none"/>
          </c:marker>
          <c:cat>
            <c:numRef>
              <c:f>Sheet1!$A$2:$A$16</c:f>
              <c:numCache>
                <c:formatCode>General</c:formatCode>
                <c:ptCount val="15"/>
                <c:pt idx="0">
                  <c:v>5</c:v>
                </c:pt>
                <c:pt idx="1">
                  <c:v>6</c:v>
                </c:pt>
                <c:pt idx="2">
                  <c:v>7</c:v>
                </c:pt>
                <c:pt idx="3">
                  <c:v>8</c:v>
                </c:pt>
                <c:pt idx="4">
                  <c:v>9</c:v>
                </c:pt>
                <c:pt idx="5">
                  <c:v>10</c:v>
                </c:pt>
                <c:pt idx="6">
                  <c:v>11</c:v>
                </c:pt>
                <c:pt idx="7">
                  <c:v>12</c:v>
                </c:pt>
                <c:pt idx="8">
                  <c:v>13</c:v>
                </c:pt>
                <c:pt idx="9">
                  <c:v>14</c:v>
                </c:pt>
                <c:pt idx="10">
                  <c:v>15</c:v>
                </c:pt>
                <c:pt idx="11">
                  <c:v>16</c:v>
                </c:pt>
                <c:pt idx="12">
                  <c:v>17</c:v>
                </c:pt>
                <c:pt idx="13">
                  <c:v>18</c:v>
                </c:pt>
                <c:pt idx="14">
                  <c:v>19</c:v>
                </c:pt>
              </c:numCache>
            </c:numRef>
          </c:cat>
          <c:val>
            <c:numRef>
              <c:f>Sheet1!$C$2:$C$16</c:f>
              <c:numCache>
                <c:formatCode>General</c:formatCode>
                <c:ptCount val="15"/>
                <c:pt idx="0">
                  <c:v>18.8</c:v>
                </c:pt>
                <c:pt idx="1">
                  <c:v>19.2</c:v>
                </c:pt>
                <c:pt idx="2">
                  <c:v>19.8</c:v>
                </c:pt>
                <c:pt idx="3">
                  <c:v>20.5</c:v>
                </c:pt>
                <c:pt idx="4">
                  <c:v>21.5</c:v>
                </c:pt>
                <c:pt idx="5">
                  <c:v>22.55</c:v>
                </c:pt>
                <c:pt idx="6">
                  <c:v>23.7</c:v>
                </c:pt>
                <c:pt idx="7">
                  <c:v>24.95</c:v>
                </c:pt>
                <c:pt idx="8">
                  <c:v>26.2</c:v>
                </c:pt>
                <c:pt idx="9">
                  <c:v>27.3</c:v>
                </c:pt>
                <c:pt idx="10">
                  <c:v>28.22</c:v>
                </c:pt>
                <c:pt idx="11">
                  <c:v>28.85</c:v>
                </c:pt>
                <c:pt idx="12">
                  <c:v>29.3</c:v>
                </c:pt>
                <c:pt idx="13">
                  <c:v>29.5</c:v>
                </c:pt>
                <c:pt idx="14">
                  <c:v>29.65</c:v>
                </c:pt>
              </c:numCache>
            </c:numRef>
          </c:val>
          <c:smooth val="1"/>
          <c:extLst>
            <c:ext xmlns:c16="http://schemas.microsoft.com/office/drawing/2014/chart" uri="{C3380CC4-5D6E-409C-BE32-E72D297353CC}">
              <c16:uniqueId val="{00000001-313F-4404-8B4E-92D536BC3080}"/>
            </c:ext>
          </c:extLst>
        </c:ser>
        <c:ser>
          <c:idx val="2"/>
          <c:order val="2"/>
          <c:tx>
            <c:strRef>
              <c:f>Sheet1!$D$1</c:f>
              <c:strCache>
                <c:ptCount val="1"/>
                <c:pt idx="0">
                  <c:v>Series 3</c:v>
                </c:pt>
              </c:strCache>
            </c:strRef>
          </c:tx>
          <c:spPr>
            <a:ln w="28575" cap="rnd">
              <a:solidFill>
                <a:srgbClr val="00B0F0"/>
              </a:solidFill>
              <a:round/>
            </a:ln>
            <a:effectLst/>
          </c:spPr>
          <c:marker>
            <c:symbol val="none"/>
          </c:marker>
          <c:cat>
            <c:numRef>
              <c:f>Sheet1!$A$2:$A$16</c:f>
              <c:numCache>
                <c:formatCode>General</c:formatCode>
                <c:ptCount val="15"/>
                <c:pt idx="0">
                  <c:v>5</c:v>
                </c:pt>
                <c:pt idx="1">
                  <c:v>6</c:v>
                </c:pt>
                <c:pt idx="2">
                  <c:v>7</c:v>
                </c:pt>
                <c:pt idx="3">
                  <c:v>8</c:v>
                </c:pt>
                <c:pt idx="4">
                  <c:v>9</c:v>
                </c:pt>
                <c:pt idx="5">
                  <c:v>10</c:v>
                </c:pt>
                <c:pt idx="6">
                  <c:v>11</c:v>
                </c:pt>
                <c:pt idx="7">
                  <c:v>12</c:v>
                </c:pt>
                <c:pt idx="8">
                  <c:v>13</c:v>
                </c:pt>
                <c:pt idx="9">
                  <c:v>14</c:v>
                </c:pt>
                <c:pt idx="10">
                  <c:v>15</c:v>
                </c:pt>
                <c:pt idx="11">
                  <c:v>16</c:v>
                </c:pt>
                <c:pt idx="12">
                  <c:v>17</c:v>
                </c:pt>
                <c:pt idx="13">
                  <c:v>18</c:v>
                </c:pt>
                <c:pt idx="14">
                  <c:v>19</c:v>
                </c:pt>
              </c:numCache>
            </c:numRef>
          </c:cat>
          <c:val>
            <c:numRef>
              <c:f>Sheet1!$D$2:$D$16</c:f>
              <c:numCache>
                <c:formatCode>General</c:formatCode>
                <c:ptCount val="15"/>
                <c:pt idx="0">
                  <c:v>16.8</c:v>
                </c:pt>
                <c:pt idx="1">
                  <c:v>17</c:v>
                </c:pt>
                <c:pt idx="2">
                  <c:v>17.25</c:v>
                </c:pt>
                <c:pt idx="3">
                  <c:v>17.7</c:v>
                </c:pt>
                <c:pt idx="4">
                  <c:v>18.3</c:v>
                </c:pt>
                <c:pt idx="5">
                  <c:v>19</c:v>
                </c:pt>
                <c:pt idx="6">
                  <c:v>19.8</c:v>
                </c:pt>
                <c:pt idx="7">
                  <c:v>20.8</c:v>
                </c:pt>
                <c:pt idx="8">
                  <c:v>21.8</c:v>
                </c:pt>
                <c:pt idx="9">
                  <c:v>22.7</c:v>
                </c:pt>
                <c:pt idx="10">
                  <c:v>23.5</c:v>
                </c:pt>
                <c:pt idx="11">
                  <c:v>24.1</c:v>
                </c:pt>
                <c:pt idx="12">
                  <c:v>24.5</c:v>
                </c:pt>
                <c:pt idx="13">
                  <c:v>24.77</c:v>
                </c:pt>
                <c:pt idx="14">
                  <c:v>24.95</c:v>
                </c:pt>
              </c:numCache>
            </c:numRef>
          </c:val>
          <c:smooth val="1"/>
          <c:extLst>
            <c:ext xmlns:c16="http://schemas.microsoft.com/office/drawing/2014/chart" uri="{C3380CC4-5D6E-409C-BE32-E72D297353CC}">
              <c16:uniqueId val="{00000002-313F-4404-8B4E-92D536BC3080}"/>
            </c:ext>
          </c:extLst>
        </c:ser>
        <c:ser>
          <c:idx val="3"/>
          <c:order val="3"/>
          <c:tx>
            <c:strRef>
              <c:f>Sheet1!$E$1</c:f>
              <c:strCache>
                <c:ptCount val="1"/>
                <c:pt idx="0">
                  <c:v>Series 4</c:v>
                </c:pt>
              </c:strCache>
            </c:strRef>
          </c:tx>
          <c:spPr>
            <a:ln w="28575" cap="rnd">
              <a:solidFill>
                <a:schemeClr val="accent1"/>
              </a:solidFill>
              <a:round/>
            </a:ln>
            <a:effectLst/>
          </c:spPr>
          <c:marker>
            <c:symbol val="none"/>
          </c:marker>
          <c:cat>
            <c:numRef>
              <c:f>Sheet1!$A$2:$A$16</c:f>
              <c:numCache>
                <c:formatCode>General</c:formatCode>
                <c:ptCount val="15"/>
                <c:pt idx="0">
                  <c:v>5</c:v>
                </c:pt>
                <c:pt idx="1">
                  <c:v>6</c:v>
                </c:pt>
                <c:pt idx="2">
                  <c:v>7</c:v>
                </c:pt>
                <c:pt idx="3">
                  <c:v>8</c:v>
                </c:pt>
                <c:pt idx="4">
                  <c:v>9</c:v>
                </c:pt>
                <c:pt idx="5">
                  <c:v>10</c:v>
                </c:pt>
                <c:pt idx="6">
                  <c:v>11</c:v>
                </c:pt>
                <c:pt idx="7">
                  <c:v>12</c:v>
                </c:pt>
                <c:pt idx="8">
                  <c:v>13</c:v>
                </c:pt>
                <c:pt idx="9">
                  <c:v>14</c:v>
                </c:pt>
                <c:pt idx="10">
                  <c:v>15</c:v>
                </c:pt>
                <c:pt idx="11">
                  <c:v>16</c:v>
                </c:pt>
                <c:pt idx="12">
                  <c:v>17</c:v>
                </c:pt>
                <c:pt idx="13">
                  <c:v>18</c:v>
                </c:pt>
                <c:pt idx="14">
                  <c:v>19</c:v>
                </c:pt>
              </c:numCache>
            </c:numRef>
          </c:cat>
          <c:val>
            <c:numRef>
              <c:f>Sheet1!$E$2:$E$16</c:f>
              <c:numCache>
                <c:formatCode>General</c:formatCode>
                <c:ptCount val="15"/>
                <c:pt idx="0">
                  <c:v>15.24</c:v>
                </c:pt>
                <c:pt idx="1">
                  <c:v>15.26</c:v>
                </c:pt>
                <c:pt idx="2">
                  <c:v>15.36</c:v>
                </c:pt>
                <c:pt idx="3">
                  <c:v>15.65</c:v>
                </c:pt>
                <c:pt idx="4">
                  <c:v>16.05</c:v>
                </c:pt>
                <c:pt idx="5">
                  <c:v>16.600000000000001</c:v>
                </c:pt>
                <c:pt idx="6">
                  <c:v>17.22</c:v>
                </c:pt>
                <c:pt idx="7">
                  <c:v>17.95</c:v>
                </c:pt>
                <c:pt idx="8">
                  <c:v>18.8</c:v>
                </c:pt>
                <c:pt idx="9">
                  <c:v>19.55</c:v>
                </c:pt>
                <c:pt idx="10">
                  <c:v>20.2</c:v>
                </c:pt>
                <c:pt idx="11">
                  <c:v>20.7</c:v>
                </c:pt>
                <c:pt idx="12">
                  <c:v>21.03</c:v>
                </c:pt>
                <c:pt idx="13">
                  <c:v>21.25</c:v>
                </c:pt>
                <c:pt idx="14">
                  <c:v>21.42</c:v>
                </c:pt>
              </c:numCache>
            </c:numRef>
          </c:val>
          <c:smooth val="1"/>
          <c:extLst>
            <c:ext xmlns:c16="http://schemas.microsoft.com/office/drawing/2014/chart" uri="{C3380CC4-5D6E-409C-BE32-E72D297353CC}">
              <c16:uniqueId val="{00000003-313F-4404-8B4E-92D536BC3080}"/>
            </c:ext>
          </c:extLst>
        </c:ser>
        <c:ser>
          <c:idx val="4"/>
          <c:order val="4"/>
          <c:tx>
            <c:strRef>
              <c:f>Sheet1!$F$1</c:f>
              <c:strCache>
                <c:ptCount val="1"/>
                <c:pt idx="0">
                  <c:v>Series 5</c:v>
                </c:pt>
              </c:strCache>
            </c:strRef>
          </c:tx>
          <c:spPr>
            <a:ln w="28575" cap="rnd">
              <a:solidFill>
                <a:schemeClr val="accent4"/>
              </a:solidFill>
              <a:round/>
            </a:ln>
            <a:effectLst/>
          </c:spPr>
          <c:marker>
            <c:symbol val="none"/>
          </c:marker>
          <c:cat>
            <c:numRef>
              <c:f>Sheet1!$A$2:$A$16</c:f>
              <c:numCache>
                <c:formatCode>General</c:formatCode>
                <c:ptCount val="15"/>
                <c:pt idx="0">
                  <c:v>5</c:v>
                </c:pt>
                <c:pt idx="1">
                  <c:v>6</c:v>
                </c:pt>
                <c:pt idx="2">
                  <c:v>7</c:v>
                </c:pt>
                <c:pt idx="3">
                  <c:v>8</c:v>
                </c:pt>
                <c:pt idx="4">
                  <c:v>9</c:v>
                </c:pt>
                <c:pt idx="5">
                  <c:v>10</c:v>
                </c:pt>
                <c:pt idx="6">
                  <c:v>11</c:v>
                </c:pt>
                <c:pt idx="7">
                  <c:v>12</c:v>
                </c:pt>
                <c:pt idx="8">
                  <c:v>13</c:v>
                </c:pt>
                <c:pt idx="9">
                  <c:v>14</c:v>
                </c:pt>
                <c:pt idx="10">
                  <c:v>15</c:v>
                </c:pt>
                <c:pt idx="11">
                  <c:v>16</c:v>
                </c:pt>
                <c:pt idx="12">
                  <c:v>17</c:v>
                </c:pt>
                <c:pt idx="13">
                  <c:v>18</c:v>
                </c:pt>
                <c:pt idx="14">
                  <c:v>19</c:v>
                </c:pt>
              </c:numCache>
            </c:numRef>
          </c:cat>
          <c:val>
            <c:numRef>
              <c:f>Sheet1!$F$2:$F$16</c:f>
              <c:numCache>
                <c:formatCode>General</c:formatCode>
                <c:ptCount val="15"/>
                <c:pt idx="0">
                  <c:v>13.87</c:v>
                </c:pt>
                <c:pt idx="1">
                  <c:v>13.85</c:v>
                </c:pt>
                <c:pt idx="2">
                  <c:v>13.9</c:v>
                </c:pt>
                <c:pt idx="3">
                  <c:v>14.1</c:v>
                </c:pt>
                <c:pt idx="4">
                  <c:v>14.4</c:v>
                </c:pt>
                <c:pt idx="5">
                  <c:v>14.8</c:v>
                </c:pt>
                <c:pt idx="6">
                  <c:v>15.3</c:v>
                </c:pt>
                <c:pt idx="7">
                  <c:v>15.9</c:v>
                </c:pt>
                <c:pt idx="8">
                  <c:v>16.600000000000001</c:v>
                </c:pt>
                <c:pt idx="9">
                  <c:v>17.21</c:v>
                </c:pt>
                <c:pt idx="10">
                  <c:v>17.75</c:v>
                </c:pt>
                <c:pt idx="11">
                  <c:v>18.149999999999999</c:v>
                </c:pt>
                <c:pt idx="12">
                  <c:v>18.399999999999999</c:v>
                </c:pt>
                <c:pt idx="13">
                  <c:v>18.57</c:v>
                </c:pt>
                <c:pt idx="14">
                  <c:v>18.7</c:v>
                </c:pt>
              </c:numCache>
            </c:numRef>
          </c:val>
          <c:smooth val="1"/>
          <c:extLst>
            <c:ext xmlns:c16="http://schemas.microsoft.com/office/drawing/2014/chart" uri="{C3380CC4-5D6E-409C-BE32-E72D297353CC}">
              <c16:uniqueId val="{00000004-313F-4404-8B4E-92D536BC3080}"/>
            </c:ext>
          </c:extLst>
        </c:ser>
        <c:ser>
          <c:idx val="5"/>
          <c:order val="5"/>
          <c:tx>
            <c:strRef>
              <c:f>Sheet1!$G$1</c:f>
              <c:strCache>
                <c:ptCount val="1"/>
                <c:pt idx="0">
                  <c:v>Series 6</c:v>
                </c:pt>
              </c:strCache>
            </c:strRef>
          </c:tx>
          <c:spPr>
            <a:ln w="28575" cap="rnd">
              <a:solidFill>
                <a:schemeClr val="accent6"/>
              </a:solidFill>
              <a:round/>
            </a:ln>
            <a:effectLst/>
          </c:spPr>
          <c:marker>
            <c:symbol val="none"/>
          </c:marker>
          <c:cat>
            <c:numRef>
              <c:f>Sheet1!$A$2:$A$16</c:f>
              <c:numCache>
                <c:formatCode>General</c:formatCode>
                <c:ptCount val="15"/>
                <c:pt idx="0">
                  <c:v>5</c:v>
                </c:pt>
                <c:pt idx="1">
                  <c:v>6</c:v>
                </c:pt>
                <c:pt idx="2">
                  <c:v>7</c:v>
                </c:pt>
                <c:pt idx="3">
                  <c:v>8</c:v>
                </c:pt>
                <c:pt idx="4">
                  <c:v>9</c:v>
                </c:pt>
                <c:pt idx="5">
                  <c:v>10</c:v>
                </c:pt>
                <c:pt idx="6">
                  <c:v>11</c:v>
                </c:pt>
                <c:pt idx="7">
                  <c:v>12</c:v>
                </c:pt>
                <c:pt idx="8">
                  <c:v>13</c:v>
                </c:pt>
                <c:pt idx="9">
                  <c:v>14</c:v>
                </c:pt>
                <c:pt idx="10">
                  <c:v>15</c:v>
                </c:pt>
                <c:pt idx="11">
                  <c:v>16</c:v>
                </c:pt>
                <c:pt idx="12">
                  <c:v>17</c:v>
                </c:pt>
                <c:pt idx="13">
                  <c:v>18</c:v>
                </c:pt>
                <c:pt idx="14">
                  <c:v>19</c:v>
                </c:pt>
              </c:numCache>
            </c:numRef>
          </c:cat>
          <c:val>
            <c:numRef>
              <c:f>Sheet1!$G$2:$G$16</c:f>
              <c:numCache>
                <c:formatCode>General</c:formatCode>
                <c:ptCount val="15"/>
                <c:pt idx="0">
                  <c:v>12.76</c:v>
                </c:pt>
                <c:pt idx="1">
                  <c:v>12.71</c:v>
                </c:pt>
                <c:pt idx="2">
                  <c:v>12.75</c:v>
                </c:pt>
                <c:pt idx="3">
                  <c:v>12.85</c:v>
                </c:pt>
                <c:pt idx="4">
                  <c:v>13.15</c:v>
                </c:pt>
                <c:pt idx="5">
                  <c:v>13.48</c:v>
                </c:pt>
                <c:pt idx="6">
                  <c:v>13.82</c:v>
                </c:pt>
                <c:pt idx="7">
                  <c:v>14.34</c:v>
                </c:pt>
                <c:pt idx="8">
                  <c:v>14.9</c:v>
                </c:pt>
                <c:pt idx="9">
                  <c:v>15.43</c:v>
                </c:pt>
                <c:pt idx="10">
                  <c:v>15.85</c:v>
                </c:pt>
                <c:pt idx="11">
                  <c:v>16.16</c:v>
                </c:pt>
                <c:pt idx="12">
                  <c:v>16.350000000000001</c:v>
                </c:pt>
                <c:pt idx="13">
                  <c:v>16.45</c:v>
                </c:pt>
                <c:pt idx="14">
                  <c:v>16.5</c:v>
                </c:pt>
              </c:numCache>
            </c:numRef>
          </c:val>
          <c:smooth val="1"/>
          <c:extLst>
            <c:ext xmlns:c16="http://schemas.microsoft.com/office/drawing/2014/chart" uri="{C3380CC4-5D6E-409C-BE32-E72D297353CC}">
              <c16:uniqueId val="{00000005-313F-4404-8B4E-92D536BC3080}"/>
            </c:ext>
          </c:extLst>
        </c:ser>
        <c:ser>
          <c:idx val="6"/>
          <c:order val="6"/>
          <c:tx>
            <c:strRef>
              <c:f>Sheet1!$H$1</c:f>
              <c:strCache>
                <c:ptCount val="1"/>
                <c:pt idx="0">
                  <c:v>Series 7</c:v>
                </c:pt>
              </c:strCache>
            </c:strRef>
          </c:tx>
          <c:spPr>
            <a:ln w="28575" cap="rnd">
              <a:solidFill>
                <a:schemeClr val="accent2"/>
              </a:solidFill>
              <a:round/>
            </a:ln>
            <a:effectLst/>
          </c:spPr>
          <c:marker>
            <c:symbol val="none"/>
          </c:marker>
          <c:cat>
            <c:numRef>
              <c:f>Sheet1!$A$2:$A$16</c:f>
              <c:numCache>
                <c:formatCode>General</c:formatCode>
                <c:ptCount val="15"/>
                <c:pt idx="0">
                  <c:v>5</c:v>
                </c:pt>
                <c:pt idx="1">
                  <c:v>6</c:v>
                </c:pt>
                <c:pt idx="2">
                  <c:v>7</c:v>
                </c:pt>
                <c:pt idx="3">
                  <c:v>8</c:v>
                </c:pt>
                <c:pt idx="4">
                  <c:v>9</c:v>
                </c:pt>
                <c:pt idx="5">
                  <c:v>10</c:v>
                </c:pt>
                <c:pt idx="6">
                  <c:v>11</c:v>
                </c:pt>
                <c:pt idx="7">
                  <c:v>12</c:v>
                </c:pt>
                <c:pt idx="8">
                  <c:v>13</c:v>
                </c:pt>
                <c:pt idx="9">
                  <c:v>14</c:v>
                </c:pt>
                <c:pt idx="10">
                  <c:v>15</c:v>
                </c:pt>
                <c:pt idx="11">
                  <c:v>16</c:v>
                </c:pt>
                <c:pt idx="12">
                  <c:v>17</c:v>
                </c:pt>
                <c:pt idx="13">
                  <c:v>18</c:v>
                </c:pt>
                <c:pt idx="14">
                  <c:v>19</c:v>
                </c:pt>
              </c:numCache>
            </c:numRef>
          </c:cat>
          <c:val>
            <c:numRef>
              <c:f>Sheet1!$H$2:$H$16</c:f>
              <c:numCache>
                <c:formatCode>General</c:formatCode>
                <c:ptCount val="15"/>
                <c:pt idx="0">
                  <c:v>11.78</c:v>
                </c:pt>
                <c:pt idx="1">
                  <c:v>11.7</c:v>
                </c:pt>
                <c:pt idx="2">
                  <c:v>11.73</c:v>
                </c:pt>
                <c:pt idx="3">
                  <c:v>11.84</c:v>
                </c:pt>
                <c:pt idx="4">
                  <c:v>12.08</c:v>
                </c:pt>
                <c:pt idx="5">
                  <c:v>12.35</c:v>
                </c:pt>
                <c:pt idx="6">
                  <c:v>12.72</c:v>
                </c:pt>
                <c:pt idx="7">
                  <c:v>13.15</c:v>
                </c:pt>
                <c:pt idx="8">
                  <c:v>13.6</c:v>
                </c:pt>
                <c:pt idx="9">
                  <c:v>14</c:v>
                </c:pt>
                <c:pt idx="10">
                  <c:v>14.34</c:v>
                </c:pt>
                <c:pt idx="11">
                  <c:v>14.6</c:v>
                </c:pt>
                <c:pt idx="12">
                  <c:v>14.7</c:v>
                </c:pt>
                <c:pt idx="13">
                  <c:v>14.72</c:v>
                </c:pt>
                <c:pt idx="14">
                  <c:v>14.7</c:v>
                </c:pt>
              </c:numCache>
            </c:numRef>
          </c:val>
          <c:smooth val="1"/>
          <c:extLst>
            <c:ext xmlns:c16="http://schemas.microsoft.com/office/drawing/2014/chart" uri="{C3380CC4-5D6E-409C-BE32-E72D297353CC}">
              <c16:uniqueId val="{00000006-313F-4404-8B4E-92D536BC3080}"/>
            </c:ext>
          </c:extLst>
        </c:ser>
        <c:dLbls>
          <c:showLegendKey val="0"/>
          <c:showVal val="0"/>
          <c:showCatName val="0"/>
          <c:showSerName val="0"/>
          <c:showPercent val="0"/>
          <c:showBubbleSize val="0"/>
        </c:dLbls>
        <c:smooth val="0"/>
        <c:axId val="102219776"/>
        <c:axId val="102221312"/>
      </c:lineChart>
      <c:dateAx>
        <c:axId val="102219776"/>
        <c:scaling>
          <c:orientation val="minMax"/>
        </c:scaling>
        <c:delete val="0"/>
        <c:axPos val="b"/>
        <c:numFmt formatCode="General" sourceLinked="1"/>
        <c:majorTickMark val="none"/>
        <c:minorTickMark val="none"/>
        <c:tickLblPos val="nextTo"/>
        <c:spPr>
          <a:noFill/>
          <a:ln w="12700" cap="flat" cmpd="sng" algn="ctr">
            <a:solidFill>
              <a:schemeClr val="bg2"/>
            </a:solidFill>
            <a:round/>
          </a:ln>
          <a:effectLst/>
        </c:spPr>
        <c:txPr>
          <a:bodyPr rot="-60000000" spcFirstLastPara="1" vertOverflow="ellipsis" vert="horz" wrap="square" anchor="ctr" anchorCtr="1"/>
          <a:lstStyle/>
          <a:p>
            <a:pPr>
              <a:buNone/>
              <a:defRPr sz="1000" b="0" i="0" u="none" strike="noStrike" kern="1200" baseline="0">
                <a:solidFill>
                  <a:schemeClr val="tx1"/>
                </a:solidFill>
                <a:latin typeface="+mn-lt"/>
                <a:ea typeface="+mn-ea"/>
                <a:cs typeface="+mn-cs"/>
              </a:defRPr>
            </a:pPr>
            <a:endParaRPr lang="en-US"/>
          </a:p>
        </c:txPr>
        <c:crossAx val="102221312"/>
        <c:crosses val="autoZero"/>
        <c:auto val="0"/>
        <c:lblOffset val="100"/>
        <c:baseTimeUnit val="days"/>
        <c:minorUnit val="1"/>
      </c:dateAx>
      <c:valAx>
        <c:axId val="102221312"/>
        <c:scaling>
          <c:orientation val="minMax"/>
          <c:max val="38"/>
          <c:min val="10"/>
        </c:scaling>
        <c:delete val="0"/>
        <c:axPos val="l"/>
        <c:majorGridlines>
          <c:spPr>
            <a:ln>
              <a:solidFill>
                <a:schemeClr val="bg2">
                  <a:lumMod val="60000"/>
                  <a:lumOff val="40000"/>
                </a:schemeClr>
              </a:solidFill>
            </a:ln>
          </c:spPr>
        </c:majorGridlines>
        <c:numFmt formatCode="General" sourceLinked="1"/>
        <c:majorTickMark val="none"/>
        <c:minorTickMark val="none"/>
        <c:tickLblPos val="nextTo"/>
        <c:spPr>
          <a:noFill/>
          <a:ln w="12700">
            <a:solidFill>
              <a:schemeClr val="bg2"/>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02219776"/>
        <c:crosses val="autoZero"/>
        <c:crossBetween val="midCat"/>
        <c:majorUnit val="4"/>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C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5C05D315-F0E8-46B4-81B5-9D21FF04829D}" type="datetimeFigureOut">
              <a:rPr lang="en-CA" smtClean="0"/>
              <a:pPr/>
              <a:t>2025-11-25</a:t>
            </a:fld>
            <a:endParaRPr lang="en-C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3175">
            <a:solidFill>
              <a:schemeClr val="accent3"/>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45720" rIns="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C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F55C3A4A-438B-4C02-AD11-AE32F1D429DA}" type="slidenum">
              <a:rPr lang="en-CA" smtClean="0"/>
              <a:pPr/>
              <a:t>‹#›</a:t>
            </a:fld>
            <a:endParaRPr lang="en-CA" dirty="0"/>
          </a:p>
        </p:txBody>
      </p:sp>
    </p:spTree>
    <p:extLst>
      <p:ext uri="{BB962C8B-B14F-4D97-AF65-F5344CB8AC3E}">
        <p14:creationId xmlns:p14="http://schemas.microsoft.com/office/powerpoint/2010/main" val="738258016"/>
      </p:ext>
    </p:extLst>
  </p:cSld>
  <p:clrMap bg1="lt1" tx1="dk1" bg2="lt2" tx2="dk2" accent1="accent1" accent2="accent2" accent3="accent3" accent4="accent4" accent5="accent5" accent6="accent6" hlink="hlink" folHlink="folHlink"/>
  <p:notesStyle>
    <a:lvl1pPr marL="136525" indent="-136525"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1pPr>
    <a:lvl2pPr marL="333375" indent="-19526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2pPr>
    <a:lvl3pPr marL="509588" indent="-166688"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3pPr>
    <a:lvl4pPr marL="693738" indent="-18415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4pPr>
    <a:lvl5pPr marL="850900" indent="-15081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accessdata.fda.gov/drugsatfda_docs/label/2012/020766s029lbl.pdf" TargetMode="External"/><Relationship Id="rId7" Type="http://schemas.openxmlformats.org/officeDocument/2006/relationships/hyperlink" Target="https://www.accessdata.fda.gov/drugsatfda_docs/label/2012/085128s065lbl.pdf"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www.fda.gov/drugs/news-events-human-drugs/fda-approves-treatment-chronic-weight-management-pediatric-patients-aged-12-years-and-older" TargetMode="External"/><Relationship Id="rId5" Type="http://schemas.openxmlformats.org/officeDocument/2006/relationships/hyperlink" Target="https://www.novonordisk-us.com/media/news-archive/news-details.html?id=151389" TargetMode="External"/><Relationship Id="rId4" Type="http://schemas.openxmlformats.org/officeDocument/2006/relationships/hyperlink" Target="https://www.accessdata.fda.gov/drugsatfda_docs/label/2019/022341s031lbl.pdf"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cdc.gov/growthcharts/data/set1clinical/cj41c023.pdf"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cs typeface="Arial" panose="020B0604020202020204" pitchFamily="34" charset="0"/>
            </a:endParaRPr>
          </a:p>
        </p:txBody>
      </p:sp>
      <p:sp>
        <p:nvSpPr>
          <p:cNvPr id="4" name="Slide Number Placeholder 3"/>
          <p:cNvSpPr>
            <a:spLocks noGrp="1"/>
          </p:cNvSpPr>
          <p:nvPr>
            <p:ph type="sldNum" sz="quarter" idx="5"/>
          </p:nvPr>
        </p:nvSpPr>
        <p:spPr/>
        <p:txBody>
          <a:bodyPr/>
          <a:lstStyle/>
          <a:p>
            <a:fld id="{4C24DDC7-2F50-4571-9AB8-928769F1430B}" type="slidenum">
              <a:rPr lang="en-CA" smtClean="0"/>
              <a:t>1</a:t>
            </a:fld>
            <a:endParaRPr lang="en-CA" dirty="0"/>
          </a:p>
        </p:txBody>
      </p:sp>
    </p:spTree>
    <p:extLst>
      <p:ext uri="{BB962C8B-B14F-4D97-AF65-F5344CB8AC3E}">
        <p14:creationId xmlns:p14="http://schemas.microsoft.com/office/powerpoint/2010/main" val="526529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6E1FD4-09FA-342B-7D6B-BBB132F249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A694E8-044A-79C4-2ED3-703FE7688D3C}"/>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90594E9A-1ED0-6943-5856-8B561E8E081A}"/>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0A9E23A9-F437-D7F1-18BB-F7C5DA71453C}"/>
              </a:ext>
            </a:extLst>
          </p:cNvPr>
          <p:cNvSpPr>
            <a:spLocks noGrp="1"/>
          </p:cNvSpPr>
          <p:nvPr>
            <p:ph type="sldNum" sz="quarter" idx="5"/>
          </p:nvPr>
        </p:nvSpPr>
        <p:spPr/>
        <p:txBody>
          <a:bodyPr/>
          <a:lstStyle/>
          <a:p>
            <a:fld id="{4C24DDC7-2F50-4571-9AB8-928769F1430B}" type="slidenum">
              <a:rPr lang="en-CA" smtClean="0"/>
              <a:t>10</a:t>
            </a:fld>
            <a:endParaRPr lang="en-CA" dirty="0"/>
          </a:p>
        </p:txBody>
      </p:sp>
    </p:spTree>
    <p:extLst>
      <p:ext uri="{BB962C8B-B14F-4D97-AF65-F5344CB8AC3E}">
        <p14:creationId xmlns:p14="http://schemas.microsoft.com/office/powerpoint/2010/main" val="2852800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a:xfrm>
            <a:off x="685800" y="4400550"/>
            <a:ext cx="5486400" cy="4743450"/>
          </a:xfrm>
        </p:spPr>
        <p:txBody>
          <a:bodyPr/>
          <a:lstStyle/>
          <a:p>
            <a:pPr marL="0" indent="0">
              <a:buNone/>
            </a:pPr>
            <a:r>
              <a:rPr lang="en-GB" b="1" dirty="0"/>
              <a:t>Examples of medications used to treat some of mentioned syndromes are orlistat and phentermine</a:t>
            </a:r>
          </a:p>
          <a:p>
            <a:pPr>
              <a:spcBef>
                <a:spcPts val="300"/>
              </a:spcBef>
              <a:defRPr/>
            </a:pPr>
            <a:r>
              <a:rPr lang="en-GB" u="sng" dirty="0"/>
              <a:t>Prader-Willi syndrome</a:t>
            </a:r>
            <a:r>
              <a:rPr lang="en-GB" dirty="0"/>
              <a:t>:</a:t>
            </a:r>
            <a:br>
              <a:rPr lang="en-GB" dirty="0"/>
            </a:br>
            <a:r>
              <a:rPr lang="en-GB" dirty="0"/>
              <a:t>Growth hormone treatment along with serotonin reuptake inhibitors</a:t>
            </a:r>
          </a:p>
          <a:p>
            <a:pPr>
              <a:spcBef>
                <a:spcPts val="300"/>
              </a:spcBef>
              <a:defRPr/>
            </a:pPr>
            <a:r>
              <a:rPr kumimoji="0" lang="en-US" sz="1200" b="0" i="0" u="sng"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t>Alström syndrome </a:t>
            </a:r>
            <a:r>
              <a:rPr kumimoji="0" lang="en-US" sz="1200" b="0" i="0" u="none"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t>(AS):</a:t>
            </a:r>
            <a:br>
              <a:rPr kumimoji="0" lang="en-US" sz="1200" b="0" i="0" u="none"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br>
            <a:r>
              <a:rPr kumimoji="0" lang="en-US" sz="1200" b="0" i="0" u="none"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t>Long-term angiotensin-converting enzyme (ACE) </a:t>
            </a:r>
            <a:r>
              <a:rPr lang="en-US" dirty="0">
                <a:ea typeface="Apis For Office" panose="020B0504010101010104" pitchFamily="34" charset="0"/>
                <a:cs typeface="Apis For Office" panose="020B0504010101010104" pitchFamily="34" charset="0"/>
              </a:rPr>
              <a:t>inhibitors </a:t>
            </a:r>
            <a:r>
              <a:rPr kumimoji="0" lang="en-US" sz="1200" b="0" i="0" u="none"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t>are considered for patients with cardiomyopathy. Diuretics, </a:t>
            </a:r>
            <a:r>
              <a:rPr kumimoji="0" lang="el-GR" sz="1200" b="0" i="0" u="none"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t>β</a:t>
            </a:r>
            <a:r>
              <a:rPr kumimoji="0" lang="en-US" sz="1200" b="0" i="0" u="none"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t>-blockers, and spironolactone are other medications that are recommended</a:t>
            </a:r>
          </a:p>
          <a:p>
            <a:pPr>
              <a:spcBef>
                <a:spcPts val="300"/>
              </a:spcBef>
              <a:defRPr/>
            </a:pPr>
            <a:r>
              <a:rPr kumimoji="0" lang="en-US" sz="1200" b="0" i="0" u="sng"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t>Albright hereditary osteodystrophy </a:t>
            </a:r>
            <a:r>
              <a:rPr kumimoji="0" lang="en-US" sz="1200" b="0" i="0" u="none"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t>(AHO):</a:t>
            </a:r>
            <a:br>
              <a:rPr kumimoji="0" lang="en-US" sz="1200" b="0" i="0" u="none"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br>
            <a:r>
              <a:rPr kumimoji="0" lang="en-US" sz="1200" b="0" i="0" u="none"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t>Treatment consists of calcium and vitamin D derivatives</a:t>
            </a:r>
            <a:endParaRPr lang="en-US" dirty="0">
              <a:ea typeface="Apis For Office" panose="020B0504010101010104" pitchFamily="34" charset="0"/>
              <a:cs typeface="Apis For Office" panose="020B0504010101010104" pitchFamily="34" charset="0"/>
            </a:endParaRPr>
          </a:p>
          <a:p>
            <a:pPr>
              <a:spcBef>
                <a:spcPts val="300"/>
              </a:spcBef>
              <a:defRPr/>
            </a:pPr>
            <a:r>
              <a:rPr kumimoji="0" lang="en-US" sz="1200" b="0" i="0" u="sng"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t>Beckwith–Wiedemann syndrome </a:t>
            </a:r>
            <a:r>
              <a:rPr kumimoji="0" lang="en-US" sz="1200" b="0" i="0" u="none"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t>(BWS):</a:t>
            </a:r>
            <a:br>
              <a:rPr kumimoji="0" lang="en-US" sz="1200" b="0" i="0" u="none"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br>
            <a:r>
              <a:rPr kumimoji="0" lang="en-US" sz="1200" b="0" i="0" u="none"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t>Diazoxide is often used to treat hyperinsulinism</a:t>
            </a:r>
          </a:p>
          <a:p>
            <a:pPr>
              <a:spcBef>
                <a:spcPts val="300"/>
              </a:spcBef>
              <a:defRPr/>
            </a:pPr>
            <a:r>
              <a:rPr kumimoji="0" lang="en-US" sz="1200" b="0" i="0" u="sng"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t>Bardet–Biedl syndrome </a:t>
            </a:r>
            <a:r>
              <a:rPr kumimoji="0" lang="en-GB" sz="1200" b="0" i="0" u="none"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t>(BBS):</a:t>
            </a:r>
            <a:br>
              <a:rPr kumimoji="0" lang="en-GB" sz="1200" b="0" i="0" u="none" strike="noStrike" kern="1200" cap="none" spc="0" normalizeH="0" baseline="0" noProof="0" dirty="0">
                <a:ln>
                  <a:noFill/>
                </a:ln>
                <a:solidFill>
                  <a:schemeClr val="tx1"/>
                </a:solidFill>
                <a:effectLst/>
                <a:uLnTx/>
                <a:uFillTx/>
                <a:ea typeface="Apis For Office" panose="020B0504010101010104" pitchFamily="34" charset="0"/>
                <a:cs typeface="Apis For Office" panose="020B0504010101010104" pitchFamily="34" charset="0"/>
              </a:rPr>
            </a:br>
            <a:r>
              <a:rPr lang="en-GB" dirty="0"/>
              <a:t>Antihypertensives and lipid-lowering medications are often prescribed along with weight management treat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228600" indent="-228600">
              <a:buAutoNum type="arabicPeriod"/>
            </a:pPr>
            <a:r>
              <a:rPr lang="en-GB" sz="1050" dirty="0"/>
              <a:t>Cassidy SB et al. Genet Med 2012;14;10</a:t>
            </a:r>
            <a:r>
              <a:rPr lang="en-CA" sz="1050" i="0" dirty="0"/>
              <a:t>–</a:t>
            </a:r>
            <a:r>
              <a:rPr lang="en-GB" sz="1050" dirty="0"/>
              <a:t>26.</a:t>
            </a:r>
          </a:p>
          <a:p>
            <a:pPr marL="228600" indent="-228600">
              <a:buAutoNum type="arabicPeriod"/>
            </a:pPr>
            <a:r>
              <a:rPr lang="en-GB" sz="1050" dirty="0"/>
              <a:t>Marshall JD et al. Eur J Hum Genet 2007;15:1193</a:t>
            </a:r>
            <a:r>
              <a:rPr lang="en-CA" sz="1050" i="0" dirty="0"/>
              <a:t>–</a:t>
            </a:r>
            <a:r>
              <a:rPr lang="en-GB" sz="1050" dirty="0"/>
              <a:t>1202.</a:t>
            </a:r>
          </a:p>
          <a:p>
            <a:pPr marL="228600" indent="-228600">
              <a:buAutoNum type="arabicPeriod"/>
            </a:pPr>
            <a:r>
              <a:rPr lang="en-GB" sz="1050" dirty="0"/>
              <a:t>Simon A et al. Neth J Med 2000;56:100</a:t>
            </a:r>
            <a:r>
              <a:rPr lang="en-CA" sz="1050" i="0" dirty="0"/>
              <a:t>–</a:t>
            </a:r>
            <a:r>
              <a:rPr lang="en-GB" sz="1050" dirty="0"/>
              <a:t>109.</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050" dirty="0"/>
              <a:t>Wang KH et al. Front Pediatr 2020;7:1</a:t>
            </a:r>
            <a:r>
              <a:rPr lang="en-CA" sz="1050" i="0" dirty="0"/>
              <a:t>–</a:t>
            </a:r>
            <a:r>
              <a:rPr lang="en-GB" sz="1050" dirty="0"/>
              <a:t>12.</a:t>
            </a:r>
          </a:p>
          <a:p>
            <a:pPr marL="228600" indent="-228600">
              <a:buAutoNum type="arabicPeriod"/>
            </a:pPr>
            <a:r>
              <a:rPr lang="en-GB" sz="1050" dirty="0"/>
              <a:t>Forysthe E, Beales PL. Eur J Hum Genet 2012;21:8</a:t>
            </a:r>
            <a:r>
              <a:rPr lang="en-CA" sz="1050" i="0" dirty="0"/>
              <a:t>–</a:t>
            </a:r>
            <a:r>
              <a:rPr lang="en-GB" sz="1050" dirty="0"/>
              <a:t>13.</a:t>
            </a:r>
          </a:p>
        </p:txBody>
      </p:sp>
      <p:sp>
        <p:nvSpPr>
          <p:cNvPr id="4" name="Slide Number Placeholder 3"/>
          <p:cNvSpPr>
            <a:spLocks noGrp="1"/>
          </p:cNvSpPr>
          <p:nvPr>
            <p:ph type="sldNum" sz="quarter" idx="5"/>
          </p:nvPr>
        </p:nvSpPr>
        <p:spPr/>
        <p:txBody>
          <a:bodyPr/>
          <a:lstStyle/>
          <a:p>
            <a:fld id="{4C24DDC7-2F50-4571-9AB8-928769F1430B}" type="slidenum">
              <a:rPr lang="en-CA" smtClean="0"/>
              <a:t>11</a:t>
            </a:fld>
            <a:endParaRPr lang="en-CA" dirty="0"/>
          </a:p>
        </p:txBody>
      </p:sp>
    </p:spTree>
    <p:extLst>
      <p:ext uri="{BB962C8B-B14F-4D97-AF65-F5344CB8AC3E}">
        <p14:creationId xmlns:p14="http://schemas.microsoft.com/office/powerpoint/2010/main" val="10370390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1044A8-9C0A-D4D1-7AA6-3A9EAD185E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1690F6-572B-2027-667B-DDFA7952467D}"/>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15BD2EB6-7A1A-913C-2FD5-37A0C3F47611}"/>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A5BF1AFF-850A-312A-9A07-D7776067DE98}"/>
              </a:ext>
            </a:extLst>
          </p:cNvPr>
          <p:cNvSpPr>
            <a:spLocks noGrp="1"/>
          </p:cNvSpPr>
          <p:nvPr>
            <p:ph type="sldNum" sz="quarter" idx="5"/>
          </p:nvPr>
        </p:nvSpPr>
        <p:spPr/>
        <p:txBody>
          <a:bodyPr/>
          <a:lstStyle/>
          <a:p>
            <a:fld id="{4C24DDC7-2F50-4571-9AB8-928769F1430B}" type="slidenum">
              <a:rPr lang="en-CA" smtClean="0"/>
              <a:t>12</a:t>
            </a:fld>
            <a:endParaRPr lang="en-CA" dirty="0"/>
          </a:p>
        </p:txBody>
      </p:sp>
    </p:spTree>
    <p:extLst>
      <p:ext uri="{BB962C8B-B14F-4D97-AF65-F5344CB8AC3E}">
        <p14:creationId xmlns:p14="http://schemas.microsoft.com/office/powerpoint/2010/main" val="36135181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4C24DDC7-2F50-4571-9AB8-928769F1430B}" type="slidenum">
              <a:rPr lang="en-CA" smtClean="0"/>
              <a:t>13</a:t>
            </a:fld>
            <a:endParaRPr lang="en-CA" dirty="0"/>
          </a:p>
        </p:txBody>
      </p:sp>
    </p:spTree>
    <p:extLst>
      <p:ext uri="{BB962C8B-B14F-4D97-AF65-F5344CB8AC3E}">
        <p14:creationId xmlns:p14="http://schemas.microsoft.com/office/powerpoint/2010/main" val="9149096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228600" indent="-228600">
              <a:spcBef>
                <a:spcPts val="0"/>
              </a:spcBef>
              <a:spcAft>
                <a:spcPts val="0"/>
              </a:spcAft>
              <a:buFont typeface="+mj-lt"/>
              <a:buAutoNum type="arabicPeriod" startAt="4"/>
            </a:pPr>
            <a:r>
              <a:rPr lang="en-CA" sz="1200" i="0" dirty="0"/>
              <a:t>US Food &amp; Drug Administration. </a:t>
            </a:r>
            <a:r>
              <a:rPr lang="en-CA" sz="1200" i="0" dirty="0">
                <a:hlinkClick r:id="rId3"/>
              </a:rPr>
              <a:t>https://www.accessdata.fda.gov/drugsatfda_docs/label/2012/020766s029lbl.pdf</a:t>
            </a:r>
            <a:r>
              <a:rPr lang="en-CA" sz="1200" i="0" dirty="0"/>
              <a:t>. Accessed October 2025. </a:t>
            </a:r>
          </a:p>
          <a:p>
            <a:pPr marL="228600" indent="-228600">
              <a:spcBef>
                <a:spcPts val="0"/>
              </a:spcBef>
              <a:spcAft>
                <a:spcPts val="0"/>
              </a:spcAft>
              <a:buFont typeface="+mj-lt"/>
              <a:buAutoNum type="arabicPeriod" startAt="4"/>
            </a:pPr>
            <a:r>
              <a:rPr lang="en-CA" sz="1200" i="0" dirty="0"/>
              <a:t>US Food &amp; Drug Administration. </a:t>
            </a:r>
            <a:r>
              <a:rPr lang="en-CA" sz="1200" i="0" dirty="0">
                <a:hlinkClick r:id="rId4"/>
              </a:rPr>
              <a:t>https://www.accessdata.fda.gov/drugsatfda_docs/label/2019/022341s031lbl.pdf</a:t>
            </a:r>
            <a:r>
              <a:rPr lang="en-CA" sz="1200" i="0" dirty="0"/>
              <a:t>. Accessed October 2025. </a:t>
            </a:r>
          </a:p>
          <a:p>
            <a:pPr marL="228600" indent="-228600">
              <a:spcBef>
                <a:spcPts val="0"/>
              </a:spcBef>
              <a:spcAft>
                <a:spcPts val="0"/>
              </a:spcAft>
              <a:buFont typeface="+mj-lt"/>
              <a:buAutoNum type="arabicPeriod" startAt="4"/>
            </a:pPr>
            <a:r>
              <a:rPr lang="en-CA" sz="1200" i="0" dirty="0"/>
              <a:t>Novo Nordisk. </a:t>
            </a:r>
            <a:r>
              <a:rPr lang="en-CA" sz="1200" i="0" dirty="0">
                <a:hlinkClick r:id="rId5"/>
              </a:rPr>
              <a:t>https://www.novonordisk-us.com/media/news-archive/news-details.html?id=151389</a:t>
            </a:r>
            <a:r>
              <a:rPr lang="en-CA" sz="1200" i="0" dirty="0"/>
              <a:t>. Accessed October 2025. </a:t>
            </a:r>
          </a:p>
          <a:p>
            <a:pPr marL="228600" indent="-228600">
              <a:spcBef>
                <a:spcPts val="0"/>
              </a:spcBef>
              <a:spcAft>
                <a:spcPts val="0"/>
              </a:spcAft>
              <a:buFont typeface="+mj-lt"/>
              <a:buAutoNum type="arabicPeriod" startAt="4"/>
            </a:pPr>
            <a:r>
              <a:rPr lang="en-CA" sz="1200" i="0" dirty="0"/>
              <a:t>US Food &amp; Drug Administration. </a:t>
            </a:r>
            <a:r>
              <a:rPr lang="en-CA" sz="1200" i="0" dirty="0">
                <a:hlinkClick r:id="rId6"/>
              </a:rPr>
              <a:t>https://www.fda.gov/drugs/news-events-human-drugs/fda-approves-treatment-chronic-weight-management-pediatric-patients-aged-12-years-and-older</a:t>
            </a:r>
            <a:r>
              <a:rPr lang="en-CA" sz="1200" i="0" dirty="0"/>
              <a:t>. Accessed October 2025.</a:t>
            </a:r>
          </a:p>
          <a:p>
            <a:pPr marL="228600" indent="-228600">
              <a:spcBef>
                <a:spcPts val="0"/>
              </a:spcBef>
              <a:spcAft>
                <a:spcPts val="0"/>
              </a:spcAft>
              <a:buFont typeface="+mj-lt"/>
              <a:buAutoNum type="arabicPeriod" startAt="4"/>
            </a:pPr>
            <a:r>
              <a:rPr lang="en-CA" sz="1200" i="0" dirty="0"/>
              <a:t>US Food &amp; Drug Administration. </a:t>
            </a:r>
            <a:r>
              <a:rPr lang="en-CA" sz="1200" i="0" dirty="0">
                <a:hlinkClick r:id="rId7"/>
              </a:rPr>
              <a:t>https://www.accessdata.fda.gov/drugsatfda_docs/label/2012/085128s065lbl.pdf</a:t>
            </a:r>
            <a:r>
              <a:rPr lang="en-CA" sz="1200" i="0" dirty="0"/>
              <a:t>. Accessed October 2025.</a:t>
            </a:r>
          </a:p>
        </p:txBody>
      </p:sp>
      <p:sp>
        <p:nvSpPr>
          <p:cNvPr id="4" name="Slide Number Placeholder 3"/>
          <p:cNvSpPr>
            <a:spLocks noGrp="1"/>
          </p:cNvSpPr>
          <p:nvPr>
            <p:ph type="sldNum" sz="quarter" idx="5"/>
          </p:nvPr>
        </p:nvSpPr>
        <p:spPr/>
        <p:txBody>
          <a:bodyPr/>
          <a:lstStyle/>
          <a:p>
            <a:fld id="{4C24DDC7-2F50-4571-9AB8-928769F1430B}" type="slidenum">
              <a:rPr lang="en-CA" smtClean="0"/>
              <a:t>14</a:t>
            </a:fld>
            <a:endParaRPr lang="en-CA" dirty="0"/>
          </a:p>
        </p:txBody>
      </p:sp>
    </p:spTree>
    <p:extLst>
      <p:ext uri="{BB962C8B-B14F-4D97-AF65-F5344CB8AC3E}">
        <p14:creationId xmlns:p14="http://schemas.microsoft.com/office/powerpoint/2010/main" val="41379988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4C24DDC7-2F50-4571-9AB8-928769F1430B}" type="slidenum">
              <a:rPr lang="en-CA" smtClean="0"/>
              <a:t>15</a:t>
            </a:fld>
            <a:endParaRPr lang="en-CA" dirty="0"/>
          </a:p>
        </p:txBody>
      </p:sp>
    </p:spTree>
    <p:extLst>
      <p:ext uri="{BB962C8B-B14F-4D97-AF65-F5344CB8AC3E}">
        <p14:creationId xmlns:p14="http://schemas.microsoft.com/office/powerpoint/2010/main" val="17645242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4C24DDC7-2F50-4571-9AB8-928769F1430B}" type="slidenum">
              <a:rPr lang="en-CA" smtClean="0"/>
              <a:t>16</a:t>
            </a:fld>
            <a:endParaRPr lang="en-CA" dirty="0"/>
          </a:p>
        </p:txBody>
      </p:sp>
    </p:spTree>
    <p:extLst>
      <p:ext uri="{BB962C8B-B14F-4D97-AF65-F5344CB8AC3E}">
        <p14:creationId xmlns:p14="http://schemas.microsoft.com/office/powerpoint/2010/main" val="39047790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201E05-4B82-A03E-CE18-987C367F32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8B0DBE-F8E5-5A3E-4747-28088911F3D4}"/>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D9C0C741-CB82-F775-D687-6FAE06118EC8}"/>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0955E1E1-E51D-7801-130B-D6CABC8F01E2}"/>
              </a:ext>
            </a:extLst>
          </p:cNvPr>
          <p:cNvSpPr>
            <a:spLocks noGrp="1"/>
          </p:cNvSpPr>
          <p:nvPr>
            <p:ph type="sldNum" sz="quarter" idx="5"/>
          </p:nvPr>
        </p:nvSpPr>
        <p:spPr/>
        <p:txBody>
          <a:bodyPr/>
          <a:lstStyle/>
          <a:p>
            <a:fld id="{4C24DDC7-2F50-4571-9AB8-928769F1430B}" type="slidenum">
              <a:rPr lang="en-CA" smtClean="0"/>
              <a:t>17</a:t>
            </a:fld>
            <a:endParaRPr lang="en-CA" dirty="0"/>
          </a:p>
        </p:txBody>
      </p:sp>
    </p:spTree>
    <p:extLst>
      <p:ext uri="{BB962C8B-B14F-4D97-AF65-F5344CB8AC3E}">
        <p14:creationId xmlns:p14="http://schemas.microsoft.com/office/powerpoint/2010/main" val="40951029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BDB8D8-25E9-E0FE-BB37-F720A0C2B4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9D1354-6841-25B1-3D88-3AEE2C7B2305}"/>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DBB8EB82-F97D-EB46-DB38-62662E6592E1}"/>
              </a:ext>
            </a:extLst>
          </p:cNvPr>
          <p:cNvSpPr>
            <a:spLocks noGrp="1"/>
          </p:cNvSpPr>
          <p:nvPr>
            <p:ph type="body" idx="1"/>
          </p:nvPr>
        </p:nvSpPr>
        <p:spPr/>
        <p:txBody>
          <a:bodyPr/>
          <a:lstStyle/>
          <a:p>
            <a:endParaRPr lang="en-150"/>
          </a:p>
        </p:txBody>
      </p:sp>
      <p:sp>
        <p:nvSpPr>
          <p:cNvPr id="4" name="Slide Number Placeholder 3">
            <a:extLst>
              <a:ext uri="{FF2B5EF4-FFF2-40B4-BE49-F238E27FC236}">
                <a16:creationId xmlns:a16="http://schemas.microsoft.com/office/drawing/2014/main" id="{79BDDAEB-06BB-17C8-3CBC-F11F13DDC639}"/>
              </a:ext>
            </a:extLst>
          </p:cNvPr>
          <p:cNvSpPr>
            <a:spLocks noGrp="1"/>
          </p:cNvSpPr>
          <p:nvPr>
            <p:ph type="sldNum" sz="quarter" idx="5"/>
          </p:nvPr>
        </p:nvSpPr>
        <p:spPr/>
        <p:txBody>
          <a:bodyPr/>
          <a:lstStyle/>
          <a:p>
            <a:fld id="{F55C3A4A-438B-4C02-AD11-AE32F1D429DA}" type="slidenum">
              <a:rPr lang="en-CA" smtClean="0"/>
              <a:pPr/>
              <a:t>18</a:t>
            </a:fld>
            <a:endParaRPr lang="en-CA" dirty="0"/>
          </a:p>
        </p:txBody>
      </p:sp>
    </p:spTree>
    <p:extLst>
      <p:ext uri="{BB962C8B-B14F-4D97-AF65-F5344CB8AC3E}">
        <p14:creationId xmlns:p14="http://schemas.microsoft.com/office/powerpoint/2010/main" val="33288192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150"/>
          </a:p>
        </p:txBody>
      </p:sp>
      <p:sp>
        <p:nvSpPr>
          <p:cNvPr id="4" name="Slide Number Placeholder 3"/>
          <p:cNvSpPr>
            <a:spLocks noGrp="1"/>
          </p:cNvSpPr>
          <p:nvPr>
            <p:ph type="sldNum" sz="quarter" idx="5"/>
          </p:nvPr>
        </p:nvSpPr>
        <p:spPr/>
        <p:txBody>
          <a:bodyPr/>
          <a:lstStyle/>
          <a:p>
            <a:fld id="{F55C3A4A-438B-4C02-AD11-AE32F1D429DA}" type="slidenum">
              <a:rPr lang="en-CA" smtClean="0"/>
              <a:pPr/>
              <a:t>19</a:t>
            </a:fld>
            <a:endParaRPr lang="en-CA" dirty="0"/>
          </a:p>
        </p:txBody>
      </p:sp>
    </p:spTree>
    <p:extLst>
      <p:ext uri="{BB962C8B-B14F-4D97-AF65-F5344CB8AC3E}">
        <p14:creationId xmlns:p14="http://schemas.microsoft.com/office/powerpoint/2010/main" val="2185943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A73CA8-9A31-ECA2-12F6-E7437412BA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25F534-10F9-DBE3-0693-1764D786DCD5}"/>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FE16C6C1-653E-66E8-6840-CB6A8AF13A2A}"/>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D06131D-2667-E0FB-3C30-B8897C941507}"/>
              </a:ext>
            </a:extLst>
          </p:cNvPr>
          <p:cNvSpPr>
            <a:spLocks noGrp="1"/>
          </p:cNvSpPr>
          <p:nvPr>
            <p:ph type="sldNum" sz="quarter" idx="5"/>
          </p:nvPr>
        </p:nvSpPr>
        <p:spPr/>
        <p:txBody>
          <a:bodyPr/>
          <a:lstStyle/>
          <a:p>
            <a:fld id="{F55C3A4A-438B-4C02-AD11-AE32F1D429DA}" type="slidenum">
              <a:rPr lang="en-CA" smtClean="0"/>
              <a:pPr/>
              <a:t>2</a:t>
            </a:fld>
            <a:endParaRPr lang="en-CA" dirty="0"/>
          </a:p>
        </p:txBody>
      </p:sp>
    </p:spTree>
    <p:extLst>
      <p:ext uri="{BB962C8B-B14F-4D97-AF65-F5344CB8AC3E}">
        <p14:creationId xmlns:p14="http://schemas.microsoft.com/office/powerpoint/2010/main" val="22426818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0A192F-CF9D-70F9-1D3D-681B937EBE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0106D3-2E1A-0D7C-F424-2E5AC0A46216}"/>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54A1B359-61C9-3568-E94F-3A2BF7C56F07}"/>
              </a:ext>
            </a:extLst>
          </p:cNvPr>
          <p:cNvSpPr>
            <a:spLocks noGrp="1"/>
          </p:cNvSpPr>
          <p:nvPr>
            <p:ph type="body" idx="1"/>
          </p:nvPr>
        </p:nvSpPr>
        <p:spPr/>
        <p:txBody>
          <a:bodyPr/>
          <a:lstStyle/>
          <a:p>
            <a:endParaRPr lang="en-GB" dirty="0"/>
          </a:p>
          <a:p>
            <a:endParaRPr lang="en-GB" dirty="0"/>
          </a:p>
          <a:p>
            <a:endParaRPr lang="en-US" dirty="0"/>
          </a:p>
        </p:txBody>
      </p:sp>
      <p:sp>
        <p:nvSpPr>
          <p:cNvPr id="4" name="Slide Number Placeholder 3">
            <a:extLst>
              <a:ext uri="{FF2B5EF4-FFF2-40B4-BE49-F238E27FC236}">
                <a16:creationId xmlns:a16="http://schemas.microsoft.com/office/drawing/2014/main" id="{9D02D7ED-63C3-22B9-E0EB-4D45659ECE8E}"/>
              </a:ext>
            </a:extLst>
          </p:cNvPr>
          <p:cNvSpPr>
            <a:spLocks noGrp="1"/>
          </p:cNvSpPr>
          <p:nvPr>
            <p:ph type="sldNum" sz="quarter" idx="5"/>
          </p:nvPr>
        </p:nvSpPr>
        <p:spPr/>
        <p:txBody>
          <a:bodyPr/>
          <a:lstStyle/>
          <a:p>
            <a:fld id="{4C24DDC7-2F50-4571-9AB8-928769F1430B}" type="slidenum">
              <a:rPr lang="en-CA" smtClean="0"/>
              <a:t>20</a:t>
            </a:fld>
            <a:endParaRPr lang="en-CA" dirty="0"/>
          </a:p>
        </p:txBody>
      </p:sp>
    </p:spTree>
    <p:extLst>
      <p:ext uri="{BB962C8B-B14F-4D97-AF65-F5344CB8AC3E}">
        <p14:creationId xmlns:p14="http://schemas.microsoft.com/office/powerpoint/2010/main" val="38402581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4C24DDC7-2F50-4571-9AB8-928769F1430B}" type="slidenum">
              <a:rPr lang="en-CA" smtClean="0"/>
              <a:t>21</a:t>
            </a:fld>
            <a:endParaRPr lang="en-CA" dirty="0"/>
          </a:p>
        </p:txBody>
      </p:sp>
    </p:spTree>
    <p:extLst>
      <p:ext uri="{BB962C8B-B14F-4D97-AF65-F5344CB8AC3E}">
        <p14:creationId xmlns:p14="http://schemas.microsoft.com/office/powerpoint/2010/main" val="17984278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4C24DDC7-2F50-4571-9AB8-928769F1430B}" type="slidenum">
              <a:rPr lang="en-CA" smtClean="0"/>
              <a:t>22</a:t>
            </a:fld>
            <a:endParaRPr lang="en-CA" dirty="0"/>
          </a:p>
        </p:txBody>
      </p:sp>
    </p:spTree>
    <p:extLst>
      <p:ext uri="{BB962C8B-B14F-4D97-AF65-F5344CB8AC3E}">
        <p14:creationId xmlns:p14="http://schemas.microsoft.com/office/powerpoint/2010/main" val="16307423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23</a:t>
            </a:fld>
            <a:endParaRPr lang="en-CA" dirty="0"/>
          </a:p>
        </p:txBody>
      </p:sp>
    </p:spTree>
    <p:extLst>
      <p:ext uri="{BB962C8B-B14F-4D97-AF65-F5344CB8AC3E}">
        <p14:creationId xmlns:p14="http://schemas.microsoft.com/office/powerpoint/2010/main" val="40043830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indent="0">
              <a:buNone/>
            </a:pPr>
            <a:r>
              <a:rPr lang="en-US" b="1" dirty="0"/>
              <a:t>Answer key:</a:t>
            </a:r>
          </a:p>
          <a:p>
            <a:pPr marL="0" indent="0">
              <a:buNone/>
            </a:pPr>
            <a:endParaRPr lang="en-US" b="1" dirty="0"/>
          </a:p>
          <a:p>
            <a:pPr marL="228600" indent="-228600">
              <a:buAutoNum type="arabicPeriod"/>
            </a:pPr>
            <a:r>
              <a:rPr lang="en-US" b="1" dirty="0">
                <a:highlight>
                  <a:srgbClr val="FFFF00"/>
                </a:highlight>
              </a:rPr>
              <a:t>d</a:t>
            </a:r>
            <a:r>
              <a:rPr lang="en-US" dirty="0"/>
              <a:t> (slide 12; lack of breastfeeding and smoking during pregnancy are specifically prenatal and parental factors contributing to obesity in children)</a:t>
            </a:r>
          </a:p>
          <a:p>
            <a:pPr marL="228600" indent="-228600">
              <a:buAutoNum type="arabicPeriod"/>
            </a:pPr>
            <a:r>
              <a:rPr lang="en-US" b="1" dirty="0">
                <a:highlight>
                  <a:srgbClr val="FFFF00"/>
                </a:highlight>
              </a:rPr>
              <a:t>b</a:t>
            </a:r>
            <a:r>
              <a:rPr lang="en-US" dirty="0"/>
              <a:t> (slide 17; 60 minutes per day is recommended according to AAP guidelines)</a:t>
            </a:r>
          </a:p>
          <a:p>
            <a:pPr marL="228600" indent="-228600">
              <a:buAutoNum type="arabicPeriod"/>
            </a:pPr>
            <a:r>
              <a:rPr lang="en-US" b="1" dirty="0">
                <a:highlight>
                  <a:srgbClr val="FFFF00"/>
                </a:highlight>
              </a:rPr>
              <a:t>a, b </a:t>
            </a:r>
            <a:r>
              <a:rPr lang="en-US" dirty="0">
                <a:highlight>
                  <a:srgbClr val="FFFF00"/>
                </a:highlight>
              </a:rPr>
              <a:t>and </a:t>
            </a:r>
            <a:r>
              <a:rPr lang="en-US" b="1" dirty="0">
                <a:highlight>
                  <a:srgbClr val="FFFF00"/>
                </a:highlight>
              </a:rPr>
              <a:t>c</a:t>
            </a:r>
            <a:r>
              <a:rPr lang="en-US" dirty="0"/>
              <a:t> (slide 21; outlines FDA-approved therapies for pediatric obesity for Noah’s age; metformin is not indicated for weight los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b="1" dirty="0">
                <a:highlight>
                  <a:srgbClr val="FFFF00"/>
                </a:highlight>
              </a:rPr>
              <a:t>d</a:t>
            </a:r>
            <a:r>
              <a:rPr lang="en-US" dirty="0"/>
              <a:t> (slide 23; HCPs should use open-ended questions motivated by concern for the child/adolescent)</a:t>
            </a:r>
          </a:p>
          <a:p>
            <a:pPr marL="0" indent="0">
              <a:buNone/>
            </a:pPr>
            <a:endParaRPr lang="en-CA" dirty="0"/>
          </a:p>
        </p:txBody>
      </p:sp>
      <p:sp>
        <p:nvSpPr>
          <p:cNvPr id="4" name="Slide Number Placeholder 3"/>
          <p:cNvSpPr>
            <a:spLocks noGrp="1"/>
          </p:cNvSpPr>
          <p:nvPr>
            <p:ph type="sldNum" sz="quarter" idx="5"/>
          </p:nvPr>
        </p:nvSpPr>
        <p:spPr/>
        <p:txBody>
          <a:bodyPr/>
          <a:lstStyle/>
          <a:p>
            <a:fld id="{55832E42-BD01-4652-99BC-29345047F757}" type="slidenum">
              <a:rPr lang="en-CA" smtClean="0"/>
              <a:pPr/>
              <a:t>24</a:t>
            </a:fld>
            <a:endParaRPr lang="en-CA" dirty="0"/>
          </a:p>
        </p:txBody>
      </p:sp>
    </p:spTree>
    <p:extLst>
      <p:ext uri="{BB962C8B-B14F-4D97-AF65-F5344CB8AC3E}">
        <p14:creationId xmlns:p14="http://schemas.microsoft.com/office/powerpoint/2010/main" val="4601080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47D05-7941-C14E-8FA1-75DB4CB789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3ADFC2-A04D-CB17-5A3A-D0432AA10242}"/>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BA7564FB-2C04-B148-0C60-8F27F13AAE5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0E11EDB-26CB-77A4-B84A-0D4A1EF44227}"/>
              </a:ext>
            </a:extLst>
          </p:cNvPr>
          <p:cNvSpPr>
            <a:spLocks noGrp="1"/>
          </p:cNvSpPr>
          <p:nvPr>
            <p:ph type="sldNum" sz="quarter" idx="5"/>
          </p:nvPr>
        </p:nvSpPr>
        <p:spPr/>
        <p:txBody>
          <a:bodyPr/>
          <a:lstStyle/>
          <a:p>
            <a:fld id="{F55C3A4A-438B-4C02-AD11-AE32F1D429DA}" type="slidenum">
              <a:rPr lang="en-CA" smtClean="0"/>
              <a:pPr/>
              <a:t>3</a:t>
            </a:fld>
            <a:endParaRPr lang="en-CA" dirty="0"/>
          </a:p>
        </p:txBody>
      </p:sp>
    </p:spTree>
    <p:extLst>
      <p:ext uri="{BB962C8B-B14F-4D97-AF65-F5344CB8AC3E}">
        <p14:creationId xmlns:p14="http://schemas.microsoft.com/office/powerpoint/2010/main" val="18065535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4C24DDC7-2F50-4571-9AB8-928769F1430B}" type="slidenum">
              <a:rPr lang="en-CA" smtClean="0"/>
              <a:t>4</a:t>
            </a:fld>
            <a:endParaRPr lang="en-CA" dirty="0"/>
          </a:p>
        </p:txBody>
      </p:sp>
    </p:spTree>
    <p:extLst>
      <p:ext uri="{BB962C8B-B14F-4D97-AF65-F5344CB8AC3E}">
        <p14:creationId xmlns:p14="http://schemas.microsoft.com/office/powerpoint/2010/main" val="12346361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CA" dirty="0">
                <a:latin typeface="Arial"/>
                <a:cs typeface="Arial"/>
                <a:hlinkClick r:id="rId3"/>
              </a:rPr>
              <a:t>https://www.cdc.gov/growthcharts/data/set1clinical/cj41c023.pdf</a:t>
            </a:r>
            <a:endParaRPr lang="en-CA" dirty="0">
              <a:cs typeface="Arial"/>
            </a:endParaRPr>
          </a:p>
        </p:txBody>
      </p:sp>
      <p:sp>
        <p:nvSpPr>
          <p:cNvPr id="4" name="Slide Number Placeholder 3"/>
          <p:cNvSpPr>
            <a:spLocks noGrp="1"/>
          </p:cNvSpPr>
          <p:nvPr>
            <p:ph type="sldNum" sz="quarter" idx="5"/>
          </p:nvPr>
        </p:nvSpPr>
        <p:spPr/>
        <p:txBody>
          <a:bodyPr/>
          <a:lstStyle/>
          <a:p>
            <a:fld id="{4C24DDC7-2F50-4571-9AB8-928769F1430B}" type="slidenum">
              <a:rPr lang="en-CA" smtClean="0"/>
              <a:t>5</a:t>
            </a:fld>
            <a:endParaRPr lang="en-CA" dirty="0"/>
          </a:p>
        </p:txBody>
      </p:sp>
    </p:spTree>
    <p:extLst>
      <p:ext uri="{BB962C8B-B14F-4D97-AF65-F5344CB8AC3E}">
        <p14:creationId xmlns:p14="http://schemas.microsoft.com/office/powerpoint/2010/main" val="12397783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150"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6</a:t>
            </a:fld>
            <a:endParaRPr lang="en-CA" dirty="0"/>
          </a:p>
        </p:txBody>
      </p:sp>
    </p:spTree>
    <p:extLst>
      <p:ext uri="{BB962C8B-B14F-4D97-AF65-F5344CB8AC3E}">
        <p14:creationId xmlns:p14="http://schemas.microsoft.com/office/powerpoint/2010/main" val="18901743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150"/>
          </a:p>
        </p:txBody>
      </p:sp>
      <p:sp>
        <p:nvSpPr>
          <p:cNvPr id="4" name="Slide Number Placeholder 3"/>
          <p:cNvSpPr>
            <a:spLocks noGrp="1"/>
          </p:cNvSpPr>
          <p:nvPr>
            <p:ph type="sldNum" sz="quarter" idx="5"/>
          </p:nvPr>
        </p:nvSpPr>
        <p:spPr/>
        <p:txBody>
          <a:bodyPr/>
          <a:lstStyle/>
          <a:p>
            <a:fld id="{F55C3A4A-438B-4C02-AD11-AE32F1D429DA}" type="slidenum">
              <a:rPr lang="en-CA" smtClean="0"/>
              <a:pPr/>
              <a:t>7</a:t>
            </a:fld>
            <a:endParaRPr lang="en-CA" dirty="0"/>
          </a:p>
        </p:txBody>
      </p:sp>
    </p:spTree>
    <p:extLst>
      <p:ext uri="{BB962C8B-B14F-4D97-AF65-F5344CB8AC3E}">
        <p14:creationId xmlns:p14="http://schemas.microsoft.com/office/powerpoint/2010/main" val="25495680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4C24DDC7-2F50-4571-9AB8-928769F1430B}" type="slidenum">
              <a:rPr lang="en-CA" smtClean="0"/>
              <a:t>8</a:t>
            </a:fld>
            <a:endParaRPr lang="en-CA" dirty="0"/>
          </a:p>
        </p:txBody>
      </p:sp>
    </p:spTree>
    <p:extLst>
      <p:ext uri="{BB962C8B-B14F-4D97-AF65-F5344CB8AC3E}">
        <p14:creationId xmlns:p14="http://schemas.microsoft.com/office/powerpoint/2010/main" val="31427132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150"/>
          </a:p>
        </p:txBody>
      </p:sp>
      <p:sp>
        <p:nvSpPr>
          <p:cNvPr id="4" name="Slide Number Placeholder 3"/>
          <p:cNvSpPr>
            <a:spLocks noGrp="1"/>
          </p:cNvSpPr>
          <p:nvPr>
            <p:ph type="sldNum" sz="quarter" idx="5"/>
          </p:nvPr>
        </p:nvSpPr>
        <p:spPr/>
        <p:txBody>
          <a:bodyPr/>
          <a:lstStyle/>
          <a:p>
            <a:fld id="{F55C3A4A-438B-4C02-AD11-AE32F1D429DA}" type="slidenum">
              <a:rPr lang="en-CA" smtClean="0"/>
              <a:pPr/>
              <a:t>9</a:t>
            </a:fld>
            <a:endParaRPr lang="en-CA" dirty="0"/>
          </a:p>
        </p:txBody>
      </p:sp>
    </p:spTree>
    <p:extLst>
      <p:ext uri="{BB962C8B-B14F-4D97-AF65-F5344CB8AC3E}">
        <p14:creationId xmlns:p14="http://schemas.microsoft.com/office/powerpoint/2010/main" val="27379411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a:t>Click to edit Master text styles</a:t>
            </a:r>
          </a:p>
        </p:txBody>
      </p:sp>
      <p:pic>
        <p:nvPicPr>
          <p:cNvPr id="10" name="Picture 9" descr="A black and white sign&#10;&#10;Description automatically generated with low confidence">
            <a:extLst>
              <a:ext uri="{FF2B5EF4-FFF2-40B4-BE49-F238E27FC236}">
                <a16:creationId xmlns:a16="http://schemas.microsoft.com/office/drawing/2014/main" id="{C0D68EB5-DC4C-A2E3-4B2A-C1078754EA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3139358647"/>
      </p:ext>
    </p:extLst>
  </p:cSld>
  <p:clrMapOvr>
    <a:masterClrMapping/>
  </p:clrMapOvr>
  <p:extLst>
    <p:ext uri="{DCECCB84-F9BA-43D5-87BE-67443E8EF086}">
      <p15:sldGuideLst xmlns:p15="http://schemas.microsoft.com/office/powerpoint/2012/main">
        <p15:guide id="1" pos="3840">
          <p15:clr>
            <a:srgbClr val="FBAE40"/>
          </p15:clr>
        </p15:guide>
        <p15:guide id="3" pos="347">
          <p15:clr>
            <a:srgbClr val="FBAE40"/>
          </p15:clr>
        </p15:guide>
        <p15:guide id="4" pos="749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4" name="Text Placeholder 4">
            <a:extLst>
              <a:ext uri="{FF2B5EF4-FFF2-40B4-BE49-F238E27FC236}">
                <a16:creationId xmlns:a16="http://schemas.microsoft.com/office/drawing/2014/main" id="{4AC8FED8-495A-3A22-B8D5-B68A708BDF93}"/>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353440276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plit Layout 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rot="10800000">
            <a:off x="5494020" y="-1"/>
            <a:ext cx="669798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tx1"/>
                </a:solidFill>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5" name="Picture 4" descr="A black and white sign&#10;&#10;Description automatically generated with low confidence">
            <a:extLst>
              <a:ext uri="{FF2B5EF4-FFF2-40B4-BE49-F238E27FC236}">
                <a16:creationId xmlns:a16="http://schemas.microsoft.com/office/drawing/2014/main" id="{1B80BD61-E30F-2A95-C59D-CEDFE22944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24604"/>
            <a:ext cx="1368625" cy="385048"/>
          </a:xfrm>
          <a:prstGeom prst="rect">
            <a:avLst/>
          </a:prstGeom>
        </p:spPr>
      </p:pic>
      <p:sp>
        <p:nvSpPr>
          <p:cNvPr id="7" name="Rectangle: Rounded Corners 6">
            <a:extLst>
              <a:ext uri="{FF2B5EF4-FFF2-40B4-BE49-F238E27FC236}">
                <a16:creationId xmlns:a16="http://schemas.microsoft.com/office/drawing/2014/main" id="{B5843F24-14ED-1567-865A-B1BE6586FD9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9" name="Text Placeholder 4">
            <a:extLst>
              <a:ext uri="{FF2B5EF4-FFF2-40B4-BE49-F238E27FC236}">
                <a16:creationId xmlns:a16="http://schemas.microsoft.com/office/drawing/2014/main" id="{BA02ACCB-FF32-050F-F2FD-3596172EA62D}"/>
              </a:ext>
            </a:extLst>
          </p:cNvPr>
          <p:cNvSpPr>
            <a:spLocks noGrp="1"/>
          </p:cNvSpPr>
          <p:nvPr>
            <p:ph type="body" sz="quarter" idx="13" hasCustomPrompt="1"/>
          </p:nvPr>
        </p:nvSpPr>
        <p:spPr>
          <a:xfrm>
            <a:off x="5854400" y="6401983"/>
            <a:ext cx="4893527" cy="324000"/>
          </a:xfrm>
        </p:spPr>
        <p:txBody>
          <a:bodyPr vert="horz" lIns="0" tIns="0" rIns="0" bIns="0" rtlCol="0" anchor="b">
            <a:noAutofit/>
          </a:bodyPr>
          <a:lstStyle>
            <a:lvl1pPr marL="0" indent="0">
              <a:buNone/>
              <a:defRPr lang="en-GB" sz="800" i="0" dirty="0">
                <a:solidFill>
                  <a:schemeClr val="bg1"/>
                </a:solidFill>
              </a:defRPr>
            </a:lvl1pPr>
          </a:lstStyle>
          <a:p>
            <a:pPr marL="269993" lvl="0" indent="-269993"/>
            <a:r>
              <a:rPr lang="en-GB"/>
              <a:t>Insert notes</a:t>
            </a:r>
          </a:p>
        </p:txBody>
      </p:sp>
      <p:pic>
        <p:nvPicPr>
          <p:cNvPr id="10" name="Picture 9" descr="A black and white sign&#10;&#10;Description automatically generated with low confidence">
            <a:extLst>
              <a:ext uri="{FF2B5EF4-FFF2-40B4-BE49-F238E27FC236}">
                <a16:creationId xmlns:a16="http://schemas.microsoft.com/office/drawing/2014/main" id="{0078288B-17C4-AEC1-5B44-26B83BFF65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47927" y="6339844"/>
            <a:ext cx="1368625" cy="385048"/>
          </a:xfrm>
          <a:prstGeom prst="rect">
            <a:avLst/>
          </a:prstGeom>
        </p:spPr>
      </p:pic>
      <p:sp>
        <p:nvSpPr>
          <p:cNvPr id="6" name="Rectangle: Rounded Corners 5">
            <a:extLst>
              <a:ext uri="{FF2B5EF4-FFF2-40B4-BE49-F238E27FC236}">
                <a16:creationId xmlns:a16="http://schemas.microsoft.com/office/drawing/2014/main" id="{03B6DC3B-91BE-4CAE-B790-38D4E2F921B6}"/>
              </a:ext>
            </a:extLst>
          </p:cNvPr>
          <p:cNvSpPr/>
          <p:nvPr userDrawn="1"/>
        </p:nvSpPr>
        <p:spPr>
          <a:xfrm>
            <a:off x="9589008" y="102833"/>
            <a:ext cx="1959226" cy="41431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cap="all" spc="100" baseline="0" noProof="0" dirty="0">
                <a:solidFill>
                  <a:schemeClr val="tx1"/>
                </a:solidFill>
              </a:rPr>
              <a:t>Pediatrics</a:t>
            </a:r>
            <a:endParaRPr lang="en-GB" sz="1400" b="1" noProof="0" dirty="0">
              <a:solidFill>
                <a:schemeClr val="tx1"/>
              </a:solidFill>
            </a:endParaRPr>
          </a:p>
        </p:txBody>
      </p:sp>
    </p:spTree>
    <p:extLst>
      <p:ext uri="{BB962C8B-B14F-4D97-AF65-F5344CB8AC3E}">
        <p14:creationId xmlns:p14="http://schemas.microsoft.com/office/powerpoint/2010/main" val="388814183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557784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bg1"/>
                </a:solidFill>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a:t>Click to edit Master text styles</a:t>
            </a:r>
          </a:p>
          <a:p>
            <a:pPr lvl="1"/>
            <a:r>
              <a:rPr lang="en-US"/>
              <a:t>Second level</a:t>
            </a:r>
          </a:p>
          <a:p>
            <a:pPr lvl="2"/>
            <a:r>
              <a:rPr lang="en-US"/>
              <a:t>Third level</a:t>
            </a:r>
          </a:p>
        </p:txBody>
      </p:sp>
      <p:sp>
        <p:nvSpPr>
          <p:cNvPr id="7" name="Rectangle: Rounded Corners 6">
            <a:extLst>
              <a:ext uri="{FF2B5EF4-FFF2-40B4-BE49-F238E27FC236}">
                <a16:creationId xmlns:a16="http://schemas.microsoft.com/office/drawing/2014/main" id="{5AE96110-CFA7-98D2-9389-37DB37699819}"/>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5854400" y="6401983"/>
            <a:ext cx="557784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5" name="Rectangle: Rounded Corners 4">
            <a:extLst>
              <a:ext uri="{FF2B5EF4-FFF2-40B4-BE49-F238E27FC236}">
                <a16:creationId xmlns:a16="http://schemas.microsoft.com/office/drawing/2014/main" id="{9A9C9713-579F-F9E7-F862-8A83B4CDD339}"/>
              </a:ext>
            </a:extLst>
          </p:cNvPr>
          <p:cNvSpPr/>
          <p:nvPr userDrawn="1"/>
        </p:nvSpPr>
        <p:spPr>
          <a:xfrm>
            <a:off x="9589008" y="102833"/>
            <a:ext cx="1959226"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cap="all" spc="100" baseline="0" noProof="0" dirty="0"/>
              <a:t>Pediatrics</a:t>
            </a:r>
            <a:endParaRPr lang="en-GB" sz="1400" b="1" noProof="0" dirty="0"/>
          </a:p>
        </p:txBody>
      </p:sp>
    </p:spTree>
    <p:extLst>
      <p:ext uri="{BB962C8B-B14F-4D97-AF65-F5344CB8AC3E}">
        <p14:creationId xmlns:p14="http://schemas.microsoft.com/office/powerpoint/2010/main" val="413717140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plit Layout Colou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F23BD9-21BC-9AD6-C1A7-C35F566A0BD0}"/>
              </a:ext>
            </a:extLst>
          </p:cNvPr>
          <p:cNvSpPr/>
          <p:nvPr userDrawn="1"/>
        </p:nvSpPr>
        <p:spPr>
          <a:xfrm>
            <a:off x="5577840" y="0"/>
            <a:ext cx="661416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 name="Rectangle 3">
            <a:extLst>
              <a:ext uri="{FF2B5EF4-FFF2-40B4-BE49-F238E27FC236}">
                <a16:creationId xmlns:a16="http://schemas.microsoft.com/office/drawing/2014/main" id="{05E7C9FB-125E-2FD9-3DF3-743247610BF8}"/>
              </a:ext>
            </a:extLst>
          </p:cNvPr>
          <p:cNvSpPr/>
          <p:nvPr userDrawn="1"/>
        </p:nvSpPr>
        <p:spPr>
          <a:xfrm>
            <a:off x="0" y="0"/>
            <a:ext cx="4424714"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213134" y="414320"/>
            <a:ext cx="3998446" cy="5562000"/>
          </a:xfrm>
        </p:spPr>
        <p:txBody>
          <a:bodyPr anchor="t"/>
          <a:lstStyle>
            <a:lvl1pPr algn="ctr">
              <a:defRPr>
                <a:solidFill>
                  <a:schemeClr val="bg1"/>
                </a:solidFill>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4565863" y="414320"/>
            <a:ext cx="6866377"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a:t>Click to edit Master text styles</a:t>
            </a:r>
          </a:p>
          <a:p>
            <a:pPr lvl="1"/>
            <a:r>
              <a:rPr lang="en-US"/>
              <a:t>Second level</a:t>
            </a:r>
          </a:p>
          <a:p>
            <a:pPr lvl="2"/>
            <a:r>
              <a:rPr lang="en-US"/>
              <a:t>Third level</a:t>
            </a:r>
          </a:p>
        </p:txBody>
      </p:sp>
      <p:sp>
        <p:nvSpPr>
          <p:cNvPr id="7" name="Rectangle: Rounded Corners 6">
            <a:extLst>
              <a:ext uri="{FF2B5EF4-FFF2-40B4-BE49-F238E27FC236}">
                <a16:creationId xmlns:a16="http://schemas.microsoft.com/office/drawing/2014/main" id="{0D8FEFDC-8097-C8E0-7872-E40962FCD507}"/>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9" name="Text Placeholder 4">
            <a:extLst>
              <a:ext uri="{FF2B5EF4-FFF2-40B4-BE49-F238E27FC236}">
                <a16:creationId xmlns:a16="http://schemas.microsoft.com/office/drawing/2014/main" id="{3AB91836-7546-5272-AE91-CCF5245ABE55}"/>
              </a:ext>
            </a:extLst>
          </p:cNvPr>
          <p:cNvSpPr>
            <a:spLocks noGrp="1"/>
          </p:cNvSpPr>
          <p:nvPr>
            <p:ph type="body" sz="quarter" idx="13" hasCustomPrompt="1"/>
          </p:nvPr>
        </p:nvSpPr>
        <p:spPr>
          <a:xfrm>
            <a:off x="4565863" y="6401983"/>
            <a:ext cx="6866377"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a:t>Insert notes</a:t>
            </a:r>
          </a:p>
        </p:txBody>
      </p:sp>
      <p:pic>
        <p:nvPicPr>
          <p:cNvPr id="11" name="Picture 10" descr="A black and white sign&#10;&#10;Description automatically generated with low confidence">
            <a:extLst>
              <a:ext uri="{FF2B5EF4-FFF2-40B4-BE49-F238E27FC236}">
                <a16:creationId xmlns:a16="http://schemas.microsoft.com/office/drawing/2014/main" id="{CD514EE2-2D7B-F98A-056E-F86464C0F4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5" name="Rectangle: Rounded Corners 4">
            <a:extLst>
              <a:ext uri="{FF2B5EF4-FFF2-40B4-BE49-F238E27FC236}">
                <a16:creationId xmlns:a16="http://schemas.microsoft.com/office/drawing/2014/main" id="{C4DC26FA-AE34-9B61-14D4-B5FFF1367BF5}"/>
              </a:ext>
            </a:extLst>
          </p:cNvPr>
          <p:cNvSpPr/>
          <p:nvPr userDrawn="1"/>
        </p:nvSpPr>
        <p:spPr>
          <a:xfrm>
            <a:off x="9589008" y="102833"/>
            <a:ext cx="1959226"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cap="all" spc="100" baseline="0" noProof="0" dirty="0"/>
              <a:t>Pediatrics</a:t>
            </a:r>
            <a:endParaRPr lang="en-GB" sz="1400" b="1" noProof="0" dirty="0"/>
          </a:p>
        </p:txBody>
      </p:sp>
      <p:cxnSp>
        <p:nvCxnSpPr>
          <p:cNvPr id="8" name="Straight Connector 7">
            <a:extLst>
              <a:ext uri="{FF2B5EF4-FFF2-40B4-BE49-F238E27FC236}">
                <a16:creationId xmlns:a16="http://schemas.microsoft.com/office/drawing/2014/main" id="{902284A2-2C88-60EE-DDF5-2B19CAB264A4}"/>
              </a:ext>
            </a:extLst>
          </p:cNvPr>
          <p:cNvCxnSpPr/>
          <p:nvPr userDrawn="1"/>
        </p:nvCxnSpPr>
        <p:spPr>
          <a:xfrm>
            <a:off x="166861" y="-240280"/>
            <a:ext cx="11893875" cy="700150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100170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hapter title A">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589626E4-F2E2-4F99-96F6-FB15BA8179A6}"/>
              </a:ext>
            </a:extLst>
          </p:cNvPr>
          <p:cNvSpPr/>
          <p:nvPr userDrawn="1"/>
        </p:nvSpPr>
        <p:spPr>
          <a:xfrm>
            <a:off x="8125754" y="13649"/>
            <a:ext cx="4055135" cy="6857999"/>
          </a:xfrm>
          <a:custGeom>
            <a:avLst/>
            <a:gdLst>
              <a:gd name="connsiteX0" fmla="*/ 145156 w 4055135"/>
              <a:gd name="connsiteY0" fmla="*/ 0 h 6857999"/>
              <a:gd name="connsiteX1" fmla="*/ 4055135 w 4055135"/>
              <a:gd name="connsiteY1" fmla="*/ 0 h 6857999"/>
              <a:gd name="connsiteX2" fmla="*/ 4055135 w 4055135"/>
              <a:gd name="connsiteY2" fmla="*/ 6857999 h 6857999"/>
              <a:gd name="connsiteX3" fmla="*/ 284539 w 4055135"/>
              <a:gd name="connsiteY3" fmla="*/ 6857999 h 6857999"/>
              <a:gd name="connsiteX4" fmla="*/ 943899 w 4055135"/>
              <a:gd name="connsiteY4" fmla="*/ 6164826 h 6857999"/>
              <a:gd name="connsiteX5" fmla="*/ 2861187 w 4055135"/>
              <a:gd name="connsiteY5" fmla="*/ 4807974 h 6857999"/>
              <a:gd name="connsiteX6" fmla="*/ 2861187 w 4055135"/>
              <a:gd name="connsiteY6" fmla="*/ 2536723 h 6857999"/>
              <a:gd name="connsiteX7" fmla="*/ 0 w 4055135"/>
              <a:gd name="connsiteY7" fmla="*/ 100289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5135" h="6857999">
                <a:moveTo>
                  <a:pt x="145156" y="0"/>
                </a:moveTo>
                <a:lnTo>
                  <a:pt x="4055135" y="0"/>
                </a:lnTo>
                <a:lnTo>
                  <a:pt x="4055135" y="6857999"/>
                </a:lnTo>
                <a:lnTo>
                  <a:pt x="284539" y="6857999"/>
                </a:lnTo>
                <a:lnTo>
                  <a:pt x="943899" y="6164826"/>
                </a:lnTo>
                <a:lnTo>
                  <a:pt x="2861187" y="4807974"/>
                </a:lnTo>
                <a:lnTo>
                  <a:pt x="2861187" y="2536723"/>
                </a:lnTo>
                <a:lnTo>
                  <a:pt x="0" y="1002890"/>
                </a:lnTo>
                <a:close/>
              </a:path>
            </a:pathLst>
          </a:custGeom>
          <a:gradFill flip="none" rotWithShape="1">
            <a:gsLst>
              <a:gs pos="0">
                <a:schemeClr val="accent1"/>
              </a:gs>
              <a:gs pos="98947">
                <a:schemeClr val="accent6">
                  <a:lumMod val="20000"/>
                  <a:lumOff val="80000"/>
                </a:schemeClr>
              </a:gs>
              <a:gs pos="75000">
                <a:schemeClr val="accent1">
                  <a:lumMod val="20000"/>
                  <a:lumOff val="8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CA" sz="2000" noProof="0" dirty="0"/>
          </a:p>
        </p:txBody>
      </p:sp>
      <p:pic>
        <p:nvPicPr>
          <p:cNvPr id="17" name="Picture 16" descr="Icon&#10;&#10;Description automatically generated">
            <a:extLst>
              <a:ext uri="{FF2B5EF4-FFF2-40B4-BE49-F238E27FC236}">
                <a16:creationId xmlns:a16="http://schemas.microsoft.com/office/drawing/2014/main" id="{1E475076-8623-4B0D-BAF1-60D9172C77D8}"/>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8682" t="28326" r="17763" b="28326"/>
          <a:stretch/>
        </p:blipFill>
        <p:spPr>
          <a:xfrm>
            <a:off x="8125751" y="0"/>
            <a:ext cx="4066250" cy="6858000"/>
          </a:xfrm>
          <a:custGeom>
            <a:avLst/>
            <a:gdLst>
              <a:gd name="connsiteX0" fmla="*/ 0 w 4066250"/>
              <a:gd name="connsiteY0" fmla="*/ 0 h 6858000"/>
              <a:gd name="connsiteX1" fmla="*/ 4066250 w 4066250"/>
              <a:gd name="connsiteY1" fmla="*/ 0 h 6858000"/>
              <a:gd name="connsiteX2" fmla="*/ 4066250 w 4066250"/>
              <a:gd name="connsiteY2" fmla="*/ 6858000 h 6858000"/>
              <a:gd name="connsiteX3" fmla="*/ 0 w 40662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6250" h="6858000">
                <a:moveTo>
                  <a:pt x="0" y="0"/>
                </a:moveTo>
                <a:lnTo>
                  <a:pt x="4066250" y="0"/>
                </a:lnTo>
                <a:lnTo>
                  <a:pt x="4066250" y="6858000"/>
                </a:lnTo>
                <a:lnTo>
                  <a:pt x="0" y="6858000"/>
                </a:lnTo>
                <a:close/>
              </a:path>
            </a:pathLst>
          </a:custGeom>
        </p:spPr>
      </p:pic>
      <p:pic>
        <p:nvPicPr>
          <p:cNvPr id="16" name="Picture 15" descr="Icon&#10;&#10;Description automatically generated">
            <a:extLst>
              <a:ext uri="{FF2B5EF4-FFF2-40B4-BE49-F238E27FC236}">
                <a16:creationId xmlns:a16="http://schemas.microsoft.com/office/drawing/2014/main" id="{E1606CA5-5E03-4E52-B744-146BD05F89B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8656" r="5282" b="19382"/>
          <a:stretch/>
        </p:blipFill>
        <p:spPr>
          <a:xfrm>
            <a:off x="4265240" y="13648"/>
            <a:ext cx="7915648" cy="6858000"/>
          </a:xfrm>
          <a:custGeom>
            <a:avLst/>
            <a:gdLst>
              <a:gd name="connsiteX0" fmla="*/ 0 w 7915648"/>
              <a:gd name="connsiteY0" fmla="*/ 0 h 6858000"/>
              <a:gd name="connsiteX1" fmla="*/ 7915648 w 7915648"/>
              <a:gd name="connsiteY1" fmla="*/ 0 h 6858000"/>
              <a:gd name="connsiteX2" fmla="*/ 7915648 w 7915648"/>
              <a:gd name="connsiteY2" fmla="*/ 6858000 h 6858000"/>
              <a:gd name="connsiteX3" fmla="*/ 0 w 791564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915648" h="6858000">
                <a:moveTo>
                  <a:pt x="0" y="0"/>
                </a:moveTo>
                <a:lnTo>
                  <a:pt x="7915648" y="0"/>
                </a:lnTo>
                <a:lnTo>
                  <a:pt x="7915648" y="6858000"/>
                </a:lnTo>
                <a:lnTo>
                  <a:pt x="0" y="6858000"/>
                </a:lnTo>
                <a:close/>
              </a:path>
            </a:pathLst>
          </a:custGeom>
        </p:spPr>
      </p:pic>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855662" y="1910218"/>
            <a:ext cx="7156223" cy="1814512"/>
          </a:xfrm>
        </p:spPr>
        <p:txBody>
          <a:bodyPr anchor="b"/>
          <a:lstStyle>
            <a:lvl1pPr marL="0" indent="0">
              <a:buNone/>
              <a:defRPr sz="4000"/>
            </a:lvl1pPr>
          </a:lstStyle>
          <a:p>
            <a:pPr lvl="0"/>
            <a:r>
              <a:rPr lang="en-US"/>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855662" y="3883932"/>
            <a:ext cx="7156223" cy="1655309"/>
          </a:xfrm>
        </p:spPr>
        <p:txBody>
          <a:bodyPr anchor="t"/>
          <a:lstStyle>
            <a:lvl1pPr marL="0" indent="0">
              <a:buNone/>
              <a:defRPr sz="2000" i="1">
                <a:solidFill>
                  <a:schemeClr val="accent4"/>
                </a:solidFill>
              </a:defRPr>
            </a:lvl1pPr>
          </a:lstStyle>
          <a:p>
            <a:pPr lvl="0"/>
            <a:r>
              <a:rPr lang="en-US"/>
              <a:t>Click to edit Master text styles</a:t>
            </a:r>
          </a:p>
        </p:txBody>
      </p:sp>
      <p:pic>
        <p:nvPicPr>
          <p:cNvPr id="7" name="Picture 6" descr="A black and white sign&#10;&#10;Description automatically generated with low confidence">
            <a:extLst>
              <a:ext uri="{FF2B5EF4-FFF2-40B4-BE49-F238E27FC236}">
                <a16:creationId xmlns:a16="http://schemas.microsoft.com/office/drawing/2014/main" id="{17F4CB69-0E80-620D-9602-FF397FC9B63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cxnSp>
        <p:nvCxnSpPr>
          <p:cNvPr id="2" name="Straight Connector 1">
            <a:extLst>
              <a:ext uri="{FF2B5EF4-FFF2-40B4-BE49-F238E27FC236}">
                <a16:creationId xmlns:a16="http://schemas.microsoft.com/office/drawing/2014/main" id="{A7ACAF4D-58E2-8871-4F2F-83E9E6F1F8F2}"/>
              </a:ext>
            </a:extLst>
          </p:cNvPr>
          <p:cNvCxnSpPr/>
          <p:nvPr userDrawn="1"/>
        </p:nvCxnSpPr>
        <p:spPr>
          <a:xfrm>
            <a:off x="166861" y="-240280"/>
            <a:ext cx="11893875" cy="700150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1236222"/>
      </p:ext>
    </p:extLst>
  </p:cSld>
  <p:clrMapOvr>
    <a:masterClrMapping/>
  </p:clrMapOvr>
  <p:extLst>
    <p:ext uri="{DCECCB84-F9BA-43D5-87BE-67443E8EF086}">
      <p15:sldGuideLst xmlns:p15="http://schemas.microsoft.com/office/powerpoint/2012/main">
        <p15:guide id="1" pos="3817">
          <p15:clr>
            <a:srgbClr val="FBAE40"/>
          </p15:clr>
        </p15:guide>
        <p15:guide id="2" pos="767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November 2025</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cxnSp>
        <p:nvCxnSpPr>
          <p:cNvPr id="3" name="Straight Connector 2">
            <a:extLst>
              <a:ext uri="{FF2B5EF4-FFF2-40B4-BE49-F238E27FC236}">
                <a16:creationId xmlns:a16="http://schemas.microsoft.com/office/drawing/2014/main" id="{6DC81DC0-F8BD-8BD3-AF98-150577BBFF95}"/>
              </a:ext>
            </a:extLst>
          </p:cNvPr>
          <p:cNvCxnSpPr/>
          <p:nvPr userDrawn="1"/>
        </p:nvCxnSpPr>
        <p:spPr>
          <a:xfrm>
            <a:off x="166861" y="-240280"/>
            <a:ext cx="11893875" cy="700150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719213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November 2025</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cxnSp>
        <p:nvCxnSpPr>
          <p:cNvPr id="3" name="Straight Connector 2">
            <a:extLst>
              <a:ext uri="{FF2B5EF4-FFF2-40B4-BE49-F238E27FC236}">
                <a16:creationId xmlns:a16="http://schemas.microsoft.com/office/drawing/2014/main" id="{F95C228D-3E09-6434-FFAC-767532882887}"/>
              </a:ext>
            </a:extLst>
          </p:cNvPr>
          <p:cNvCxnSpPr/>
          <p:nvPr userDrawn="1"/>
        </p:nvCxnSpPr>
        <p:spPr>
          <a:xfrm>
            <a:off x="166861" y="-240280"/>
            <a:ext cx="11893875" cy="700150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695848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November 2025</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cxnSp>
        <p:nvCxnSpPr>
          <p:cNvPr id="3" name="Straight Connector 2">
            <a:extLst>
              <a:ext uri="{FF2B5EF4-FFF2-40B4-BE49-F238E27FC236}">
                <a16:creationId xmlns:a16="http://schemas.microsoft.com/office/drawing/2014/main" id="{C378AC0A-E935-0392-91C1-387938C61D89}"/>
              </a:ext>
            </a:extLst>
          </p:cNvPr>
          <p:cNvCxnSpPr/>
          <p:nvPr userDrawn="1"/>
        </p:nvCxnSpPr>
        <p:spPr>
          <a:xfrm>
            <a:off x="166861" y="-240280"/>
            <a:ext cx="11893875" cy="700150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84820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17.xml"/><Relationship Id="rId21" Type="http://schemas.openxmlformats.org/officeDocument/2006/relationships/tags" Target="../tags/tag12.xml"/><Relationship Id="rId42" Type="http://schemas.openxmlformats.org/officeDocument/2006/relationships/tags" Target="../tags/tag33.xml"/><Relationship Id="rId47" Type="http://schemas.openxmlformats.org/officeDocument/2006/relationships/tags" Target="../tags/tag38.xml"/><Relationship Id="rId63" Type="http://schemas.openxmlformats.org/officeDocument/2006/relationships/tags" Target="../tags/tag54.xml"/><Relationship Id="rId68" Type="http://schemas.openxmlformats.org/officeDocument/2006/relationships/tags" Target="../tags/tag59.xml"/><Relationship Id="rId84" Type="http://schemas.openxmlformats.org/officeDocument/2006/relationships/tags" Target="../tags/tag75.xml"/><Relationship Id="rId89" Type="http://schemas.openxmlformats.org/officeDocument/2006/relationships/tags" Target="../tags/tag80.xml"/><Relationship Id="rId16" Type="http://schemas.openxmlformats.org/officeDocument/2006/relationships/tags" Target="../tags/tag7.xml"/><Relationship Id="rId11" Type="http://schemas.openxmlformats.org/officeDocument/2006/relationships/tags" Target="../tags/tag2.xml"/><Relationship Id="rId32" Type="http://schemas.openxmlformats.org/officeDocument/2006/relationships/tags" Target="../tags/tag23.xml"/><Relationship Id="rId37" Type="http://schemas.openxmlformats.org/officeDocument/2006/relationships/tags" Target="../tags/tag28.xml"/><Relationship Id="rId53" Type="http://schemas.openxmlformats.org/officeDocument/2006/relationships/tags" Target="../tags/tag44.xml"/><Relationship Id="rId58" Type="http://schemas.openxmlformats.org/officeDocument/2006/relationships/tags" Target="../tags/tag49.xml"/><Relationship Id="rId74" Type="http://schemas.openxmlformats.org/officeDocument/2006/relationships/tags" Target="../tags/tag65.xml"/><Relationship Id="rId79" Type="http://schemas.openxmlformats.org/officeDocument/2006/relationships/tags" Target="../tags/tag70.xml"/><Relationship Id="rId5" Type="http://schemas.openxmlformats.org/officeDocument/2006/relationships/slideLayout" Target="../slideLayouts/slideLayout5.xml"/><Relationship Id="rId90" Type="http://schemas.openxmlformats.org/officeDocument/2006/relationships/tags" Target="../tags/tag81.xml"/><Relationship Id="rId95" Type="http://schemas.openxmlformats.org/officeDocument/2006/relationships/tags" Target="../tags/tag86.xml"/><Relationship Id="rId22" Type="http://schemas.openxmlformats.org/officeDocument/2006/relationships/tags" Target="../tags/tag13.xml"/><Relationship Id="rId27" Type="http://schemas.openxmlformats.org/officeDocument/2006/relationships/tags" Target="../tags/tag18.xml"/><Relationship Id="rId43" Type="http://schemas.openxmlformats.org/officeDocument/2006/relationships/tags" Target="../tags/tag34.xml"/><Relationship Id="rId48" Type="http://schemas.openxmlformats.org/officeDocument/2006/relationships/tags" Target="../tags/tag39.xml"/><Relationship Id="rId64" Type="http://schemas.openxmlformats.org/officeDocument/2006/relationships/tags" Target="../tags/tag55.xml"/><Relationship Id="rId69" Type="http://schemas.openxmlformats.org/officeDocument/2006/relationships/tags" Target="../tags/tag60.xml"/><Relationship Id="rId80" Type="http://schemas.openxmlformats.org/officeDocument/2006/relationships/tags" Target="../tags/tag71.xml"/><Relationship Id="rId85" Type="http://schemas.openxmlformats.org/officeDocument/2006/relationships/tags" Target="../tags/tag76.xml"/><Relationship Id="rId3" Type="http://schemas.openxmlformats.org/officeDocument/2006/relationships/slideLayout" Target="../slideLayouts/slideLayout3.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33" Type="http://schemas.openxmlformats.org/officeDocument/2006/relationships/tags" Target="../tags/tag24.xml"/><Relationship Id="rId38" Type="http://schemas.openxmlformats.org/officeDocument/2006/relationships/tags" Target="../tags/tag29.xml"/><Relationship Id="rId46" Type="http://schemas.openxmlformats.org/officeDocument/2006/relationships/tags" Target="../tags/tag37.xml"/><Relationship Id="rId59" Type="http://schemas.openxmlformats.org/officeDocument/2006/relationships/tags" Target="../tags/tag50.xml"/><Relationship Id="rId67" Type="http://schemas.openxmlformats.org/officeDocument/2006/relationships/tags" Target="../tags/tag58.xml"/><Relationship Id="rId20" Type="http://schemas.openxmlformats.org/officeDocument/2006/relationships/tags" Target="../tags/tag11.xml"/><Relationship Id="rId41" Type="http://schemas.openxmlformats.org/officeDocument/2006/relationships/tags" Target="../tags/tag32.xml"/><Relationship Id="rId54" Type="http://schemas.openxmlformats.org/officeDocument/2006/relationships/tags" Target="../tags/tag45.xml"/><Relationship Id="rId62" Type="http://schemas.openxmlformats.org/officeDocument/2006/relationships/tags" Target="../tags/tag53.xml"/><Relationship Id="rId70" Type="http://schemas.openxmlformats.org/officeDocument/2006/relationships/tags" Target="../tags/tag61.xml"/><Relationship Id="rId75" Type="http://schemas.openxmlformats.org/officeDocument/2006/relationships/tags" Target="../tags/tag66.xml"/><Relationship Id="rId83" Type="http://schemas.openxmlformats.org/officeDocument/2006/relationships/tags" Target="../tags/tag74.xml"/><Relationship Id="rId88" Type="http://schemas.openxmlformats.org/officeDocument/2006/relationships/tags" Target="../tags/tag79.xml"/><Relationship Id="rId91" Type="http://schemas.openxmlformats.org/officeDocument/2006/relationships/tags" Target="../tags/tag82.xml"/><Relationship Id="rId96" Type="http://schemas.openxmlformats.org/officeDocument/2006/relationships/tags" Target="../tags/tag87.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36" Type="http://schemas.openxmlformats.org/officeDocument/2006/relationships/tags" Target="../tags/tag27.xml"/><Relationship Id="rId49" Type="http://schemas.openxmlformats.org/officeDocument/2006/relationships/tags" Target="../tags/tag40.xml"/><Relationship Id="rId57" Type="http://schemas.openxmlformats.org/officeDocument/2006/relationships/tags" Target="../tags/tag48.xml"/><Relationship Id="rId10" Type="http://schemas.openxmlformats.org/officeDocument/2006/relationships/theme" Target="../theme/theme1.xml"/><Relationship Id="rId31" Type="http://schemas.openxmlformats.org/officeDocument/2006/relationships/tags" Target="../tags/tag22.xml"/><Relationship Id="rId44" Type="http://schemas.openxmlformats.org/officeDocument/2006/relationships/tags" Target="../tags/tag35.xml"/><Relationship Id="rId52" Type="http://schemas.openxmlformats.org/officeDocument/2006/relationships/tags" Target="../tags/tag43.xml"/><Relationship Id="rId60" Type="http://schemas.openxmlformats.org/officeDocument/2006/relationships/tags" Target="../tags/tag51.xml"/><Relationship Id="rId65" Type="http://schemas.openxmlformats.org/officeDocument/2006/relationships/tags" Target="../tags/tag56.xml"/><Relationship Id="rId73" Type="http://schemas.openxmlformats.org/officeDocument/2006/relationships/tags" Target="../tags/tag64.xml"/><Relationship Id="rId78" Type="http://schemas.openxmlformats.org/officeDocument/2006/relationships/tags" Target="../tags/tag69.xml"/><Relationship Id="rId81" Type="http://schemas.openxmlformats.org/officeDocument/2006/relationships/tags" Target="../tags/tag72.xml"/><Relationship Id="rId86" Type="http://schemas.openxmlformats.org/officeDocument/2006/relationships/tags" Target="../tags/tag77.xml"/><Relationship Id="rId94" Type="http://schemas.openxmlformats.org/officeDocument/2006/relationships/tags" Target="../tags/tag85.xml"/><Relationship Id="rId9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tags" Target="../tags/tag4.xml"/><Relationship Id="rId18" Type="http://schemas.openxmlformats.org/officeDocument/2006/relationships/tags" Target="../tags/tag9.xml"/><Relationship Id="rId39" Type="http://schemas.openxmlformats.org/officeDocument/2006/relationships/tags" Target="../tags/tag30.xml"/><Relationship Id="rId34" Type="http://schemas.openxmlformats.org/officeDocument/2006/relationships/tags" Target="../tags/tag25.xml"/><Relationship Id="rId50" Type="http://schemas.openxmlformats.org/officeDocument/2006/relationships/tags" Target="../tags/tag41.xml"/><Relationship Id="rId55" Type="http://schemas.openxmlformats.org/officeDocument/2006/relationships/tags" Target="../tags/tag46.xml"/><Relationship Id="rId76" Type="http://schemas.openxmlformats.org/officeDocument/2006/relationships/tags" Target="../tags/tag67.xml"/><Relationship Id="rId97" Type="http://schemas.openxmlformats.org/officeDocument/2006/relationships/tags" Target="../tags/tag88.xml"/><Relationship Id="rId7" Type="http://schemas.openxmlformats.org/officeDocument/2006/relationships/slideLayout" Target="../slideLayouts/slideLayout7.xml"/><Relationship Id="rId71" Type="http://schemas.openxmlformats.org/officeDocument/2006/relationships/tags" Target="../tags/tag62.xml"/><Relationship Id="rId92" Type="http://schemas.openxmlformats.org/officeDocument/2006/relationships/tags" Target="../tags/tag83.xml"/><Relationship Id="rId2" Type="http://schemas.openxmlformats.org/officeDocument/2006/relationships/slideLayout" Target="../slideLayouts/slideLayout2.xml"/><Relationship Id="rId29" Type="http://schemas.openxmlformats.org/officeDocument/2006/relationships/tags" Target="../tags/tag20.xml"/><Relationship Id="rId24" Type="http://schemas.openxmlformats.org/officeDocument/2006/relationships/tags" Target="../tags/tag15.xml"/><Relationship Id="rId40" Type="http://schemas.openxmlformats.org/officeDocument/2006/relationships/tags" Target="../tags/tag31.xml"/><Relationship Id="rId45" Type="http://schemas.openxmlformats.org/officeDocument/2006/relationships/tags" Target="../tags/tag36.xml"/><Relationship Id="rId66" Type="http://schemas.openxmlformats.org/officeDocument/2006/relationships/tags" Target="../tags/tag57.xml"/><Relationship Id="rId87" Type="http://schemas.openxmlformats.org/officeDocument/2006/relationships/tags" Target="../tags/tag78.xml"/><Relationship Id="rId61" Type="http://schemas.openxmlformats.org/officeDocument/2006/relationships/tags" Target="../tags/tag52.xml"/><Relationship Id="rId82" Type="http://schemas.openxmlformats.org/officeDocument/2006/relationships/tags" Target="../tags/tag73.xml"/><Relationship Id="rId19" Type="http://schemas.openxmlformats.org/officeDocument/2006/relationships/tags" Target="../tags/tag10.xml"/><Relationship Id="rId14" Type="http://schemas.openxmlformats.org/officeDocument/2006/relationships/tags" Target="../tags/tag5.xml"/><Relationship Id="rId30" Type="http://schemas.openxmlformats.org/officeDocument/2006/relationships/tags" Target="../tags/tag21.xml"/><Relationship Id="rId35" Type="http://schemas.openxmlformats.org/officeDocument/2006/relationships/tags" Target="../tags/tag26.xml"/><Relationship Id="rId56" Type="http://schemas.openxmlformats.org/officeDocument/2006/relationships/tags" Target="../tags/tag47.xml"/><Relationship Id="rId77" Type="http://schemas.openxmlformats.org/officeDocument/2006/relationships/tags" Target="../tags/tag68.xml"/><Relationship Id="rId8" Type="http://schemas.openxmlformats.org/officeDocument/2006/relationships/slideLayout" Target="../slideLayouts/slideLayout8.xml"/><Relationship Id="rId51" Type="http://schemas.openxmlformats.org/officeDocument/2006/relationships/tags" Target="../tags/tag42.xml"/><Relationship Id="rId72" Type="http://schemas.openxmlformats.org/officeDocument/2006/relationships/tags" Target="../tags/tag63.xml"/><Relationship Id="rId93" Type="http://schemas.openxmlformats.org/officeDocument/2006/relationships/tags" Target="../tags/tag84.xml"/><Relationship Id="rId98" Type="http://schemas.openxmlformats.org/officeDocument/2006/relationships/tags" Target="../tags/tag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95330BF5-0E49-6F2F-FBFB-A4C627C5AEF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3" name="Text Placeholder 2"/>
          <p:cNvSpPr>
            <a:spLocks noGrp="1"/>
          </p:cNvSpPr>
          <p:nvPr>
            <p:ph type="body" idx="1"/>
          </p:nvPr>
        </p:nvSpPr>
        <p:spPr>
          <a:xfrm>
            <a:off x="536240" y="1661160"/>
            <a:ext cx="10896000" cy="431516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6240" y="414320"/>
            <a:ext cx="10896000" cy="1082209"/>
          </a:xfrm>
          <a:prstGeom prst="rect">
            <a:avLst/>
          </a:prstGeom>
        </p:spPr>
        <p:txBody>
          <a:bodyPr vert="horz" lIns="0" tIns="0" rIns="0" bIns="0" rtlCol="0" anchor="b" anchorCtr="0">
            <a:noAutofit/>
          </a:bodyPr>
          <a:lstStyle/>
          <a:p>
            <a:r>
              <a:rPr lang="en-GB"/>
              <a:t>Click to edit Master title style</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11"/>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12"/>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13"/>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14"/>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15"/>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16"/>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17"/>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18"/>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19"/>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20"/>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21"/>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22"/>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23"/>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24"/>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25"/>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26"/>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27"/>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28"/>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29"/>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30"/>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31"/>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32"/>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33"/>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34"/>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35"/>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36"/>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37"/>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38"/>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39"/>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40"/>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41"/>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42"/>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43"/>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44"/>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45"/>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46"/>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47"/>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48"/>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49"/>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50"/>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51"/>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52"/>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53"/>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54"/>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55"/>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56"/>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57"/>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58"/>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59"/>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60"/>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61"/>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62"/>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63"/>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64"/>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65"/>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66"/>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67"/>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68"/>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69"/>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70"/>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71"/>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72"/>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73"/>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74"/>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75"/>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76"/>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77"/>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78"/>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79"/>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80"/>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81"/>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82"/>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83"/>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84"/>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85"/>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86"/>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87"/>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88"/>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89"/>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90"/>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91"/>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92"/>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93"/>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94"/>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95"/>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96"/>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97"/>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98"/>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7"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a:p>
        </p:txBody>
      </p:sp>
      <p:cxnSp>
        <p:nvCxnSpPr>
          <p:cNvPr id="8" name="Straight Connector 7">
            <a:extLst>
              <a:ext uri="{FF2B5EF4-FFF2-40B4-BE49-F238E27FC236}">
                <a16:creationId xmlns:a16="http://schemas.microsoft.com/office/drawing/2014/main" id="{40343992-1AE0-73F4-85AF-D861DD270DD9}"/>
              </a:ext>
            </a:extLst>
          </p:cNvPr>
          <p:cNvCxnSpPr>
            <a:cxnSpLocks/>
          </p:cNvCxnSpPr>
          <p:nvPr userDrawn="1"/>
        </p:nvCxnSpPr>
        <p:spPr>
          <a:xfrm>
            <a:off x="0" y="1577187"/>
            <a:ext cx="12192000" cy="0"/>
          </a:xfrm>
          <a:prstGeom prst="line">
            <a:avLst/>
          </a:prstGeom>
          <a:ln w="19050">
            <a:gradFill>
              <a:gsLst>
                <a:gs pos="0">
                  <a:schemeClr val="tx2"/>
                </a:gs>
                <a:gs pos="83000">
                  <a:schemeClr val="tx1"/>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1053B5F5-B62E-9FE5-4D99-CF716497E430}"/>
              </a:ext>
            </a:extLst>
          </p:cNvPr>
          <p:cNvSpPr/>
          <p:nvPr userDrawn="1"/>
        </p:nvSpPr>
        <p:spPr>
          <a:xfrm>
            <a:off x="9589008" y="102833"/>
            <a:ext cx="1959226"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cap="all" spc="100" baseline="0" noProof="0" dirty="0"/>
              <a:t>Pediatrics</a:t>
            </a:r>
            <a:r>
              <a:rPr lang="en-GB" sz="1400" spc="100" baseline="0" noProof="0" dirty="0"/>
              <a:t>​</a:t>
            </a:r>
            <a:endParaRPr lang="en-GB" sz="1400" b="1" noProof="0" dirty="0"/>
          </a:p>
        </p:txBody>
      </p:sp>
      <p:sp>
        <p:nvSpPr>
          <p:cNvPr id="2" name="Rectangle 1">
            <a:extLst>
              <a:ext uri="{FF2B5EF4-FFF2-40B4-BE49-F238E27FC236}">
                <a16:creationId xmlns:a16="http://schemas.microsoft.com/office/drawing/2014/main" id="{E836D366-32A8-25C2-A0D0-29D0675E1F80}"/>
              </a:ext>
            </a:extLst>
          </p:cNvPr>
          <p:cNvSpPr/>
          <p:nvPr userDrawn="1"/>
        </p:nvSpPr>
        <p:spPr>
          <a:xfrm>
            <a:off x="0" y="6443680"/>
            <a:ext cx="12192000" cy="414319"/>
          </a:xfrm>
          <a:prstGeom prst="rect">
            <a:avLst/>
          </a:prstGeom>
          <a:gradFill flip="none" rotWithShape="1">
            <a:gsLst>
              <a:gs pos="71600">
                <a:schemeClr val="tx1"/>
              </a:gs>
              <a:gs pos="0">
                <a:schemeClr val="tx1"/>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pic>
        <p:nvPicPr>
          <p:cNvPr id="9" name="Picture 8" descr="A black and white sign&#10;&#10;Description automatically generated with low confidence">
            <a:extLst>
              <a:ext uri="{FF2B5EF4-FFF2-40B4-BE49-F238E27FC236}">
                <a16:creationId xmlns:a16="http://schemas.microsoft.com/office/drawing/2014/main" id="{4BCB4E48-F428-6152-114B-4A96935D2253}"/>
              </a:ext>
            </a:extLst>
          </p:cNvPr>
          <p:cNvPicPr>
            <a:picLocks noChangeAspect="1"/>
          </p:cNvPicPr>
          <p:nvPr userDrawn="1"/>
        </p:nvPicPr>
        <p:blipFill>
          <a:blip r:embed="rId99">
            <a:extLst>
              <a:ext uri="{28A0092B-C50C-407E-A947-70E740481C1C}">
                <a14:useLocalDpi xmlns:a14="http://schemas.microsoft.com/office/drawing/2010/main" val="0"/>
              </a:ext>
            </a:extLst>
          </a:blip>
          <a:stretch>
            <a:fillRect/>
          </a:stretch>
        </p:blipFill>
        <p:spPr>
          <a:xfrm>
            <a:off x="11007011" y="6506176"/>
            <a:ext cx="994493" cy="279790"/>
          </a:xfrm>
          <a:prstGeom prst="rect">
            <a:avLst/>
          </a:prstGeom>
        </p:spPr>
      </p:pic>
    </p:spTree>
    <p:extLst>
      <p:ext uri="{BB962C8B-B14F-4D97-AF65-F5344CB8AC3E}">
        <p14:creationId xmlns:p14="http://schemas.microsoft.com/office/powerpoint/2010/main" val="2074751699"/>
      </p:ext>
    </p:extLst>
  </p:cSld>
  <p:clrMap bg1="lt1" tx1="dk1" bg2="lt2" tx2="dk2" accent1="accent1" accent2="accent2" accent3="accent3" accent4="accent4" accent5="accent5" accent6="accent6" hlink="hlink" folHlink="folHlink"/>
  <p:sldLayoutIdLst>
    <p:sldLayoutId id="2147483786" r:id="rId1"/>
    <p:sldLayoutId id="2147483789" r:id="rId2"/>
    <p:sldLayoutId id="2147483790" r:id="rId3"/>
    <p:sldLayoutId id="2147483791" r:id="rId4"/>
    <p:sldLayoutId id="2147483792" r:id="rId5"/>
    <p:sldLayoutId id="2147483794" r:id="rId6"/>
    <p:sldLayoutId id="2147483797" r:id="rId7"/>
    <p:sldLayoutId id="2147483798" r:id="rId8"/>
    <p:sldLayoutId id="2147483799" r:id="rId9"/>
  </p:sldLayoutIdLst>
  <p:hf sldNum="0" hdr="0" ftr="0" dt="0"/>
  <p:txStyles>
    <p:titleStyle>
      <a:lvl1pPr algn="l" defTabSz="914332"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jesse.tg/ngc-archive/summary/10019" TargetMode="External"/><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5.sv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5.svg"/></Relationships>
</file>

<file path=ppt/slides/_rels/slide13.xml.rels><?xml version="1.0" encoding="UTF-8" standalone="yes"?>
<Relationships xmlns="http://schemas.openxmlformats.org/package/2006/relationships"><Relationship Id="rId3" Type="http://schemas.openxmlformats.org/officeDocument/2006/relationships/hyperlink" Target="https://www.pwsa.co.uk/what-is-pws"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hyperlink" Target="https://www.endocrine.org/topics/edc/what-edcs-are/common-edcs/metabolic"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4.png"/><Relationship Id="rId7"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5.svg"/></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hyperlink" Target="https://www.nice.org.uk/guidance/ng246" TargetMode="External"/><Relationship Id="rId7" Type="http://schemas.openxmlformats.org/officeDocument/2006/relationships/image" Target="../media/image25.svg"/><Relationship Id="rId12"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1.svg"/><Relationship Id="rId10" Type="http://schemas.openxmlformats.org/officeDocument/2006/relationships/image" Target="../media/image28.png"/><Relationship Id="rId4" Type="http://schemas.openxmlformats.org/officeDocument/2006/relationships/image" Target="../media/image20.png"/><Relationship Id="rId9" Type="http://schemas.openxmlformats.org/officeDocument/2006/relationships/image" Target="../media/image27.svg"/></Relationships>
</file>

<file path=ppt/slides/_rels/slide16.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s>
</file>

<file path=ppt/slides/_rels/slide17.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40.png"/><Relationship Id="rId7" Type="http://schemas.openxmlformats.org/officeDocument/2006/relationships/image" Target="../media/image24.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43.svg"/><Relationship Id="rId5" Type="http://schemas.openxmlformats.org/officeDocument/2006/relationships/image" Target="../media/image42.png"/><Relationship Id="rId10" Type="http://schemas.openxmlformats.org/officeDocument/2006/relationships/image" Target="../media/image31.svg"/><Relationship Id="rId4" Type="http://schemas.openxmlformats.org/officeDocument/2006/relationships/image" Target="../media/image41.svg"/><Relationship Id="rId9" Type="http://schemas.openxmlformats.org/officeDocument/2006/relationships/image" Target="../media/image30.png"/></Relationships>
</file>

<file path=ppt/slides/_rels/slide18.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4.png"/><Relationship Id="rId7"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25.svg"/></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45.sv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6.emf"/></Relationships>
</file>

<file path=ppt/slides/_rels/slide20.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hyperlink" Target="https://www.accessdata.fda.gov/drugsatfda_docs/label/2015/020766s035lbl.pdf" TargetMode="External"/><Relationship Id="rId7"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hyperlink" Target="https://www.novo-pi.com/saxenda.pdf" TargetMode="External"/><Relationship Id="rId5" Type="http://schemas.openxmlformats.org/officeDocument/2006/relationships/hyperlink" Target="https://www.novo-pi.com/wegovy.pdf" TargetMode="External"/><Relationship Id="rId4" Type="http://schemas.openxmlformats.org/officeDocument/2006/relationships/hyperlink" Target="https://www.accessdata.fda.gov/drugsatfda_docs/label/2012/022580s000lbl.pdf"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49.sv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51.sv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hyperlink" Target="http://www.who.int/dietphysicalactivity/childhood/en/" TargetMode="External"/><Relationship Id="rId4" Type="http://schemas.openxmlformats.org/officeDocument/2006/relationships/image" Target="../media/image12.svg"/></Relationships>
</file>

<file path=ppt/slides/_rels/slide5.xml.rels><?xml version="1.0" encoding="UTF-8" standalone="yes"?>
<Relationships xmlns="http://schemas.openxmlformats.org/package/2006/relationships"><Relationship Id="rId3" Type="http://schemas.openxmlformats.org/officeDocument/2006/relationships/hyperlink" Target="https://www.cdc.gov/growthcharts/cdc_charts.htm"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hyperlink" Target="https://cdn.who.int/media/docs/default-source/child-growth/growth-reference-5-19-years/bmi-for-age-(5-19-years)/sft-bmifa-girls-z-5-19years.pdf?sfvrsn=571135b3"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hyperlink" Target="https://my.pbrc.edu/Clinic/Tools/BMI/"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5.sv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hyperlink" Target="http://ncdrisc.org/data-downloads-adiposity-ado.html" TargetMode="External"/><Relationship Id="rId7" Type="http://schemas.openxmlformats.org/officeDocument/2006/relationships/image" Target="../media/image17.sv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hyperlink" Target="https://www.endocrine.org/-/media/endocrine/files/obesity/obesity-playbook-final_use.pdf" TargetMode="External"/><Relationship Id="rId4" Type="http://schemas.openxmlformats.org/officeDocument/2006/relationships/hyperlink" Target="https://www.cdc.gov/obesity/childhood-obesity-facts/childhood-obesity-facts.html?CDC_AAref_Val=https://www.cdc.gov/obesity/data/childhood.html"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stateofchildhoodobesity.org/demographic-data/ages-6-17/"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3">
            <a:extLst>
              <a:ext uri="{FF2B5EF4-FFF2-40B4-BE49-F238E27FC236}">
                <a16:creationId xmlns:a16="http://schemas.microsoft.com/office/drawing/2014/main" id="{F5D8AE74-4FEA-45D5-B54C-B2CDBF3BA2F7}"/>
              </a:ext>
            </a:extLst>
          </p:cNvPr>
          <p:cNvSpPr txBox="1">
            <a:spLocks/>
          </p:cNvSpPr>
          <p:nvPr/>
        </p:nvSpPr>
        <p:spPr>
          <a:xfrm>
            <a:off x="1112169" y="1332248"/>
            <a:ext cx="8886596" cy="3993516"/>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7200" b="1" i="0" u="none" strike="noStrike" kern="1200" cap="none" spc="0" normalizeH="0" baseline="0" noProof="0" dirty="0">
              <a:ln>
                <a:noFill/>
              </a:ln>
              <a:solidFill>
                <a:srgbClr val="263C50"/>
              </a:solidFill>
              <a:effectLst/>
              <a:uLnTx/>
              <a:uFillTx/>
              <a:latin typeface="Arial Nova Light"/>
              <a:ea typeface="+mn-ea"/>
              <a:cs typeface="+mn-cs"/>
            </a:endParaRPr>
          </a:p>
        </p:txBody>
      </p:sp>
      <p:sp>
        <p:nvSpPr>
          <p:cNvPr id="3" name="Text Placeholder 13">
            <a:extLst>
              <a:ext uri="{FF2B5EF4-FFF2-40B4-BE49-F238E27FC236}">
                <a16:creationId xmlns:a16="http://schemas.microsoft.com/office/drawing/2014/main" id="{77F105AD-A069-45B0-A27E-C21F8D00A663}"/>
              </a:ext>
            </a:extLst>
          </p:cNvPr>
          <p:cNvSpPr txBox="1">
            <a:spLocks/>
          </p:cNvSpPr>
          <p:nvPr/>
        </p:nvSpPr>
        <p:spPr>
          <a:xfrm>
            <a:off x="1146420" y="5308106"/>
            <a:ext cx="5546703" cy="592183"/>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4000" b="0" i="0" u="none" strike="noStrike" kern="1200" cap="none" spc="0" normalizeH="0" baseline="0" noProof="0" dirty="0">
              <a:ln>
                <a:noFill/>
              </a:ln>
              <a:solidFill>
                <a:srgbClr val="263C50"/>
              </a:solidFill>
              <a:effectLst/>
              <a:uLnTx/>
              <a:uFillTx/>
              <a:latin typeface="Arial Nova Light"/>
              <a:ea typeface="+mn-ea"/>
              <a:cs typeface="+mn-cs"/>
            </a:endParaRPr>
          </a:p>
        </p:txBody>
      </p:sp>
      <p:sp>
        <p:nvSpPr>
          <p:cNvPr id="9" name="Text Placeholder 8">
            <a:extLst>
              <a:ext uri="{FF2B5EF4-FFF2-40B4-BE49-F238E27FC236}">
                <a16:creationId xmlns:a16="http://schemas.microsoft.com/office/drawing/2014/main" id="{FD3B012C-DFC1-79FB-F9B3-78986ECF025A}"/>
              </a:ext>
            </a:extLst>
          </p:cNvPr>
          <p:cNvSpPr>
            <a:spLocks noGrp="1"/>
          </p:cNvSpPr>
          <p:nvPr>
            <p:ph type="body" sz="quarter" idx="10"/>
          </p:nvPr>
        </p:nvSpPr>
        <p:spPr>
          <a:xfrm>
            <a:off x="553980" y="1910218"/>
            <a:ext cx="5505508" cy="1814512"/>
          </a:xfrm>
        </p:spPr>
        <p:txBody>
          <a:bodyPr/>
          <a:lstStyle/>
          <a:p>
            <a:r>
              <a:rPr lang="en-US" noProof="0" dirty="0"/>
              <a:t>Pediatric and Adolescent Obesity​​​ Management</a:t>
            </a:r>
          </a:p>
        </p:txBody>
      </p:sp>
      <p:sp>
        <p:nvSpPr>
          <p:cNvPr id="10" name="Text Placeholder 9">
            <a:extLst>
              <a:ext uri="{FF2B5EF4-FFF2-40B4-BE49-F238E27FC236}">
                <a16:creationId xmlns:a16="http://schemas.microsoft.com/office/drawing/2014/main" id="{1D1C86A7-CF1E-B1F9-D06C-4E8310A05E49}"/>
              </a:ext>
            </a:extLst>
          </p:cNvPr>
          <p:cNvSpPr>
            <a:spLocks noGrp="1"/>
          </p:cNvSpPr>
          <p:nvPr>
            <p:ph type="body" sz="quarter" idx="11"/>
          </p:nvPr>
        </p:nvSpPr>
        <p:spPr>
          <a:xfrm>
            <a:off x="553980" y="3883932"/>
            <a:ext cx="5505508" cy="1655309"/>
          </a:xfrm>
        </p:spPr>
        <p:txBody>
          <a:bodyPr/>
          <a:lstStyle/>
          <a:p>
            <a:r>
              <a:rPr lang="en-US" noProof="0" dirty="0"/>
              <a:t>Module 11</a:t>
            </a:r>
          </a:p>
          <a:p>
            <a:endParaRPr lang="en-US" noProof="0" dirty="0"/>
          </a:p>
        </p:txBody>
      </p:sp>
    </p:spTree>
    <p:extLst>
      <p:ext uri="{BB962C8B-B14F-4D97-AF65-F5344CB8AC3E}">
        <p14:creationId xmlns:p14="http://schemas.microsoft.com/office/powerpoint/2010/main" val="425011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50EB80-A17E-CCC0-047F-A2C372C292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0AD428-13D9-D3E2-2319-57D05F899EEE}"/>
              </a:ext>
            </a:extLst>
          </p:cNvPr>
          <p:cNvSpPr>
            <a:spLocks noGrp="1"/>
          </p:cNvSpPr>
          <p:nvPr>
            <p:ph type="title"/>
          </p:nvPr>
        </p:nvSpPr>
        <p:spPr/>
        <p:txBody>
          <a:bodyPr>
            <a:noAutofit/>
          </a:bodyPr>
          <a:lstStyle/>
          <a:p>
            <a:r>
              <a:rPr lang="en-US" noProof="0" dirty="0"/>
              <a:t>Risk factors for pediatric obesity are complex </a:t>
            </a:r>
            <a:br>
              <a:rPr lang="en-US" noProof="0" dirty="0"/>
            </a:br>
            <a:r>
              <a:rPr lang="en-US" noProof="0" dirty="0"/>
              <a:t>and multifactorial</a:t>
            </a:r>
          </a:p>
        </p:txBody>
      </p:sp>
      <p:sp>
        <p:nvSpPr>
          <p:cNvPr id="3" name="Text Placeholder 2">
            <a:extLst>
              <a:ext uri="{FF2B5EF4-FFF2-40B4-BE49-F238E27FC236}">
                <a16:creationId xmlns:a16="http://schemas.microsoft.com/office/drawing/2014/main" id="{1B05CE1A-9B00-4DA5-EA82-3389C7393381}"/>
              </a:ext>
            </a:extLst>
          </p:cNvPr>
          <p:cNvSpPr>
            <a:spLocks noGrp="1"/>
          </p:cNvSpPr>
          <p:nvPr>
            <p:ph type="body" sz="quarter" idx="13"/>
          </p:nvPr>
        </p:nvSpPr>
        <p:spPr/>
        <p:txBody>
          <a:bodyPr/>
          <a:lstStyle/>
          <a:p>
            <a:r>
              <a:rPr lang="en-US" noProof="0" dirty="0"/>
              <a:t>1. Hampl SE et al. Pediatrics 2023;151:e2022060640; 2. Fitch A et al. Institute for Clinical Systems Improvement. Prevention and management of obesity for children and adolescents (2013). </a:t>
            </a:r>
            <a:r>
              <a:rPr lang="en-US" noProof="0" dirty="0">
                <a:hlinkClick r:id="rId3">
                  <a:extLst>
                    <a:ext uri="{A12FA001-AC4F-418D-AE19-62706E023703}">
                      <ahyp:hlinkClr xmlns:ahyp="http://schemas.microsoft.com/office/drawing/2018/hyperlinkcolor" val="tx"/>
                    </a:ext>
                  </a:extLst>
                </a:hlinkClick>
              </a:rPr>
              <a:t>https://jesse.tg/ngc-archive/summary/10019</a:t>
            </a:r>
            <a:r>
              <a:rPr lang="en-US" noProof="0" dirty="0"/>
              <a:t>. Accessed October 2025; 3. Kumar S, Kelly AS. Mayo Clin Proc 2017;92:251–265.</a:t>
            </a:r>
          </a:p>
        </p:txBody>
      </p:sp>
      <p:grpSp>
        <p:nvGrpSpPr>
          <p:cNvPr id="7" name="Group 6">
            <a:extLst>
              <a:ext uri="{FF2B5EF4-FFF2-40B4-BE49-F238E27FC236}">
                <a16:creationId xmlns:a16="http://schemas.microsoft.com/office/drawing/2014/main" id="{E9482B6B-3562-F78E-9238-6F8514D9CA7C}"/>
              </a:ext>
            </a:extLst>
          </p:cNvPr>
          <p:cNvGrpSpPr/>
          <p:nvPr/>
        </p:nvGrpSpPr>
        <p:grpSpPr>
          <a:xfrm>
            <a:off x="6250530" y="948683"/>
            <a:ext cx="5165994" cy="5181184"/>
            <a:chOff x="3427412" y="1181099"/>
            <a:chExt cx="5334000" cy="5349685"/>
          </a:xfrm>
        </p:grpSpPr>
        <p:sp>
          <p:nvSpPr>
            <p:cNvPr id="8" name="Oval 7">
              <a:extLst>
                <a:ext uri="{FF2B5EF4-FFF2-40B4-BE49-F238E27FC236}">
                  <a16:creationId xmlns:a16="http://schemas.microsoft.com/office/drawing/2014/main" id="{ACC0266D-6F79-9F14-5A4E-34315DEDF815}"/>
                </a:ext>
              </a:extLst>
            </p:cNvPr>
            <p:cNvSpPr/>
            <p:nvPr/>
          </p:nvSpPr>
          <p:spPr>
            <a:xfrm>
              <a:off x="3427412" y="6149784"/>
              <a:ext cx="5334000" cy="381000"/>
            </a:xfrm>
            <a:prstGeom prst="ellipse">
              <a:avLst/>
            </a:prstGeom>
            <a:gradFill flip="none" rotWithShape="1">
              <a:gsLst>
                <a:gs pos="0">
                  <a:schemeClr val="tx1">
                    <a:lumMod val="95000"/>
                    <a:lumOff val="5000"/>
                    <a:alpha val="58000"/>
                  </a:schemeClr>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96E6F123-5F25-EC2E-0D85-6512FD79DBF2}"/>
                </a:ext>
              </a:extLst>
            </p:cNvPr>
            <p:cNvSpPr>
              <a:spLocks/>
            </p:cNvSpPr>
            <p:nvPr/>
          </p:nvSpPr>
          <p:spPr bwMode="auto">
            <a:xfrm>
              <a:off x="4041774" y="1181099"/>
              <a:ext cx="1868488" cy="1919288"/>
            </a:xfrm>
            <a:custGeom>
              <a:avLst/>
              <a:gdLst/>
              <a:ahLst/>
              <a:cxnLst>
                <a:cxn ang="0">
                  <a:pos x="1135" y="0"/>
                </a:cxn>
                <a:cxn ang="0">
                  <a:pos x="1177" y="1003"/>
                </a:cxn>
                <a:cxn ang="0">
                  <a:pos x="1121" y="1008"/>
                </a:cxn>
                <a:cxn ang="0">
                  <a:pos x="1067" y="1017"/>
                </a:cxn>
                <a:cxn ang="0">
                  <a:pos x="1015" y="1032"/>
                </a:cxn>
                <a:cxn ang="0">
                  <a:pos x="964" y="1052"/>
                </a:cxn>
                <a:cxn ang="0">
                  <a:pos x="917" y="1076"/>
                </a:cxn>
                <a:cxn ang="0">
                  <a:pos x="871" y="1103"/>
                </a:cxn>
                <a:cxn ang="0">
                  <a:pos x="829" y="1135"/>
                </a:cxn>
                <a:cxn ang="0">
                  <a:pos x="790" y="1170"/>
                </a:cxn>
                <a:cxn ang="0">
                  <a:pos x="754" y="1209"/>
                </a:cxn>
                <a:cxn ang="0">
                  <a:pos x="0" y="548"/>
                </a:cxn>
                <a:cxn ang="0">
                  <a:pos x="62" y="481"/>
                </a:cxn>
                <a:cxn ang="0">
                  <a:pos x="127" y="417"/>
                </a:cxn>
                <a:cxn ang="0">
                  <a:pos x="195" y="358"/>
                </a:cxn>
                <a:cxn ang="0">
                  <a:pos x="268" y="301"/>
                </a:cxn>
                <a:cxn ang="0">
                  <a:pos x="342" y="250"/>
                </a:cxn>
                <a:cxn ang="0">
                  <a:pos x="420" y="203"/>
                </a:cxn>
                <a:cxn ang="0">
                  <a:pos x="501" y="160"/>
                </a:cxn>
                <a:cxn ang="0">
                  <a:pos x="585" y="122"/>
                </a:cxn>
                <a:cxn ang="0">
                  <a:pos x="672" y="89"/>
                </a:cxn>
                <a:cxn ang="0">
                  <a:pos x="760" y="60"/>
                </a:cxn>
                <a:cxn ang="0">
                  <a:pos x="851" y="37"/>
                </a:cxn>
                <a:cxn ang="0">
                  <a:pos x="943" y="19"/>
                </a:cxn>
                <a:cxn ang="0">
                  <a:pos x="1039" y="6"/>
                </a:cxn>
                <a:cxn ang="0">
                  <a:pos x="1135" y="0"/>
                </a:cxn>
              </a:cxnLst>
              <a:rect l="0" t="0" r="r" b="b"/>
              <a:pathLst>
                <a:path w="1177" h="1209">
                  <a:moveTo>
                    <a:pt x="1135" y="0"/>
                  </a:moveTo>
                  <a:lnTo>
                    <a:pt x="1177" y="1003"/>
                  </a:lnTo>
                  <a:lnTo>
                    <a:pt x="1121" y="1008"/>
                  </a:lnTo>
                  <a:lnTo>
                    <a:pt x="1067" y="1017"/>
                  </a:lnTo>
                  <a:lnTo>
                    <a:pt x="1015" y="1032"/>
                  </a:lnTo>
                  <a:lnTo>
                    <a:pt x="964" y="1052"/>
                  </a:lnTo>
                  <a:lnTo>
                    <a:pt x="917" y="1076"/>
                  </a:lnTo>
                  <a:lnTo>
                    <a:pt x="871" y="1103"/>
                  </a:lnTo>
                  <a:lnTo>
                    <a:pt x="829" y="1135"/>
                  </a:lnTo>
                  <a:lnTo>
                    <a:pt x="790" y="1170"/>
                  </a:lnTo>
                  <a:lnTo>
                    <a:pt x="754" y="1209"/>
                  </a:lnTo>
                  <a:lnTo>
                    <a:pt x="0" y="548"/>
                  </a:lnTo>
                  <a:lnTo>
                    <a:pt x="62" y="481"/>
                  </a:lnTo>
                  <a:lnTo>
                    <a:pt x="127" y="417"/>
                  </a:lnTo>
                  <a:lnTo>
                    <a:pt x="195" y="358"/>
                  </a:lnTo>
                  <a:lnTo>
                    <a:pt x="268" y="301"/>
                  </a:lnTo>
                  <a:lnTo>
                    <a:pt x="342" y="250"/>
                  </a:lnTo>
                  <a:lnTo>
                    <a:pt x="420" y="203"/>
                  </a:lnTo>
                  <a:lnTo>
                    <a:pt x="501" y="160"/>
                  </a:lnTo>
                  <a:lnTo>
                    <a:pt x="585" y="122"/>
                  </a:lnTo>
                  <a:lnTo>
                    <a:pt x="672" y="89"/>
                  </a:lnTo>
                  <a:lnTo>
                    <a:pt x="760" y="60"/>
                  </a:lnTo>
                  <a:lnTo>
                    <a:pt x="851" y="37"/>
                  </a:lnTo>
                  <a:lnTo>
                    <a:pt x="943" y="19"/>
                  </a:lnTo>
                  <a:lnTo>
                    <a:pt x="1039" y="6"/>
                  </a:lnTo>
                  <a:lnTo>
                    <a:pt x="1135" y="0"/>
                  </a:lnTo>
                  <a:close/>
                </a:path>
              </a:pathLst>
            </a:custGeom>
            <a:solidFill>
              <a:schemeClr val="accent2">
                <a:lumMod val="75000"/>
              </a:schemeClr>
            </a:solidFill>
            <a:ln w="0">
              <a:noFill/>
              <a:prstDash val="solid"/>
              <a:round/>
              <a:headEnd/>
              <a:tailEnd/>
            </a:ln>
          </p:spPr>
          <p:txBody>
            <a:bodyPr vert="horz" wrap="square" lIns="91440" tIns="548640" rIns="0" bIns="45720" numCol="1" anchor="t" anchorCtr="0" compatLnSpc="1">
              <a:prstTxWarp prst="textNoShape">
                <a:avLst/>
              </a:prstTxWarp>
            </a:bodyPr>
            <a:lstStyle/>
            <a:p>
              <a:pPr lvl="0" algn="ctr" fontAlgn="base">
                <a:spcAft>
                  <a:spcPct val="0"/>
                </a:spcAft>
                <a:defRPr/>
              </a:pPr>
              <a:r>
                <a:rPr lang="en-US" sz="1600" noProof="0" dirty="0">
                  <a:solidFill>
                    <a:srgbClr val="FFFFFF"/>
                  </a:solidFill>
                </a:rPr>
                <a:t>Genetics/</a:t>
              </a:r>
            </a:p>
            <a:p>
              <a:pPr lvl="0" algn="ctr" fontAlgn="base">
                <a:spcAft>
                  <a:spcPct val="0"/>
                </a:spcAft>
                <a:defRPr/>
              </a:pPr>
              <a:r>
                <a:rPr lang="en-US" sz="1600" noProof="0" dirty="0">
                  <a:solidFill>
                    <a:srgbClr val="FFFFFF"/>
                  </a:solidFill>
                </a:rPr>
                <a:t>epigenetics</a:t>
              </a:r>
              <a:r>
                <a:rPr lang="en-US" sz="1600" baseline="30000" noProof="0" dirty="0">
                  <a:solidFill>
                    <a:srgbClr val="FFFFFF"/>
                  </a:solidFill>
                </a:rPr>
                <a:t>1–3</a:t>
              </a:r>
            </a:p>
          </p:txBody>
        </p:sp>
        <p:sp>
          <p:nvSpPr>
            <p:cNvPr id="11" name="Freeform 7">
              <a:extLst>
                <a:ext uri="{FF2B5EF4-FFF2-40B4-BE49-F238E27FC236}">
                  <a16:creationId xmlns:a16="http://schemas.microsoft.com/office/drawing/2014/main" id="{7334E106-8B0A-346E-D8D4-1EABDADE2AED}"/>
                </a:ext>
              </a:extLst>
            </p:cNvPr>
            <p:cNvSpPr>
              <a:spLocks/>
            </p:cNvSpPr>
            <p:nvPr/>
          </p:nvSpPr>
          <p:spPr bwMode="auto">
            <a:xfrm>
              <a:off x="5942012" y="1203324"/>
              <a:ext cx="1873250" cy="1912938"/>
            </a:xfrm>
            <a:custGeom>
              <a:avLst/>
              <a:gdLst/>
              <a:ahLst/>
              <a:cxnLst>
                <a:cxn ang="0">
                  <a:pos x="45" y="0"/>
                </a:cxn>
                <a:cxn ang="0">
                  <a:pos x="129" y="6"/>
                </a:cxn>
                <a:cxn ang="0">
                  <a:pos x="213" y="15"/>
                </a:cxn>
                <a:cxn ang="0">
                  <a:pos x="297" y="30"/>
                </a:cxn>
                <a:cxn ang="0">
                  <a:pos x="380" y="49"/>
                </a:cxn>
                <a:cxn ang="0">
                  <a:pos x="461" y="73"/>
                </a:cxn>
                <a:cxn ang="0">
                  <a:pos x="542" y="100"/>
                </a:cxn>
                <a:cxn ang="0">
                  <a:pos x="621" y="132"/>
                </a:cxn>
                <a:cxn ang="0">
                  <a:pos x="698" y="168"/>
                </a:cxn>
                <a:cxn ang="0">
                  <a:pos x="774" y="209"/>
                </a:cxn>
                <a:cxn ang="0">
                  <a:pos x="848" y="254"/>
                </a:cxn>
                <a:cxn ang="0">
                  <a:pos x="919" y="304"/>
                </a:cxn>
                <a:cxn ang="0">
                  <a:pos x="989" y="357"/>
                </a:cxn>
                <a:cxn ang="0">
                  <a:pos x="1056" y="415"/>
                </a:cxn>
                <a:cxn ang="0">
                  <a:pos x="1119" y="477"/>
                </a:cxn>
                <a:cxn ang="0">
                  <a:pos x="1180" y="544"/>
                </a:cxn>
                <a:cxn ang="0">
                  <a:pos x="426" y="1205"/>
                </a:cxn>
                <a:cxn ang="0">
                  <a:pos x="391" y="1168"/>
                </a:cxn>
                <a:cxn ang="0">
                  <a:pos x="354" y="1135"/>
                </a:cxn>
                <a:cxn ang="0">
                  <a:pos x="314" y="1105"/>
                </a:cxn>
                <a:cxn ang="0">
                  <a:pos x="273" y="1079"/>
                </a:cxn>
                <a:cxn ang="0">
                  <a:pos x="230" y="1057"/>
                </a:cxn>
                <a:cxn ang="0">
                  <a:pos x="187" y="1039"/>
                </a:cxn>
                <a:cxn ang="0">
                  <a:pos x="141" y="1023"/>
                </a:cxn>
                <a:cxn ang="0">
                  <a:pos x="94" y="1013"/>
                </a:cxn>
                <a:cxn ang="0">
                  <a:pos x="47" y="1006"/>
                </a:cxn>
                <a:cxn ang="0">
                  <a:pos x="0" y="1002"/>
                </a:cxn>
                <a:cxn ang="0">
                  <a:pos x="45" y="0"/>
                </a:cxn>
              </a:cxnLst>
              <a:rect l="0" t="0" r="r" b="b"/>
              <a:pathLst>
                <a:path w="1180" h="1205">
                  <a:moveTo>
                    <a:pt x="45" y="0"/>
                  </a:moveTo>
                  <a:lnTo>
                    <a:pt x="129" y="6"/>
                  </a:lnTo>
                  <a:lnTo>
                    <a:pt x="213" y="15"/>
                  </a:lnTo>
                  <a:lnTo>
                    <a:pt x="297" y="30"/>
                  </a:lnTo>
                  <a:lnTo>
                    <a:pt x="380" y="49"/>
                  </a:lnTo>
                  <a:lnTo>
                    <a:pt x="461" y="73"/>
                  </a:lnTo>
                  <a:lnTo>
                    <a:pt x="542" y="100"/>
                  </a:lnTo>
                  <a:lnTo>
                    <a:pt x="621" y="132"/>
                  </a:lnTo>
                  <a:lnTo>
                    <a:pt x="698" y="168"/>
                  </a:lnTo>
                  <a:lnTo>
                    <a:pt x="774" y="209"/>
                  </a:lnTo>
                  <a:lnTo>
                    <a:pt x="848" y="254"/>
                  </a:lnTo>
                  <a:lnTo>
                    <a:pt x="919" y="304"/>
                  </a:lnTo>
                  <a:lnTo>
                    <a:pt x="989" y="357"/>
                  </a:lnTo>
                  <a:lnTo>
                    <a:pt x="1056" y="415"/>
                  </a:lnTo>
                  <a:lnTo>
                    <a:pt x="1119" y="477"/>
                  </a:lnTo>
                  <a:lnTo>
                    <a:pt x="1180" y="544"/>
                  </a:lnTo>
                  <a:lnTo>
                    <a:pt x="426" y="1205"/>
                  </a:lnTo>
                  <a:lnTo>
                    <a:pt x="391" y="1168"/>
                  </a:lnTo>
                  <a:lnTo>
                    <a:pt x="354" y="1135"/>
                  </a:lnTo>
                  <a:lnTo>
                    <a:pt x="314" y="1105"/>
                  </a:lnTo>
                  <a:lnTo>
                    <a:pt x="273" y="1079"/>
                  </a:lnTo>
                  <a:lnTo>
                    <a:pt x="230" y="1057"/>
                  </a:lnTo>
                  <a:lnTo>
                    <a:pt x="187" y="1039"/>
                  </a:lnTo>
                  <a:lnTo>
                    <a:pt x="141" y="1023"/>
                  </a:lnTo>
                  <a:lnTo>
                    <a:pt x="94" y="1013"/>
                  </a:lnTo>
                  <a:lnTo>
                    <a:pt x="47" y="1006"/>
                  </a:lnTo>
                  <a:lnTo>
                    <a:pt x="0" y="1002"/>
                  </a:lnTo>
                  <a:lnTo>
                    <a:pt x="45" y="0"/>
                  </a:lnTo>
                  <a:close/>
                </a:path>
              </a:pathLst>
            </a:custGeom>
            <a:solidFill>
              <a:schemeClr val="accent5">
                <a:lumMod val="75000"/>
              </a:schemeClr>
            </a:solidFill>
            <a:ln w="0">
              <a:noFill/>
              <a:prstDash val="solid"/>
              <a:round/>
              <a:headEnd/>
              <a:tailEnd/>
            </a:ln>
          </p:spPr>
          <p:txBody>
            <a:bodyPr vert="horz" wrap="square" lIns="0" tIns="548640" rIns="274320" bIns="45720" numCol="1" anchor="t" anchorCtr="0" compatLnSpc="1">
              <a:prstTxWarp prst="textNoShape">
                <a:avLst/>
              </a:prstTxWarp>
            </a:bodyPr>
            <a:lstStyle/>
            <a:p>
              <a:pPr lvl="0" algn="ctr" fontAlgn="base">
                <a:spcAft>
                  <a:spcPct val="0"/>
                </a:spcAft>
                <a:defRPr/>
              </a:pPr>
              <a:r>
                <a:rPr lang="en-US" sz="1600" noProof="0" dirty="0">
                  <a:solidFill>
                    <a:srgbClr val="FFFFFF"/>
                  </a:solidFill>
                </a:rPr>
                <a:t>Diet &amp; physical activity</a:t>
              </a:r>
              <a:r>
                <a:rPr lang="en-US" sz="1600" baseline="30000" noProof="0" dirty="0">
                  <a:solidFill>
                    <a:srgbClr val="FFFFFF"/>
                  </a:solidFill>
                </a:rPr>
                <a:t>1–3</a:t>
              </a:r>
              <a:endParaRPr lang="en-US" sz="1600" noProof="0" dirty="0">
                <a:solidFill>
                  <a:srgbClr val="FFFFFF"/>
                </a:solidFill>
              </a:endParaRPr>
            </a:p>
          </p:txBody>
        </p:sp>
        <p:sp>
          <p:nvSpPr>
            <p:cNvPr id="12" name="Freeform 8">
              <a:extLst>
                <a:ext uri="{FF2B5EF4-FFF2-40B4-BE49-F238E27FC236}">
                  <a16:creationId xmlns:a16="http://schemas.microsoft.com/office/drawing/2014/main" id="{4D6B71A6-35AA-E398-592C-6C9CE81F81F0}"/>
                </a:ext>
              </a:extLst>
            </p:cNvPr>
            <p:cNvSpPr>
              <a:spLocks/>
            </p:cNvSpPr>
            <p:nvPr/>
          </p:nvSpPr>
          <p:spPr bwMode="auto">
            <a:xfrm>
              <a:off x="6619874" y="2216149"/>
              <a:ext cx="1779588" cy="1947863"/>
            </a:xfrm>
            <a:custGeom>
              <a:avLst/>
              <a:gdLst/>
              <a:ahLst/>
              <a:cxnLst>
                <a:cxn ang="0">
                  <a:pos x="809" y="0"/>
                </a:cxn>
                <a:cxn ang="0">
                  <a:pos x="861" y="74"/>
                </a:cxn>
                <a:cxn ang="0">
                  <a:pos x="909" y="151"/>
                </a:cxn>
                <a:cxn ang="0">
                  <a:pos x="952" y="232"/>
                </a:cxn>
                <a:cxn ang="0">
                  <a:pos x="990" y="314"/>
                </a:cxn>
                <a:cxn ang="0">
                  <a:pos x="1024" y="399"/>
                </a:cxn>
                <a:cxn ang="0">
                  <a:pos x="1053" y="486"/>
                </a:cxn>
                <a:cxn ang="0">
                  <a:pos x="1077" y="573"/>
                </a:cxn>
                <a:cxn ang="0">
                  <a:pos x="1096" y="664"/>
                </a:cxn>
                <a:cxn ang="0">
                  <a:pos x="1110" y="756"/>
                </a:cxn>
                <a:cxn ang="0">
                  <a:pos x="1118" y="848"/>
                </a:cxn>
                <a:cxn ang="0">
                  <a:pos x="1121" y="942"/>
                </a:cxn>
                <a:cxn ang="0">
                  <a:pos x="1118" y="1036"/>
                </a:cxn>
                <a:cxn ang="0">
                  <a:pos x="1110" y="1132"/>
                </a:cxn>
                <a:cxn ang="0">
                  <a:pos x="1095" y="1227"/>
                </a:cxn>
                <a:cxn ang="0">
                  <a:pos x="109" y="1050"/>
                </a:cxn>
                <a:cxn ang="0">
                  <a:pos x="117" y="994"/>
                </a:cxn>
                <a:cxn ang="0">
                  <a:pos x="119" y="939"/>
                </a:cxn>
                <a:cxn ang="0">
                  <a:pos x="116" y="885"/>
                </a:cxn>
                <a:cxn ang="0">
                  <a:pos x="107" y="831"/>
                </a:cxn>
                <a:cxn ang="0">
                  <a:pos x="95" y="780"/>
                </a:cxn>
                <a:cxn ang="0">
                  <a:pos x="78" y="729"/>
                </a:cxn>
                <a:cxn ang="0">
                  <a:pos x="56" y="680"/>
                </a:cxn>
                <a:cxn ang="0">
                  <a:pos x="30" y="635"/>
                </a:cxn>
                <a:cxn ang="0">
                  <a:pos x="0" y="591"/>
                </a:cxn>
                <a:cxn ang="0">
                  <a:pos x="809" y="0"/>
                </a:cxn>
              </a:cxnLst>
              <a:rect l="0" t="0" r="r" b="b"/>
              <a:pathLst>
                <a:path w="1121" h="1227">
                  <a:moveTo>
                    <a:pt x="809" y="0"/>
                  </a:moveTo>
                  <a:lnTo>
                    <a:pt x="861" y="74"/>
                  </a:lnTo>
                  <a:lnTo>
                    <a:pt x="909" y="151"/>
                  </a:lnTo>
                  <a:lnTo>
                    <a:pt x="952" y="232"/>
                  </a:lnTo>
                  <a:lnTo>
                    <a:pt x="990" y="314"/>
                  </a:lnTo>
                  <a:lnTo>
                    <a:pt x="1024" y="399"/>
                  </a:lnTo>
                  <a:lnTo>
                    <a:pt x="1053" y="486"/>
                  </a:lnTo>
                  <a:lnTo>
                    <a:pt x="1077" y="573"/>
                  </a:lnTo>
                  <a:lnTo>
                    <a:pt x="1096" y="664"/>
                  </a:lnTo>
                  <a:lnTo>
                    <a:pt x="1110" y="756"/>
                  </a:lnTo>
                  <a:lnTo>
                    <a:pt x="1118" y="848"/>
                  </a:lnTo>
                  <a:lnTo>
                    <a:pt x="1121" y="942"/>
                  </a:lnTo>
                  <a:lnTo>
                    <a:pt x="1118" y="1036"/>
                  </a:lnTo>
                  <a:lnTo>
                    <a:pt x="1110" y="1132"/>
                  </a:lnTo>
                  <a:lnTo>
                    <a:pt x="1095" y="1227"/>
                  </a:lnTo>
                  <a:lnTo>
                    <a:pt x="109" y="1050"/>
                  </a:lnTo>
                  <a:lnTo>
                    <a:pt x="117" y="994"/>
                  </a:lnTo>
                  <a:lnTo>
                    <a:pt x="119" y="939"/>
                  </a:lnTo>
                  <a:lnTo>
                    <a:pt x="116" y="885"/>
                  </a:lnTo>
                  <a:lnTo>
                    <a:pt x="107" y="831"/>
                  </a:lnTo>
                  <a:lnTo>
                    <a:pt x="95" y="780"/>
                  </a:lnTo>
                  <a:lnTo>
                    <a:pt x="78" y="729"/>
                  </a:lnTo>
                  <a:lnTo>
                    <a:pt x="56" y="680"/>
                  </a:lnTo>
                  <a:lnTo>
                    <a:pt x="30" y="635"/>
                  </a:lnTo>
                  <a:lnTo>
                    <a:pt x="0" y="591"/>
                  </a:lnTo>
                  <a:lnTo>
                    <a:pt x="809" y="0"/>
                  </a:lnTo>
                  <a:close/>
                </a:path>
              </a:pathLst>
            </a:custGeom>
            <a:solidFill>
              <a:schemeClr val="accent1"/>
            </a:solidFill>
            <a:ln w="0">
              <a:noFill/>
              <a:prstDash val="solid"/>
              <a:round/>
              <a:headEnd/>
              <a:tailEnd/>
            </a:ln>
          </p:spPr>
          <p:txBody>
            <a:bodyPr vert="horz" wrap="square" lIns="365760" tIns="731520" rIns="182880" bIns="45720" numCol="1" anchor="t" anchorCtr="0" compatLnSpc="1">
              <a:prstTxWarp prst="textNoShape">
                <a:avLst/>
              </a:prstTxWarp>
            </a:bodyPr>
            <a:lstStyle/>
            <a:p>
              <a:pPr lvl="0" algn="ctr" fontAlgn="base">
                <a:spcAft>
                  <a:spcPct val="0"/>
                </a:spcAft>
                <a:defRPr/>
              </a:pPr>
              <a:r>
                <a:rPr lang="en-US" sz="1600" noProof="0" dirty="0">
                  <a:solidFill>
                    <a:srgbClr val="FFFFFF"/>
                  </a:solidFill>
                </a:rPr>
                <a:t>Hormonal/</a:t>
              </a:r>
            </a:p>
            <a:p>
              <a:pPr lvl="0" algn="ctr" fontAlgn="base">
                <a:spcAft>
                  <a:spcPct val="0"/>
                </a:spcAft>
                <a:defRPr/>
              </a:pPr>
              <a:r>
                <a:rPr lang="en-US" sz="1600" noProof="0" dirty="0">
                  <a:solidFill>
                    <a:srgbClr val="FFFFFF"/>
                  </a:solidFill>
                </a:rPr>
                <a:t>endocrine factors</a:t>
              </a:r>
              <a:r>
                <a:rPr lang="en-US" sz="1600" baseline="30000" noProof="0" dirty="0">
                  <a:solidFill>
                    <a:srgbClr val="FFFFFF"/>
                  </a:solidFill>
                </a:rPr>
                <a:t>1,3</a:t>
              </a:r>
              <a:endParaRPr lang="en-US" sz="1600" noProof="0" dirty="0">
                <a:solidFill>
                  <a:srgbClr val="FFFFFF"/>
                </a:solidFill>
              </a:endParaRPr>
            </a:p>
          </p:txBody>
        </p:sp>
        <p:sp>
          <p:nvSpPr>
            <p:cNvPr id="13" name="Freeform 9">
              <a:extLst>
                <a:ext uri="{FF2B5EF4-FFF2-40B4-BE49-F238E27FC236}">
                  <a16:creationId xmlns:a16="http://schemas.microsoft.com/office/drawing/2014/main" id="{3AF7CACC-C641-B3FB-4CEE-C2416BEACB03}"/>
                </a:ext>
              </a:extLst>
            </p:cNvPr>
            <p:cNvSpPr>
              <a:spLocks/>
            </p:cNvSpPr>
            <p:nvPr/>
          </p:nvSpPr>
          <p:spPr bwMode="auto">
            <a:xfrm>
              <a:off x="6303962" y="3910012"/>
              <a:ext cx="1993900" cy="1990725"/>
            </a:xfrm>
            <a:custGeom>
              <a:avLst/>
              <a:gdLst/>
              <a:ahLst/>
              <a:cxnLst>
                <a:cxn ang="0">
                  <a:pos x="290" y="0"/>
                </a:cxn>
                <a:cxn ang="0">
                  <a:pos x="1256" y="262"/>
                </a:cxn>
                <a:cxn ang="0">
                  <a:pos x="1233" y="344"/>
                </a:cxn>
                <a:cxn ang="0">
                  <a:pos x="1205" y="424"/>
                </a:cxn>
                <a:cxn ang="0">
                  <a:pos x="1173" y="502"/>
                </a:cxn>
                <a:cxn ang="0">
                  <a:pos x="1136" y="579"/>
                </a:cxn>
                <a:cxn ang="0">
                  <a:pos x="1095" y="654"/>
                </a:cxn>
                <a:cxn ang="0">
                  <a:pos x="1052" y="726"/>
                </a:cxn>
                <a:cxn ang="0">
                  <a:pos x="1003" y="797"/>
                </a:cxn>
                <a:cxn ang="0">
                  <a:pos x="950" y="865"/>
                </a:cxn>
                <a:cxn ang="0">
                  <a:pos x="894" y="930"/>
                </a:cxn>
                <a:cxn ang="0">
                  <a:pos x="834" y="993"/>
                </a:cxn>
                <a:cxn ang="0">
                  <a:pos x="770" y="1052"/>
                </a:cxn>
                <a:cxn ang="0">
                  <a:pos x="703" y="1107"/>
                </a:cxn>
                <a:cxn ang="0">
                  <a:pos x="631" y="1160"/>
                </a:cxn>
                <a:cxn ang="0">
                  <a:pos x="557" y="1209"/>
                </a:cxn>
                <a:cxn ang="0">
                  <a:pos x="479" y="1254"/>
                </a:cxn>
                <a:cxn ang="0">
                  <a:pos x="0" y="372"/>
                </a:cxn>
                <a:cxn ang="0">
                  <a:pos x="44" y="346"/>
                </a:cxn>
                <a:cxn ang="0">
                  <a:pos x="84" y="317"/>
                </a:cxn>
                <a:cxn ang="0">
                  <a:pos x="121" y="285"/>
                </a:cxn>
                <a:cxn ang="0">
                  <a:pos x="156" y="250"/>
                </a:cxn>
                <a:cxn ang="0">
                  <a:pos x="187" y="214"/>
                </a:cxn>
                <a:cxn ang="0">
                  <a:pos x="214" y="174"/>
                </a:cxn>
                <a:cxn ang="0">
                  <a:pos x="239" y="133"/>
                </a:cxn>
                <a:cxn ang="0">
                  <a:pos x="260" y="90"/>
                </a:cxn>
                <a:cxn ang="0">
                  <a:pos x="277" y="46"/>
                </a:cxn>
                <a:cxn ang="0">
                  <a:pos x="290" y="0"/>
                </a:cxn>
              </a:cxnLst>
              <a:rect l="0" t="0" r="r" b="b"/>
              <a:pathLst>
                <a:path w="1256" h="1254">
                  <a:moveTo>
                    <a:pt x="290" y="0"/>
                  </a:moveTo>
                  <a:lnTo>
                    <a:pt x="1256" y="262"/>
                  </a:lnTo>
                  <a:lnTo>
                    <a:pt x="1233" y="344"/>
                  </a:lnTo>
                  <a:lnTo>
                    <a:pt x="1205" y="424"/>
                  </a:lnTo>
                  <a:lnTo>
                    <a:pt x="1173" y="502"/>
                  </a:lnTo>
                  <a:lnTo>
                    <a:pt x="1136" y="579"/>
                  </a:lnTo>
                  <a:lnTo>
                    <a:pt x="1095" y="654"/>
                  </a:lnTo>
                  <a:lnTo>
                    <a:pt x="1052" y="726"/>
                  </a:lnTo>
                  <a:lnTo>
                    <a:pt x="1003" y="797"/>
                  </a:lnTo>
                  <a:lnTo>
                    <a:pt x="950" y="865"/>
                  </a:lnTo>
                  <a:lnTo>
                    <a:pt x="894" y="930"/>
                  </a:lnTo>
                  <a:lnTo>
                    <a:pt x="834" y="993"/>
                  </a:lnTo>
                  <a:lnTo>
                    <a:pt x="770" y="1052"/>
                  </a:lnTo>
                  <a:lnTo>
                    <a:pt x="703" y="1107"/>
                  </a:lnTo>
                  <a:lnTo>
                    <a:pt x="631" y="1160"/>
                  </a:lnTo>
                  <a:lnTo>
                    <a:pt x="557" y="1209"/>
                  </a:lnTo>
                  <a:lnTo>
                    <a:pt x="479" y="1254"/>
                  </a:lnTo>
                  <a:lnTo>
                    <a:pt x="0" y="372"/>
                  </a:lnTo>
                  <a:lnTo>
                    <a:pt x="44" y="346"/>
                  </a:lnTo>
                  <a:lnTo>
                    <a:pt x="84" y="317"/>
                  </a:lnTo>
                  <a:lnTo>
                    <a:pt x="121" y="285"/>
                  </a:lnTo>
                  <a:lnTo>
                    <a:pt x="156" y="250"/>
                  </a:lnTo>
                  <a:lnTo>
                    <a:pt x="187" y="214"/>
                  </a:lnTo>
                  <a:lnTo>
                    <a:pt x="214" y="174"/>
                  </a:lnTo>
                  <a:lnTo>
                    <a:pt x="239" y="133"/>
                  </a:lnTo>
                  <a:lnTo>
                    <a:pt x="260" y="90"/>
                  </a:lnTo>
                  <a:lnTo>
                    <a:pt x="277" y="46"/>
                  </a:lnTo>
                  <a:lnTo>
                    <a:pt x="290" y="0"/>
                  </a:lnTo>
                  <a:close/>
                </a:path>
              </a:pathLst>
            </a:custGeom>
            <a:solidFill>
              <a:schemeClr val="accent1">
                <a:lumMod val="75000"/>
              </a:schemeClr>
            </a:solidFill>
            <a:ln w="0">
              <a:noFill/>
              <a:prstDash val="solid"/>
              <a:round/>
              <a:headEnd/>
              <a:tailEnd/>
            </a:ln>
          </p:spPr>
          <p:txBody>
            <a:bodyPr vert="horz" wrap="square" lIns="91440" tIns="365760" rIns="91440" bIns="45720" numCol="1" anchor="t" anchorCtr="0" compatLnSpc="1">
              <a:prstTxWarp prst="textNoShape">
                <a:avLst/>
              </a:prstTxWarp>
            </a:bodyPr>
            <a:lstStyle/>
            <a:p>
              <a:pPr lvl="0" algn="ctr" fontAlgn="base">
                <a:spcAft>
                  <a:spcPct val="0"/>
                </a:spcAft>
                <a:defRPr/>
              </a:pPr>
              <a:r>
                <a:rPr lang="en-US" sz="1600" noProof="0" dirty="0">
                  <a:solidFill>
                    <a:srgbClr val="FFFFFF"/>
                  </a:solidFill>
                </a:rPr>
                <a:t>Prenatal/</a:t>
              </a:r>
            </a:p>
            <a:p>
              <a:pPr lvl="0" algn="ctr" fontAlgn="base">
                <a:spcAft>
                  <a:spcPct val="0"/>
                </a:spcAft>
                <a:defRPr/>
              </a:pPr>
              <a:r>
                <a:rPr lang="en-US" sz="1600" noProof="0" dirty="0">
                  <a:solidFill>
                    <a:srgbClr val="FFFFFF"/>
                  </a:solidFill>
                </a:rPr>
                <a:t>early developmental factors</a:t>
              </a:r>
              <a:r>
                <a:rPr lang="en-US" sz="1600" baseline="30000" noProof="0" dirty="0">
                  <a:solidFill>
                    <a:srgbClr val="FFFFFF"/>
                  </a:solidFill>
                </a:rPr>
                <a:t>1–3</a:t>
              </a:r>
              <a:endParaRPr lang="en-US" sz="1600" noProof="0" dirty="0">
                <a:solidFill>
                  <a:srgbClr val="FFFFFF"/>
                </a:solidFill>
              </a:endParaRPr>
            </a:p>
          </p:txBody>
        </p:sp>
        <p:sp>
          <p:nvSpPr>
            <p:cNvPr id="14" name="Freeform 10">
              <a:extLst>
                <a:ext uri="{FF2B5EF4-FFF2-40B4-BE49-F238E27FC236}">
                  <a16:creationId xmlns:a16="http://schemas.microsoft.com/office/drawing/2014/main" id="{36EC0D85-E058-A27B-6441-34BC90DFADE0}"/>
                </a:ext>
              </a:extLst>
            </p:cNvPr>
            <p:cNvSpPr>
              <a:spLocks/>
            </p:cNvSpPr>
            <p:nvPr/>
          </p:nvSpPr>
          <p:spPr bwMode="auto">
            <a:xfrm>
              <a:off x="4902199" y="4494212"/>
              <a:ext cx="1998663" cy="1677988"/>
            </a:xfrm>
            <a:custGeom>
              <a:avLst/>
              <a:gdLst/>
              <a:ahLst/>
              <a:cxnLst>
                <a:cxn ang="0">
                  <a:pos x="860" y="0"/>
                </a:cxn>
                <a:cxn ang="0">
                  <a:pos x="1259" y="920"/>
                </a:cxn>
                <a:cxn ang="0">
                  <a:pos x="1175" y="954"/>
                </a:cxn>
                <a:cxn ang="0">
                  <a:pos x="1089" y="984"/>
                </a:cxn>
                <a:cxn ang="0">
                  <a:pos x="1002" y="1008"/>
                </a:cxn>
                <a:cxn ang="0">
                  <a:pos x="913" y="1028"/>
                </a:cxn>
                <a:cxn ang="0">
                  <a:pos x="823" y="1043"/>
                </a:cxn>
                <a:cxn ang="0">
                  <a:pos x="733" y="1052"/>
                </a:cxn>
                <a:cxn ang="0">
                  <a:pos x="641" y="1057"/>
                </a:cxn>
                <a:cxn ang="0">
                  <a:pos x="549" y="1056"/>
                </a:cxn>
                <a:cxn ang="0">
                  <a:pos x="457" y="1049"/>
                </a:cxn>
                <a:cxn ang="0">
                  <a:pos x="364" y="1037"/>
                </a:cxn>
                <a:cxn ang="0">
                  <a:pos x="273" y="1019"/>
                </a:cxn>
                <a:cxn ang="0">
                  <a:pos x="181" y="996"/>
                </a:cxn>
                <a:cxn ang="0">
                  <a:pos x="90" y="967"/>
                </a:cxn>
                <a:cxn ang="0">
                  <a:pos x="0" y="932"/>
                </a:cxn>
                <a:cxn ang="0">
                  <a:pos x="388" y="6"/>
                </a:cxn>
                <a:cxn ang="0">
                  <a:pos x="440" y="26"/>
                </a:cxn>
                <a:cxn ang="0">
                  <a:pos x="494" y="40"/>
                </a:cxn>
                <a:cxn ang="0">
                  <a:pos x="548" y="49"/>
                </a:cxn>
                <a:cxn ang="0">
                  <a:pos x="601" y="53"/>
                </a:cxn>
                <a:cxn ang="0">
                  <a:pos x="655" y="52"/>
                </a:cxn>
                <a:cxn ang="0">
                  <a:pos x="708" y="46"/>
                </a:cxn>
                <a:cxn ang="0">
                  <a:pos x="760" y="36"/>
                </a:cxn>
                <a:cxn ang="0">
                  <a:pos x="810" y="20"/>
                </a:cxn>
                <a:cxn ang="0">
                  <a:pos x="860" y="0"/>
                </a:cxn>
              </a:cxnLst>
              <a:rect l="0" t="0" r="r" b="b"/>
              <a:pathLst>
                <a:path w="1259" h="1057">
                  <a:moveTo>
                    <a:pt x="860" y="0"/>
                  </a:moveTo>
                  <a:lnTo>
                    <a:pt x="1259" y="920"/>
                  </a:lnTo>
                  <a:lnTo>
                    <a:pt x="1175" y="954"/>
                  </a:lnTo>
                  <a:lnTo>
                    <a:pt x="1089" y="984"/>
                  </a:lnTo>
                  <a:lnTo>
                    <a:pt x="1002" y="1008"/>
                  </a:lnTo>
                  <a:lnTo>
                    <a:pt x="913" y="1028"/>
                  </a:lnTo>
                  <a:lnTo>
                    <a:pt x="823" y="1043"/>
                  </a:lnTo>
                  <a:lnTo>
                    <a:pt x="733" y="1052"/>
                  </a:lnTo>
                  <a:lnTo>
                    <a:pt x="641" y="1057"/>
                  </a:lnTo>
                  <a:lnTo>
                    <a:pt x="549" y="1056"/>
                  </a:lnTo>
                  <a:lnTo>
                    <a:pt x="457" y="1049"/>
                  </a:lnTo>
                  <a:lnTo>
                    <a:pt x="364" y="1037"/>
                  </a:lnTo>
                  <a:lnTo>
                    <a:pt x="273" y="1019"/>
                  </a:lnTo>
                  <a:lnTo>
                    <a:pt x="181" y="996"/>
                  </a:lnTo>
                  <a:lnTo>
                    <a:pt x="90" y="967"/>
                  </a:lnTo>
                  <a:lnTo>
                    <a:pt x="0" y="932"/>
                  </a:lnTo>
                  <a:lnTo>
                    <a:pt x="388" y="6"/>
                  </a:lnTo>
                  <a:lnTo>
                    <a:pt x="440" y="26"/>
                  </a:lnTo>
                  <a:lnTo>
                    <a:pt x="494" y="40"/>
                  </a:lnTo>
                  <a:lnTo>
                    <a:pt x="548" y="49"/>
                  </a:lnTo>
                  <a:lnTo>
                    <a:pt x="601" y="53"/>
                  </a:lnTo>
                  <a:lnTo>
                    <a:pt x="655" y="52"/>
                  </a:lnTo>
                  <a:lnTo>
                    <a:pt x="708" y="46"/>
                  </a:lnTo>
                  <a:lnTo>
                    <a:pt x="760" y="36"/>
                  </a:lnTo>
                  <a:lnTo>
                    <a:pt x="810" y="20"/>
                  </a:lnTo>
                  <a:lnTo>
                    <a:pt x="860" y="0"/>
                  </a:lnTo>
                  <a:close/>
                </a:path>
              </a:pathLst>
            </a:custGeom>
            <a:solidFill>
              <a:schemeClr val="accent5">
                <a:lumMod val="50000"/>
              </a:schemeClr>
            </a:solidFill>
            <a:ln w="0">
              <a:noFill/>
              <a:prstDash val="solid"/>
              <a:round/>
              <a:headEnd/>
              <a:tailEnd/>
            </a:ln>
          </p:spPr>
          <p:txBody>
            <a:bodyPr vert="horz" wrap="square" lIns="91440" tIns="640080" rIns="91440" bIns="45720" numCol="1" anchor="t" anchorCtr="0" compatLnSpc="1">
              <a:prstTxWarp prst="textNoShape">
                <a:avLst/>
              </a:prstTxWarp>
            </a:bodyPr>
            <a:lstStyle/>
            <a:p>
              <a:pPr lvl="0" algn="ctr" fontAlgn="base">
                <a:spcAft>
                  <a:spcPct val="0"/>
                </a:spcAft>
                <a:defRPr/>
              </a:pPr>
              <a:r>
                <a:rPr lang="en-US" sz="1600" noProof="0" dirty="0">
                  <a:solidFill>
                    <a:schemeClr val="bg1"/>
                  </a:solidFill>
                </a:rPr>
                <a:t>Environmental factors</a:t>
              </a:r>
              <a:r>
                <a:rPr lang="en-US" sz="1600" baseline="30000" noProof="0" dirty="0">
                  <a:solidFill>
                    <a:schemeClr val="bg1"/>
                  </a:solidFill>
                </a:rPr>
                <a:t>1–3</a:t>
              </a:r>
              <a:endParaRPr lang="en-US" sz="1600" noProof="0" dirty="0">
                <a:solidFill>
                  <a:schemeClr val="bg1"/>
                </a:solidFill>
              </a:endParaRPr>
            </a:p>
          </p:txBody>
        </p:sp>
        <p:sp>
          <p:nvSpPr>
            <p:cNvPr id="15" name="Freeform 11">
              <a:extLst>
                <a:ext uri="{FF2B5EF4-FFF2-40B4-BE49-F238E27FC236}">
                  <a16:creationId xmlns:a16="http://schemas.microsoft.com/office/drawing/2014/main" id="{72B37C36-A5AC-AB3F-C008-94C812F99A4C}"/>
                </a:ext>
              </a:extLst>
            </p:cNvPr>
            <p:cNvSpPr>
              <a:spLocks/>
            </p:cNvSpPr>
            <p:nvPr/>
          </p:nvSpPr>
          <p:spPr bwMode="auto">
            <a:xfrm>
              <a:off x="3494087" y="3892549"/>
              <a:ext cx="2006600" cy="1987550"/>
            </a:xfrm>
            <a:custGeom>
              <a:avLst/>
              <a:gdLst/>
              <a:ahLst/>
              <a:cxnLst>
                <a:cxn ang="0">
                  <a:pos x="963" y="0"/>
                </a:cxn>
                <a:cxn ang="0">
                  <a:pos x="981" y="54"/>
                </a:cxn>
                <a:cxn ang="0">
                  <a:pos x="1003" y="104"/>
                </a:cxn>
                <a:cxn ang="0">
                  <a:pos x="1030" y="151"/>
                </a:cxn>
                <a:cxn ang="0">
                  <a:pos x="1061" y="196"/>
                </a:cxn>
                <a:cxn ang="0">
                  <a:pos x="1095" y="237"/>
                </a:cxn>
                <a:cxn ang="0">
                  <a:pos x="1133" y="274"/>
                </a:cxn>
                <a:cxn ang="0">
                  <a:pos x="1174" y="308"/>
                </a:cxn>
                <a:cxn ang="0">
                  <a:pos x="1218" y="338"/>
                </a:cxn>
                <a:cxn ang="0">
                  <a:pos x="1264" y="364"/>
                </a:cxn>
                <a:cxn ang="0">
                  <a:pos x="797" y="1252"/>
                </a:cxn>
                <a:cxn ang="0">
                  <a:pos x="722" y="1211"/>
                </a:cxn>
                <a:cxn ang="0">
                  <a:pos x="651" y="1166"/>
                </a:cxn>
                <a:cxn ang="0">
                  <a:pos x="581" y="1117"/>
                </a:cxn>
                <a:cxn ang="0">
                  <a:pos x="515" y="1065"/>
                </a:cxn>
                <a:cxn ang="0">
                  <a:pos x="450" y="1009"/>
                </a:cxn>
                <a:cxn ang="0">
                  <a:pos x="389" y="950"/>
                </a:cxn>
                <a:cxn ang="0">
                  <a:pos x="331" y="887"/>
                </a:cxn>
                <a:cxn ang="0">
                  <a:pos x="276" y="821"/>
                </a:cxn>
                <a:cxn ang="0">
                  <a:pos x="225" y="752"/>
                </a:cxn>
                <a:cxn ang="0">
                  <a:pos x="177" y="679"/>
                </a:cxn>
                <a:cxn ang="0">
                  <a:pos x="133" y="605"/>
                </a:cxn>
                <a:cxn ang="0">
                  <a:pos x="94" y="526"/>
                </a:cxn>
                <a:cxn ang="0">
                  <a:pos x="58" y="445"/>
                </a:cxn>
                <a:cxn ang="0">
                  <a:pos x="27" y="361"/>
                </a:cxn>
                <a:cxn ang="0">
                  <a:pos x="0" y="275"/>
                </a:cxn>
                <a:cxn ang="0">
                  <a:pos x="963" y="0"/>
                </a:cxn>
              </a:cxnLst>
              <a:rect l="0" t="0" r="r" b="b"/>
              <a:pathLst>
                <a:path w="1264" h="1252">
                  <a:moveTo>
                    <a:pt x="963" y="0"/>
                  </a:moveTo>
                  <a:lnTo>
                    <a:pt x="981" y="54"/>
                  </a:lnTo>
                  <a:lnTo>
                    <a:pt x="1003" y="104"/>
                  </a:lnTo>
                  <a:lnTo>
                    <a:pt x="1030" y="151"/>
                  </a:lnTo>
                  <a:lnTo>
                    <a:pt x="1061" y="196"/>
                  </a:lnTo>
                  <a:lnTo>
                    <a:pt x="1095" y="237"/>
                  </a:lnTo>
                  <a:lnTo>
                    <a:pt x="1133" y="274"/>
                  </a:lnTo>
                  <a:lnTo>
                    <a:pt x="1174" y="308"/>
                  </a:lnTo>
                  <a:lnTo>
                    <a:pt x="1218" y="338"/>
                  </a:lnTo>
                  <a:lnTo>
                    <a:pt x="1264" y="364"/>
                  </a:lnTo>
                  <a:lnTo>
                    <a:pt x="797" y="1252"/>
                  </a:lnTo>
                  <a:lnTo>
                    <a:pt x="722" y="1211"/>
                  </a:lnTo>
                  <a:lnTo>
                    <a:pt x="651" y="1166"/>
                  </a:lnTo>
                  <a:lnTo>
                    <a:pt x="581" y="1117"/>
                  </a:lnTo>
                  <a:lnTo>
                    <a:pt x="515" y="1065"/>
                  </a:lnTo>
                  <a:lnTo>
                    <a:pt x="450" y="1009"/>
                  </a:lnTo>
                  <a:lnTo>
                    <a:pt x="389" y="950"/>
                  </a:lnTo>
                  <a:lnTo>
                    <a:pt x="331" y="887"/>
                  </a:lnTo>
                  <a:lnTo>
                    <a:pt x="276" y="821"/>
                  </a:lnTo>
                  <a:lnTo>
                    <a:pt x="225" y="752"/>
                  </a:lnTo>
                  <a:lnTo>
                    <a:pt x="177" y="679"/>
                  </a:lnTo>
                  <a:lnTo>
                    <a:pt x="133" y="605"/>
                  </a:lnTo>
                  <a:lnTo>
                    <a:pt x="94" y="526"/>
                  </a:lnTo>
                  <a:lnTo>
                    <a:pt x="58" y="445"/>
                  </a:lnTo>
                  <a:lnTo>
                    <a:pt x="27" y="361"/>
                  </a:lnTo>
                  <a:lnTo>
                    <a:pt x="0" y="275"/>
                  </a:lnTo>
                  <a:lnTo>
                    <a:pt x="963" y="0"/>
                  </a:lnTo>
                  <a:close/>
                </a:path>
              </a:pathLst>
            </a:custGeom>
            <a:solidFill>
              <a:schemeClr val="accent3">
                <a:lumMod val="75000"/>
              </a:schemeClr>
            </a:solidFill>
            <a:ln w="0">
              <a:noFill/>
              <a:prstDash val="solid"/>
              <a:round/>
              <a:headEnd/>
              <a:tailEnd/>
            </a:ln>
          </p:spPr>
          <p:txBody>
            <a:bodyPr vert="horz" wrap="square" lIns="91440" tIns="640080" rIns="91440" bIns="45720" numCol="1" anchor="t" anchorCtr="0" compatLnSpc="1">
              <a:prstTxWarp prst="textNoShape">
                <a:avLst/>
              </a:prstTxWarp>
            </a:bodyPr>
            <a:lstStyle/>
            <a:p>
              <a:pPr lvl="0" algn="ctr" fontAlgn="base">
                <a:spcAft>
                  <a:spcPct val="0"/>
                </a:spcAft>
                <a:defRPr/>
              </a:pPr>
              <a:r>
                <a:rPr lang="en-US" sz="1600" noProof="0" dirty="0">
                  <a:solidFill>
                    <a:srgbClr val="FFFFFF"/>
                  </a:solidFill>
                </a:rPr>
                <a:t>Socioeconomic factors</a:t>
              </a:r>
              <a:r>
                <a:rPr lang="en-US" sz="1600" baseline="30000" noProof="0" dirty="0">
                  <a:solidFill>
                    <a:srgbClr val="FFFFFF"/>
                  </a:solidFill>
                </a:rPr>
                <a:t>1–3</a:t>
              </a:r>
              <a:endParaRPr lang="en-US" sz="1600" noProof="0" dirty="0">
                <a:solidFill>
                  <a:srgbClr val="FFFFFF"/>
                </a:solidFill>
              </a:endParaRPr>
            </a:p>
          </p:txBody>
        </p:sp>
        <p:sp>
          <p:nvSpPr>
            <p:cNvPr id="16" name="Freeform 12">
              <a:extLst>
                <a:ext uri="{FF2B5EF4-FFF2-40B4-BE49-F238E27FC236}">
                  <a16:creationId xmlns:a16="http://schemas.microsoft.com/office/drawing/2014/main" id="{8C5415AF-468C-F507-CE17-65348BAD3D71}"/>
                </a:ext>
              </a:extLst>
            </p:cNvPr>
            <p:cNvSpPr>
              <a:spLocks/>
            </p:cNvSpPr>
            <p:nvPr/>
          </p:nvSpPr>
          <p:spPr bwMode="auto">
            <a:xfrm>
              <a:off x="3427412" y="2200274"/>
              <a:ext cx="1763713" cy="1957388"/>
            </a:xfrm>
            <a:custGeom>
              <a:avLst/>
              <a:gdLst/>
              <a:ahLst/>
              <a:cxnLst>
                <a:cxn ang="0">
                  <a:pos x="295" y="0"/>
                </a:cxn>
                <a:cxn ang="0">
                  <a:pos x="1111" y="582"/>
                </a:cxn>
                <a:cxn ang="0">
                  <a:pos x="1081" y="628"/>
                </a:cxn>
                <a:cxn ang="0">
                  <a:pos x="1055" y="678"/>
                </a:cxn>
                <a:cxn ang="0">
                  <a:pos x="1035" y="729"/>
                </a:cxn>
                <a:cxn ang="0">
                  <a:pos x="1020" y="780"/>
                </a:cxn>
                <a:cxn ang="0">
                  <a:pos x="1008" y="833"/>
                </a:cxn>
                <a:cxn ang="0">
                  <a:pos x="1003" y="885"/>
                </a:cxn>
                <a:cxn ang="0">
                  <a:pos x="1003" y="939"/>
                </a:cxn>
                <a:cxn ang="0">
                  <a:pos x="1006" y="991"/>
                </a:cxn>
                <a:cxn ang="0">
                  <a:pos x="1015" y="1044"/>
                </a:cxn>
                <a:cxn ang="0">
                  <a:pos x="32" y="1233"/>
                </a:cxn>
                <a:cxn ang="0">
                  <a:pos x="17" y="1149"/>
                </a:cxn>
                <a:cxn ang="0">
                  <a:pos x="7" y="1065"/>
                </a:cxn>
                <a:cxn ang="0">
                  <a:pos x="1" y="981"/>
                </a:cxn>
                <a:cxn ang="0">
                  <a:pos x="0" y="896"/>
                </a:cxn>
                <a:cxn ang="0">
                  <a:pos x="4" y="811"/>
                </a:cxn>
                <a:cxn ang="0">
                  <a:pos x="12" y="726"/>
                </a:cxn>
                <a:cxn ang="0">
                  <a:pos x="25" y="642"/>
                </a:cxn>
                <a:cxn ang="0">
                  <a:pos x="42" y="558"/>
                </a:cxn>
                <a:cxn ang="0">
                  <a:pos x="64" y="474"/>
                </a:cxn>
                <a:cxn ang="0">
                  <a:pos x="91" y="392"/>
                </a:cxn>
                <a:cxn ang="0">
                  <a:pos x="122" y="310"/>
                </a:cxn>
                <a:cxn ang="0">
                  <a:pos x="157" y="230"/>
                </a:cxn>
                <a:cxn ang="0">
                  <a:pos x="198" y="152"/>
                </a:cxn>
                <a:cxn ang="0">
                  <a:pos x="244" y="75"/>
                </a:cxn>
                <a:cxn ang="0">
                  <a:pos x="295" y="0"/>
                </a:cxn>
              </a:cxnLst>
              <a:rect l="0" t="0" r="r" b="b"/>
              <a:pathLst>
                <a:path w="1111" h="1233">
                  <a:moveTo>
                    <a:pt x="295" y="0"/>
                  </a:moveTo>
                  <a:lnTo>
                    <a:pt x="1111" y="582"/>
                  </a:lnTo>
                  <a:lnTo>
                    <a:pt x="1081" y="628"/>
                  </a:lnTo>
                  <a:lnTo>
                    <a:pt x="1055" y="678"/>
                  </a:lnTo>
                  <a:lnTo>
                    <a:pt x="1035" y="729"/>
                  </a:lnTo>
                  <a:lnTo>
                    <a:pt x="1020" y="780"/>
                  </a:lnTo>
                  <a:lnTo>
                    <a:pt x="1008" y="833"/>
                  </a:lnTo>
                  <a:lnTo>
                    <a:pt x="1003" y="885"/>
                  </a:lnTo>
                  <a:lnTo>
                    <a:pt x="1003" y="939"/>
                  </a:lnTo>
                  <a:lnTo>
                    <a:pt x="1006" y="991"/>
                  </a:lnTo>
                  <a:lnTo>
                    <a:pt x="1015" y="1044"/>
                  </a:lnTo>
                  <a:lnTo>
                    <a:pt x="32" y="1233"/>
                  </a:lnTo>
                  <a:lnTo>
                    <a:pt x="17" y="1149"/>
                  </a:lnTo>
                  <a:lnTo>
                    <a:pt x="7" y="1065"/>
                  </a:lnTo>
                  <a:lnTo>
                    <a:pt x="1" y="981"/>
                  </a:lnTo>
                  <a:lnTo>
                    <a:pt x="0" y="896"/>
                  </a:lnTo>
                  <a:lnTo>
                    <a:pt x="4" y="811"/>
                  </a:lnTo>
                  <a:lnTo>
                    <a:pt x="12" y="726"/>
                  </a:lnTo>
                  <a:lnTo>
                    <a:pt x="25" y="642"/>
                  </a:lnTo>
                  <a:lnTo>
                    <a:pt x="42" y="558"/>
                  </a:lnTo>
                  <a:lnTo>
                    <a:pt x="64" y="474"/>
                  </a:lnTo>
                  <a:lnTo>
                    <a:pt x="91" y="392"/>
                  </a:lnTo>
                  <a:lnTo>
                    <a:pt x="122" y="310"/>
                  </a:lnTo>
                  <a:lnTo>
                    <a:pt x="157" y="230"/>
                  </a:lnTo>
                  <a:lnTo>
                    <a:pt x="198" y="152"/>
                  </a:lnTo>
                  <a:lnTo>
                    <a:pt x="244" y="75"/>
                  </a:lnTo>
                  <a:lnTo>
                    <a:pt x="295" y="0"/>
                  </a:lnTo>
                  <a:close/>
                </a:path>
              </a:pathLst>
            </a:custGeom>
            <a:solidFill>
              <a:schemeClr val="tx2"/>
            </a:solidFill>
            <a:ln w="0">
              <a:noFill/>
              <a:prstDash val="solid"/>
              <a:round/>
              <a:headEnd/>
              <a:tailEnd/>
            </a:ln>
          </p:spPr>
          <p:txBody>
            <a:bodyPr vert="horz" wrap="square" lIns="91440" tIns="822960" rIns="274320" bIns="45720" numCol="1" anchor="t" anchorCtr="0" compatLnSpc="1">
              <a:prstTxWarp prst="textNoShape">
                <a:avLst/>
              </a:prstTxWarp>
            </a:bodyPr>
            <a:lstStyle/>
            <a:p>
              <a:pPr algn="ctr"/>
              <a:r>
                <a:rPr lang="en-US" sz="1600" kern="0" noProof="0" dirty="0">
                  <a:solidFill>
                    <a:schemeClr val="bg1"/>
                  </a:solidFill>
                  <a:latin typeface="+mj-lt"/>
                  <a:cs typeface="Arial" pitchFamily="34" charset="0"/>
                </a:rPr>
                <a:t>Psychosocial/</a:t>
              </a:r>
              <a:br>
                <a:rPr lang="en-US" sz="1600" kern="0" noProof="0" dirty="0">
                  <a:solidFill>
                    <a:schemeClr val="bg1"/>
                  </a:solidFill>
                  <a:latin typeface="+mj-lt"/>
                  <a:cs typeface="Arial" pitchFamily="34" charset="0"/>
                </a:rPr>
              </a:br>
              <a:r>
                <a:rPr lang="en-US" sz="1600" kern="0" noProof="0" dirty="0">
                  <a:solidFill>
                    <a:schemeClr val="bg1"/>
                  </a:solidFill>
                  <a:latin typeface="+mj-lt"/>
                  <a:cs typeface="Arial" pitchFamily="34" charset="0"/>
                </a:rPr>
                <a:t>emotional factors</a:t>
              </a:r>
              <a:r>
                <a:rPr lang="en-US" sz="1600" kern="0" baseline="30000" noProof="0" dirty="0">
                  <a:solidFill>
                    <a:schemeClr val="bg1"/>
                  </a:solidFill>
                  <a:latin typeface="+mj-lt"/>
                  <a:cs typeface="Arial" pitchFamily="34" charset="0"/>
                </a:rPr>
                <a:t>3</a:t>
              </a:r>
            </a:p>
          </p:txBody>
        </p:sp>
        <p:sp>
          <p:nvSpPr>
            <p:cNvPr id="17" name="Freeform 13">
              <a:extLst>
                <a:ext uri="{FF2B5EF4-FFF2-40B4-BE49-F238E27FC236}">
                  <a16:creationId xmlns:a16="http://schemas.microsoft.com/office/drawing/2014/main" id="{710AC68A-FEED-123B-755B-5F14340AF8A2}"/>
                </a:ext>
              </a:extLst>
            </p:cNvPr>
            <p:cNvSpPr>
              <a:spLocks/>
            </p:cNvSpPr>
            <p:nvPr/>
          </p:nvSpPr>
          <p:spPr bwMode="auto">
            <a:xfrm>
              <a:off x="4802187" y="2573337"/>
              <a:ext cx="2214563" cy="2217738"/>
            </a:xfrm>
            <a:custGeom>
              <a:avLst/>
              <a:gdLst/>
              <a:ahLst/>
              <a:cxnLst>
                <a:cxn ang="0">
                  <a:pos x="762" y="3"/>
                </a:cxn>
                <a:cxn ang="0">
                  <a:pos x="884" y="25"/>
                </a:cxn>
                <a:cxn ang="0">
                  <a:pos x="997" y="68"/>
                </a:cxn>
                <a:cxn ang="0">
                  <a:pos x="1100" y="128"/>
                </a:cxn>
                <a:cxn ang="0">
                  <a:pos x="1191" y="204"/>
                </a:cxn>
                <a:cxn ang="0">
                  <a:pos x="1268" y="296"/>
                </a:cxn>
                <a:cxn ang="0">
                  <a:pos x="1328" y="399"/>
                </a:cxn>
                <a:cxn ang="0">
                  <a:pos x="1371" y="513"/>
                </a:cxn>
                <a:cxn ang="0">
                  <a:pos x="1392" y="635"/>
                </a:cxn>
                <a:cxn ang="0">
                  <a:pos x="1392" y="763"/>
                </a:cxn>
                <a:cxn ang="0">
                  <a:pos x="1371" y="885"/>
                </a:cxn>
                <a:cxn ang="0">
                  <a:pos x="1328" y="998"/>
                </a:cxn>
                <a:cxn ang="0">
                  <a:pos x="1268" y="1102"/>
                </a:cxn>
                <a:cxn ang="0">
                  <a:pos x="1191" y="1193"/>
                </a:cxn>
                <a:cxn ang="0">
                  <a:pos x="1100" y="1270"/>
                </a:cxn>
                <a:cxn ang="0">
                  <a:pos x="997" y="1330"/>
                </a:cxn>
                <a:cxn ang="0">
                  <a:pos x="884" y="1373"/>
                </a:cxn>
                <a:cxn ang="0">
                  <a:pos x="762" y="1395"/>
                </a:cxn>
                <a:cxn ang="0">
                  <a:pos x="634" y="1395"/>
                </a:cxn>
                <a:cxn ang="0">
                  <a:pos x="512" y="1373"/>
                </a:cxn>
                <a:cxn ang="0">
                  <a:pos x="399" y="1330"/>
                </a:cxn>
                <a:cxn ang="0">
                  <a:pos x="296" y="1270"/>
                </a:cxn>
                <a:cxn ang="0">
                  <a:pos x="204" y="1193"/>
                </a:cxn>
                <a:cxn ang="0">
                  <a:pos x="128" y="1102"/>
                </a:cxn>
                <a:cxn ang="0">
                  <a:pos x="68" y="998"/>
                </a:cxn>
                <a:cxn ang="0">
                  <a:pos x="25" y="885"/>
                </a:cxn>
                <a:cxn ang="0">
                  <a:pos x="3" y="763"/>
                </a:cxn>
                <a:cxn ang="0">
                  <a:pos x="3" y="635"/>
                </a:cxn>
                <a:cxn ang="0">
                  <a:pos x="25" y="513"/>
                </a:cxn>
                <a:cxn ang="0">
                  <a:pos x="68" y="399"/>
                </a:cxn>
                <a:cxn ang="0">
                  <a:pos x="128" y="296"/>
                </a:cxn>
                <a:cxn ang="0">
                  <a:pos x="204" y="204"/>
                </a:cxn>
                <a:cxn ang="0">
                  <a:pos x="296" y="128"/>
                </a:cxn>
                <a:cxn ang="0">
                  <a:pos x="399" y="68"/>
                </a:cxn>
                <a:cxn ang="0">
                  <a:pos x="512" y="25"/>
                </a:cxn>
                <a:cxn ang="0">
                  <a:pos x="634" y="3"/>
                </a:cxn>
              </a:cxnLst>
              <a:rect l="0" t="0" r="r" b="b"/>
              <a:pathLst>
                <a:path w="1395" h="1397">
                  <a:moveTo>
                    <a:pt x="698" y="0"/>
                  </a:moveTo>
                  <a:lnTo>
                    <a:pt x="762" y="3"/>
                  </a:lnTo>
                  <a:lnTo>
                    <a:pt x="824" y="11"/>
                  </a:lnTo>
                  <a:lnTo>
                    <a:pt x="884" y="25"/>
                  </a:lnTo>
                  <a:lnTo>
                    <a:pt x="941" y="44"/>
                  </a:lnTo>
                  <a:lnTo>
                    <a:pt x="997" y="68"/>
                  </a:lnTo>
                  <a:lnTo>
                    <a:pt x="1049" y="95"/>
                  </a:lnTo>
                  <a:lnTo>
                    <a:pt x="1100" y="128"/>
                  </a:lnTo>
                  <a:lnTo>
                    <a:pt x="1148" y="164"/>
                  </a:lnTo>
                  <a:lnTo>
                    <a:pt x="1191" y="204"/>
                  </a:lnTo>
                  <a:lnTo>
                    <a:pt x="1231" y="248"/>
                  </a:lnTo>
                  <a:lnTo>
                    <a:pt x="1268" y="296"/>
                  </a:lnTo>
                  <a:lnTo>
                    <a:pt x="1300" y="347"/>
                  </a:lnTo>
                  <a:lnTo>
                    <a:pt x="1328" y="399"/>
                  </a:lnTo>
                  <a:lnTo>
                    <a:pt x="1351" y="455"/>
                  </a:lnTo>
                  <a:lnTo>
                    <a:pt x="1371" y="513"/>
                  </a:lnTo>
                  <a:lnTo>
                    <a:pt x="1384" y="573"/>
                  </a:lnTo>
                  <a:lnTo>
                    <a:pt x="1392" y="635"/>
                  </a:lnTo>
                  <a:lnTo>
                    <a:pt x="1395" y="699"/>
                  </a:lnTo>
                  <a:lnTo>
                    <a:pt x="1392" y="763"/>
                  </a:lnTo>
                  <a:lnTo>
                    <a:pt x="1384" y="825"/>
                  </a:lnTo>
                  <a:lnTo>
                    <a:pt x="1371" y="885"/>
                  </a:lnTo>
                  <a:lnTo>
                    <a:pt x="1351" y="942"/>
                  </a:lnTo>
                  <a:lnTo>
                    <a:pt x="1328" y="998"/>
                  </a:lnTo>
                  <a:lnTo>
                    <a:pt x="1300" y="1051"/>
                  </a:lnTo>
                  <a:lnTo>
                    <a:pt x="1268" y="1102"/>
                  </a:lnTo>
                  <a:lnTo>
                    <a:pt x="1231" y="1149"/>
                  </a:lnTo>
                  <a:lnTo>
                    <a:pt x="1191" y="1193"/>
                  </a:lnTo>
                  <a:lnTo>
                    <a:pt x="1148" y="1233"/>
                  </a:lnTo>
                  <a:lnTo>
                    <a:pt x="1100" y="1270"/>
                  </a:lnTo>
                  <a:lnTo>
                    <a:pt x="1049" y="1302"/>
                  </a:lnTo>
                  <a:lnTo>
                    <a:pt x="997" y="1330"/>
                  </a:lnTo>
                  <a:lnTo>
                    <a:pt x="941" y="1354"/>
                  </a:lnTo>
                  <a:lnTo>
                    <a:pt x="884" y="1373"/>
                  </a:lnTo>
                  <a:lnTo>
                    <a:pt x="824" y="1386"/>
                  </a:lnTo>
                  <a:lnTo>
                    <a:pt x="762" y="1395"/>
                  </a:lnTo>
                  <a:lnTo>
                    <a:pt x="698" y="1397"/>
                  </a:lnTo>
                  <a:lnTo>
                    <a:pt x="634" y="1395"/>
                  </a:lnTo>
                  <a:lnTo>
                    <a:pt x="572" y="1386"/>
                  </a:lnTo>
                  <a:lnTo>
                    <a:pt x="512" y="1373"/>
                  </a:lnTo>
                  <a:lnTo>
                    <a:pt x="455" y="1354"/>
                  </a:lnTo>
                  <a:lnTo>
                    <a:pt x="399" y="1330"/>
                  </a:lnTo>
                  <a:lnTo>
                    <a:pt x="346" y="1302"/>
                  </a:lnTo>
                  <a:lnTo>
                    <a:pt x="296" y="1270"/>
                  </a:lnTo>
                  <a:lnTo>
                    <a:pt x="248" y="1233"/>
                  </a:lnTo>
                  <a:lnTo>
                    <a:pt x="204" y="1193"/>
                  </a:lnTo>
                  <a:lnTo>
                    <a:pt x="164" y="1149"/>
                  </a:lnTo>
                  <a:lnTo>
                    <a:pt x="128" y="1102"/>
                  </a:lnTo>
                  <a:lnTo>
                    <a:pt x="96" y="1051"/>
                  </a:lnTo>
                  <a:lnTo>
                    <a:pt x="68" y="998"/>
                  </a:lnTo>
                  <a:lnTo>
                    <a:pt x="44" y="942"/>
                  </a:lnTo>
                  <a:lnTo>
                    <a:pt x="25" y="885"/>
                  </a:lnTo>
                  <a:lnTo>
                    <a:pt x="12" y="825"/>
                  </a:lnTo>
                  <a:lnTo>
                    <a:pt x="3" y="763"/>
                  </a:lnTo>
                  <a:lnTo>
                    <a:pt x="0" y="699"/>
                  </a:lnTo>
                  <a:lnTo>
                    <a:pt x="3" y="635"/>
                  </a:lnTo>
                  <a:lnTo>
                    <a:pt x="12" y="573"/>
                  </a:lnTo>
                  <a:lnTo>
                    <a:pt x="25" y="513"/>
                  </a:lnTo>
                  <a:lnTo>
                    <a:pt x="44" y="455"/>
                  </a:lnTo>
                  <a:lnTo>
                    <a:pt x="68" y="399"/>
                  </a:lnTo>
                  <a:lnTo>
                    <a:pt x="96" y="347"/>
                  </a:lnTo>
                  <a:lnTo>
                    <a:pt x="128" y="296"/>
                  </a:lnTo>
                  <a:lnTo>
                    <a:pt x="164" y="248"/>
                  </a:lnTo>
                  <a:lnTo>
                    <a:pt x="204" y="204"/>
                  </a:lnTo>
                  <a:lnTo>
                    <a:pt x="248" y="164"/>
                  </a:lnTo>
                  <a:lnTo>
                    <a:pt x="296" y="128"/>
                  </a:lnTo>
                  <a:lnTo>
                    <a:pt x="346" y="95"/>
                  </a:lnTo>
                  <a:lnTo>
                    <a:pt x="399" y="68"/>
                  </a:lnTo>
                  <a:lnTo>
                    <a:pt x="455" y="44"/>
                  </a:lnTo>
                  <a:lnTo>
                    <a:pt x="512" y="25"/>
                  </a:lnTo>
                  <a:lnTo>
                    <a:pt x="572" y="11"/>
                  </a:lnTo>
                  <a:lnTo>
                    <a:pt x="634" y="3"/>
                  </a:lnTo>
                  <a:lnTo>
                    <a:pt x="698" y="0"/>
                  </a:lnTo>
                  <a:close/>
                </a:path>
              </a:pathLst>
            </a:custGeom>
            <a:solidFill>
              <a:schemeClr val="bg1"/>
            </a:solidFill>
            <a:ln w="0">
              <a:noFill/>
              <a:prstDash val="solid"/>
              <a:round/>
              <a:headEnd/>
              <a:tailEnd/>
            </a:ln>
            <a:effectLst>
              <a:outerShdw blurRad="152400" sx="102000" sy="102000" algn="ctr" rotWithShape="0">
                <a:prstClr val="black">
                  <a:alpha val="40000"/>
                </a:prstClr>
              </a:outerShdw>
            </a:effectLst>
          </p:spPr>
          <p:txBody>
            <a:bodyPr vert="horz" wrap="square" lIns="91440" tIns="45720" rIns="91440" bIns="45720" numCol="1" anchor="ctr" anchorCtr="1" compatLnSpc="1">
              <a:prstTxWarp prst="textNoShape">
                <a:avLst/>
              </a:prstTxWarp>
            </a:bodyPr>
            <a:lstStyle/>
            <a:p>
              <a:pPr algn="ctr"/>
              <a:r>
                <a:rPr lang="en-US" sz="2800" b="1" kern="0" noProof="0" dirty="0">
                  <a:latin typeface="+mj-lt"/>
                  <a:cs typeface="Arial" pitchFamily="34" charset="0"/>
                </a:rPr>
                <a:t>Pediatric </a:t>
              </a:r>
              <a:br>
                <a:rPr lang="en-US" sz="2800" b="1" kern="0" noProof="0" dirty="0">
                  <a:latin typeface="+mj-lt"/>
                  <a:cs typeface="Arial" pitchFamily="34" charset="0"/>
                </a:rPr>
              </a:br>
              <a:r>
                <a:rPr lang="en-US" sz="2800" b="1" kern="0" noProof="0" dirty="0">
                  <a:latin typeface="+mj-lt"/>
                  <a:cs typeface="Arial" pitchFamily="34" charset="0"/>
                </a:rPr>
                <a:t>obesity</a:t>
              </a:r>
            </a:p>
          </p:txBody>
        </p:sp>
      </p:grpSp>
    </p:spTree>
    <p:extLst>
      <p:ext uri="{BB962C8B-B14F-4D97-AF65-F5344CB8AC3E}">
        <p14:creationId xmlns:p14="http://schemas.microsoft.com/office/powerpoint/2010/main" val="2539946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5BE439-2D45-C059-AF9D-8A3BC95CAB61}"/>
              </a:ext>
            </a:extLst>
          </p:cNvPr>
          <p:cNvSpPr>
            <a:spLocks noGrp="1"/>
          </p:cNvSpPr>
          <p:nvPr>
            <p:ph type="title"/>
          </p:nvPr>
        </p:nvSpPr>
        <p:spPr>
          <a:xfrm>
            <a:off x="536240" y="414320"/>
            <a:ext cx="10896000" cy="1082209"/>
          </a:xfrm>
        </p:spPr>
        <p:txBody>
          <a:bodyPr/>
          <a:lstStyle/>
          <a:p>
            <a:r>
              <a:rPr lang="en-US" noProof="0" dirty="0"/>
              <a:t>Genetic factors</a:t>
            </a:r>
          </a:p>
        </p:txBody>
      </p:sp>
      <p:sp>
        <p:nvSpPr>
          <p:cNvPr id="3" name="Text Placeholder 2">
            <a:extLst>
              <a:ext uri="{FF2B5EF4-FFF2-40B4-BE49-F238E27FC236}">
                <a16:creationId xmlns:a16="http://schemas.microsoft.com/office/drawing/2014/main" id="{69825413-7EFD-FB74-EFA4-A48360F95EBF}"/>
              </a:ext>
            </a:extLst>
          </p:cNvPr>
          <p:cNvSpPr>
            <a:spLocks noGrp="1"/>
          </p:cNvSpPr>
          <p:nvPr>
            <p:ph type="body" sz="quarter" idx="13"/>
          </p:nvPr>
        </p:nvSpPr>
        <p:spPr>
          <a:xfrm>
            <a:off x="536240" y="6020060"/>
            <a:ext cx="10896000" cy="324000"/>
          </a:xfrm>
        </p:spPr>
        <p:txBody>
          <a:bodyPr/>
          <a:lstStyle/>
          <a:p>
            <a:r>
              <a:rPr lang="en-US" noProof="0" dirty="0"/>
              <a:t>*Most common for adults as well. </a:t>
            </a:r>
            <a:r>
              <a:rPr lang="en-US" baseline="30000" noProof="0" dirty="0"/>
              <a:t>†</a:t>
            </a:r>
            <a:r>
              <a:rPr lang="en-US" noProof="0" dirty="0"/>
              <a:t>Epigenetics refers to changes caused by modification of gene expression rather than alteration of the genetic code. </a:t>
            </a:r>
            <a:br>
              <a:rPr lang="en-US" noProof="0" dirty="0"/>
            </a:br>
            <a:r>
              <a:rPr lang="en-US" noProof="0" dirty="0"/>
              <a:t>1. Kumar S, Kelly AS. Mayo Clin Proc 2017;92:251–265; 2. Styne DM et al. J Clin Endocrinol Metab 2017;102:709–757; 3. Hampl SE et al. Pediatrics 2023;151:e2022060640.</a:t>
            </a:r>
          </a:p>
        </p:txBody>
      </p:sp>
      <p:sp>
        <p:nvSpPr>
          <p:cNvPr id="6" name="Rounded Rectangle 39">
            <a:extLst>
              <a:ext uri="{FF2B5EF4-FFF2-40B4-BE49-F238E27FC236}">
                <a16:creationId xmlns:a16="http://schemas.microsoft.com/office/drawing/2014/main" id="{DCA01A9B-55C2-6003-A02B-71994CB9557B}"/>
              </a:ext>
            </a:extLst>
          </p:cNvPr>
          <p:cNvSpPr/>
          <p:nvPr/>
        </p:nvSpPr>
        <p:spPr>
          <a:xfrm>
            <a:off x="0" y="2093184"/>
            <a:ext cx="5665005" cy="1837456"/>
          </a:xfrm>
          <a:prstGeom prst="rect">
            <a:avLst/>
          </a:prstGeom>
          <a:solidFill>
            <a:schemeClr val="accent2">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219139"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Multiple monogenetic defects associated with </a:t>
            </a:r>
            <a:b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obesity have been identified</a:t>
            </a:r>
          </a:p>
          <a:p>
            <a:pPr marR="0" lvl="0" algn="r" defTabSz="1219139" rtl="0" eaLnBrk="1" fontAlgn="base" latinLnBrk="0" hangingPunct="1">
              <a:lnSpc>
                <a:spcPct val="100000"/>
              </a:lnSpc>
              <a:spcBef>
                <a:spcPct val="0"/>
              </a:spcBef>
              <a:spcAft>
                <a:spcPts val="600"/>
              </a:spcAft>
              <a:buClrTx/>
              <a:buSzTx/>
              <a:tabLst/>
              <a:defRPr/>
            </a:pP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Most common is melanocortin-4 receptor (</a:t>
            </a:r>
            <a:r>
              <a:rPr kumimoji="0" lang="en-US" sz="1400" b="0" i="1"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MC4R</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2</a:t>
            </a:r>
            <a:r>
              <a:rPr kumimoji="0" lang="en-US" sz="1400" b="0" i="0" u="none" strike="noStrike" kern="1200" cap="none" spc="0" normalizeH="0" noProof="0" dirty="0">
                <a:ln>
                  <a:noFill/>
                </a:ln>
                <a:solidFill>
                  <a:schemeClr val="bg1"/>
                </a:solidFill>
                <a:effectLst/>
                <a:uLnTx/>
                <a:uFillTx/>
                <a:ea typeface="Apis For Office" panose="020B0504010101010104" pitchFamily="34" charset="0"/>
                <a:cs typeface="Apis For Office" panose="020B0504010101010104" pitchFamily="34" charset="0"/>
              </a:rPr>
              <a:t> </a:t>
            </a:r>
            <a:br>
              <a:rPr kumimoji="0" lang="en-US" sz="1400" b="0" i="0" u="none" strike="noStrike" kern="1200" cap="none" spc="0" normalizeH="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US" sz="1400" b="0" i="0" u="none" strike="noStrike" kern="1200" cap="none" spc="0" normalizeH="0" noProof="0" dirty="0">
                <a:ln>
                  <a:noFill/>
                </a:ln>
                <a:solidFill>
                  <a:schemeClr val="bg1"/>
                </a:solidFill>
                <a:effectLst/>
                <a:uLnTx/>
                <a:uFillTx/>
                <a:ea typeface="Apis For Office" panose="020B0504010101010104" pitchFamily="34" charset="0"/>
                <a:cs typeface="Apis For Office" panose="020B0504010101010104" pitchFamily="34" charset="0"/>
              </a:rPr>
              <a:t>which accounts for 2–5% of severe obesity in children</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3</a:t>
            </a:r>
          </a:p>
          <a:p>
            <a:pPr marR="0" lvl="0" algn="r" defTabSz="1219139" rtl="0" eaLnBrk="1" fontAlgn="base" latinLnBrk="0" hangingPunct="1">
              <a:lnSpc>
                <a:spcPct val="100000"/>
              </a:lnSpc>
              <a:spcBef>
                <a:spcPct val="0"/>
              </a:spcBef>
              <a:spcAft>
                <a:spcPts val="600"/>
              </a:spcAft>
              <a:buClrTx/>
              <a:buSzTx/>
              <a:tabLst/>
              <a:defRPr/>
            </a:pP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Others include leptin (</a:t>
            </a:r>
            <a:r>
              <a:rPr kumimoji="0" lang="en-US" sz="1400" b="0" i="1"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LEP</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leptin receptor (</a:t>
            </a:r>
            <a:r>
              <a:rPr kumimoji="0" lang="en-US" sz="1400" b="0" i="1"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LEPR</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2</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a:t>
            </a:r>
            <a:b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brain-derived neurotrophic factor (</a:t>
            </a:r>
            <a:r>
              <a:rPr kumimoji="0" lang="en-US" sz="1400" b="0" i="1"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BDNF</a:t>
            </a:r>
            <a:r>
              <a:rPr lang="en-US" sz="1400" noProof="0" dirty="0">
                <a:solidFill>
                  <a:schemeClr val="bg1"/>
                </a:solidFill>
                <a:ea typeface="Apis For Office" panose="020B0504010101010104" pitchFamily="34" charset="0"/>
                <a:cs typeface="Apis For Office" panose="020B0504010101010104" pitchFamily="34" charset="0"/>
              </a:rPr>
              <a:t>), and</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a:t>
            </a:r>
            <a:b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pro-opiomelanocortin (</a:t>
            </a:r>
            <a:r>
              <a:rPr kumimoji="0" lang="en-US" sz="1400" b="0" i="1"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POMC</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2</a:t>
            </a:r>
          </a:p>
        </p:txBody>
      </p:sp>
      <p:sp>
        <p:nvSpPr>
          <p:cNvPr id="7" name="Rounded Rectangle 48">
            <a:extLst>
              <a:ext uri="{FF2B5EF4-FFF2-40B4-BE49-F238E27FC236}">
                <a16:creationId xmlns:a16="http://schemas.microsoft.com/office/drawing/2014/main" id="{DF11D1F0-FF80-E7B7-2B49-347217015907}"/>
              </a:ext>
            </a:extLst>
          </p:cNvPr>
          <p:cNvSpPr/>
          <p:nvPr/>
        </p:nvSpPr>
        <p:spPr>
          <a:xfrm>
            <a:off x="-12318" y="4244024"/>
            <a:ext cx="5665005" cy="1745296"/>
          </a:xfrm>
          <a:prstGeom prst="rect">
            <a:avLst/>
          </a:prstGeom>
          <a:solidFill>
            <a:schemeClr val="accent2">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219139"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Several syndromes associated with obesity</a:t>
            </a:r>
            <a:b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have been identified</a:t>
            </a:r>
          </a:p>
          <a:p>
            <a:pPr marR="0" lvl="0" algn="r" defTabSz="1219139" rtl="0" eaLnBrk="1" fontAlgn="base" latinLnBrk="0" hangingPunct="1">
              <a:lnSpc>
                <a:spcPct val="100000"/>
              </a:lnSpc>
              <a:spcBef>
                <a:spcPct val="0"/>
              </a:spcBef>
              <a:spcAft>
                <a:spcPts val="600"/>
              </a:spcAft>
              <a:buClrTx/>
              <a:buSzTx/>
              <a:tabLst/>
              <a:defRPr/>
            </a:pP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Most common is Prader–Willi</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a:t>
            </a:r>
            <a:endPar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endParaRPr>
          </a:p>
          <a:p>
            <a:pPr marR="0" lvl="0" algn="r" defTabSz="1219139" rtl="0" eaLnBrk="1" fontAlgn="base" latinLnBrk="0" hangingPunct="1">
              <a:lnSpc>
                <a:spcPct val="100000"/>
              </a:lnSpc>
              <a:spcBef>
                <a:spcPct val="0"/>
              </a:spcBef>
              <a:spcAft>
                <a:spcPts val="600"/>
              </a:spcAft>
              <a:buClrTx/>
              <a:buSzTx/>
              <a:tabLst/>
              <a:defRPr/>
            </a:pP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Others include Alström syndrome (AS), Albright hereditary osteodystrophy (AHO),</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2</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Beckwith–Wiedemann syndrome (BWS),</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Bardet–Biedl syndrome (BBS),</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2</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and Cohen syndrome (CS)</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a:t>
            </a:r>
            <a:endPar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endParaRPr>
          </a:p>
        </p:txBody>
      </p:sp>
      <p:sp>
        <p:nvSpPr>
          <p:cNvPr id="9" name="TextBox 8">
            <a:extLst>
              <a:ext uri="{FF2B5EF4-FFF2-40B4-BE49-F238E27FC236}">
                <a16:creationId xmlns:a16="http://schemas.microsoft.com/office/drawing/2014/main" id="{D06EBFAE-D6C7-D62E-DE5E-0C9F4F876B0D}"/>
              </a:ext>
            </a:extLst>
          </p:cNvPr>
          <p:cNvSpPr txBox="1"/>
          <p:nvPr/>
        </p:nvSpPr>
        <p:spPr>
          <a:xfrm>
            <a:off x="6466239" y="2809788"/>
            <a:ext cx="1423788" cy="338554"/>
          </a:xfrm>
          <a:prstGeom prst="rect">
            <a:avLst/>
          </a:prstGeom>
          <a:noFill/>
        </p:spPr>
        <p:txBody>
          <a:bodyPr wrap="non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accent1"/>
                </a:solidFill>
                <a:effectLst/>
                <a:uLnTx/>
                <a:uFillTx/>
                <a:ea typeface="+mn-ea"/>
                <a:cs typeface="Arial" charset="0"/>
              </a:rPr>
              <a:t>&lt;1% </a:t>
            </a:r>
            <a:r>
              <a:rPr kumimoji="0" lang="en-US" sz="1600" b="0" i="0" u="none" strike="noStrike" kern="1200" cap="none" spc="0" normalizeH="0" baseline="0" noProof="0" dirty="0">
                <a:ln>
                  <a:noFill/>
                </a:ln>
                <a:solidFill>
                  <a:schemeClr val="accent1"/>
                </a:solidFill>
                <a:effectLst/>
                <a:uLnTx/>
                <a:uFillTx/>
                <a:ea typeface="+mn-ea"/>
                <a:cs typeface="Arial" charset="0"/>
              </a:rPr>
              <a:t>of</a:t>
            </a:r>
            <a:r>
              <a:rPr lang="en-US" sz="1600" noProof="0" dirty="0">
                <a:solidFill>
                  <a:schemeClr val="accent1"/>
                </a:solidFill>
                <a:cs typeface="Arial" charset="0"/>
              </a:rPr>
              <a:t> </a:t>
            </a:r>
            <a:r>
              <a:rPr kumimoji="0" lang="en-US" sz="1600" b="0" i="0" u="none" strike="noStrike" kern="1200" cap="none" spc="0" normalizeH="0" baseline="0" noProof="0" dirty="0">
                <a:ln>
                  <a:noFill/>
                </a:ln>
                <a:solidFill>
                  <a:schemeClr val="accent1"/>
                </a:solidFill>
                <a:effectLst/>
                <a:uLnTx/>
                <a:uFillTx/>
                <a:ea typeface="+mn-ea"/>
                <a:cs typeface="Arial" charset="0"/>
              </a:rPr>
              <a:t>cases</a:t>
            </a:r>
          </a:p>
        </p:txBody>
      </p:sp>
      <p:sp>
        <p:nvSpPr>
          <p:cNvPr id="10" name="Rounded Rectangle 56">
            <a:extLst>
              <a:ext uri="{FF2B5EF4-FFF2-40B4-BE49-F238E27FC236}">
                <a16:creationId xmlns:a16="http://schemas.microsoft.com/office/drawing/2014/main" id="{A4C912E4-DA51-23A2-225B-666A39A241C8}"/>
              </a:ext>
            </a:extLst>
          </p:cNvPr>
          <p:cNvSpPr/>
          <p:nvPr/>
        </p:nvSpPr>
        <p:spPr>
          <a:xfrm>
            <a:off x="8155986" y="2311157"/>
            <a:ext cx="4036014" cy="1335815"/>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39"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Polygenetic obesity is by far</a:t>
            </a:r>
            <a:b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the most common genetic</a:t>
            </a:r>
            <a:b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cause of obesity</a:t>
            </a:r>
            <a:r>
              <a:rPr kumimoji="0" lang="en-US" sz="160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a:t>
            </a:r>
            <a:endParaRPr kumimoji="0" lang="en-US" sz="160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endParaRPr>
          </a:p>
          <a:p>
            <a:pPr marR="0" lvl="0" algn="l" defTabSz="1219139" rtl="0" eaLnBrk="1" fontAlgn="base" latinLnBrk="0" hangingPunct="1">
              <a:lnSpc>
                <a:spcPct val="100000"/>
              </a:lnSpc>
              <a:spcBef>
                <a:spcPct val="0"/>
              </a:spcBef>
              <a:spcAft>
                <a:spcPts val="600"/>
              </a:spcAft>
              <a:buClrTx/>
              <a:buSzTx/>
              <a:tabLst/>
              <a:defRPr/>
            </a:pP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Accounts for 30–50% of variation in adiposity</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a:t>
            </a:r>
            <a:endPar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endParaRPr>
          </a:p>
        </p:txBody>
      </p:sp>
      <p:sp>
        <p:nvSpPr>
          <p:cNvPr id="11" name="Rounded Rectangle 70">
            <a:extLst>
              <a:ext uri="{FF2B5EF4-FFF2-40B4-BE49-F238E27FC236}">
                <a16:creationId xmlns:a16="http://schemas.microsoft.com/office/drawing/2014/main" id="{6A2A6032-EDDE-6DC9-4BE8-DF220EE77F78}"/>
              </a:ext>
            </a:extLst>
          </p:cNvPr>
          <p:cNvSpPr/>
          <p:nvPr/>
        </p:nvSpPr>
        <p:spPr>
          <a:xfrm>
            <a:off x="8155986" y="4234297"/>
            <a:ext cx="4036014" cy="1582843"/>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39"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Increasing evidence </a:t>
            </a:r>
            <a:b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that epigenetics</a:t>
            </a:r>
            <a:r>
              <a:rPr kumimoji="0" lang="en-US" sz="1600" b="1"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a:t>
            </a: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play a role</a:t>
            </a:r>
            <a:r>
              <a:rPr kumimoji="0" lang="en-US" sz="160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a:t>
            </a:r>
            <a:endParaRPr kumimoji="0" lang="en-US" sz="160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endParaRPr>
          </a:p>
          <a:p>
            <a:pPr marR="0" lvl="0" algn="l" defTabSz="1219139" rtl="0" eaLnBrk="1" fontAlgn="base" latinLnBrk="0" hangingPunct="1">
              <a:lnSpc>
                <a:spcPct val="100000"/>
              </a:lnSpc>
              <a:spcBef>
                <a:spcPct val="0"/>
              </a:spcBef>
              <a:spcAft>
                <a:spcPts val="600"/>
              </a:spcAft>
              <a:buClrTx/>
              <a:buSzTx/>
              <a:tabLst/>
              <a:defRPr/>
            </a:pP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Epigenetic factors may modify the interaction </a:t>
            </a:r>
            <a:b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of environment, microbiome, and nutrition </a:t>
            </a:r>
            <a:b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on weight</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a:t>
            </a:r>
            <a:endPar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endParaRPr>
          </a:p>
        </p:txBody>
      </p:sp>
      <p:sp>
        <p:nvSpPr>
          <p:cNvPr id="56" name="TextBox 55">
            <a:extLst>
              <a:ext uri="{FF2B5EF4-FFF2-40B4-BE49-F238E27FC236}">
                <a16:creationId xmlns:a16="http://schemas.microsoft.com/office/drawing/2014/main" id="{BD2BF9A1-E36A-FD5E-907D-A3D7520ACEA0}"/>
              </a:ext>
            </a:extLst>
          </p:cNvPr>
          <p:cNvSpPr txBox="1"/>
          <p:nvPr/>
        </p:nvSpPr>
        <p:spPr>
          <a:xfrm>
            <a:off x="88489" y="1694374"/>
            <a:ext cx="5564197" cy="282787"/>
          </a:xfrm>
          <a:prstGeom prst="roundRect">
            <a:avLst>
              <a:gd name="adj" fmla="val 50000"/>
            </a:avLst>
          </a:prstGeom>
          <a:solidFill>
            <a:schemeClr val="accent1"/>
          </a:solidFill>
        </p:spPr>
        <p:txBody>
          <a:bodyPr wrap="square" lIns="96000" tIns="0" rIns="0" bIns="0" rtlCol="0" anchor="ctr" anchorCtr="0">
            <a:noAutofit/>
          </a:bodyPr>
          <a:lstStyle/>
          <a:p>
            <a:pPr algn="ctr"/>
            <a:r>
              <a:rPr lang="en-US" sz="1600" b="1" noProof="0" dirty="0">
                <a:solidFill>
                  <a:schemeClr val="bg1"/>
                </a:solidFill>
              </a:rPr>
              <a:t>Syndromic obesity</a:t>
            </a:r>
          </a:p>
        </p:txBody>
      </p:sp>
      <p:sp>
        <p:nvSpPr>
          <p:cNvPr id="57" name="Oval 56">
            <a:extLst>
              <a:ext uri="{FF2B5EF4-FFF2-40B4-BE49-F238E27FC236}">
                <a16:creationId xmlns:a16="http://schemas.microsoft.com/office/drawing/2014/main" id="{0E266D06-A629-5D91-D850-1F540F169789}"/>
              </a:ext>
            </a:extLst>
          </p:cNvPr>
          <p:cNvSpPr/>
          <p:nvPr/>
        </p:nvSpPr>
        <p:spPr>
          <a:xfrm>
            <a:off x="6332202" y="3177540"/>
            <a:ext cx="1738246" cy="1738246"/>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8" name="Graphic 57">
            <a:extLst>
              <a:ext uri="{FF2B5EF4-FFF2-40B4-BE49-F238E27FC236}">
                <a16:creationId xmlns:a16="http://schemas.microsoft.com/office/drawing/2014/main" id="{F94CA199-8620-47C6-26C0-22B1172975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09995" y="3378525"/>
            <a:ext cx="1336278" cy="1336276"/>
          </a:xfrm>
          <a:prstGeom prst="rect">
            <a:avLst/>
          </a:prstGeom>
        </p:spPr>
      </p:pic>
      <p:cxnSp>
        <p:nvCxnSpPr>
          <p:cNvPr id="60" name="Connector: Elbow 59">
            <a:extLst>
              <a:ext uri="{FF2B5EF4-FFF2-40B4-BE49-F238E27FC236}">
                <a16:creationId xmlns:a16="http://schemas.microsoft.com/office/drawing/2014/main" id="{71954B88-F313-B408-C6E4-F31A1EA33D5C}"/>
              </a:ext>
            </a:extLst>
          </p:cNvPr>
          <p:cNvCxnSpPr>
            <a:cxnSpLocks/>
            <a:stCxn id="6" idx="3"/>
            <a:endCxn id="57" idx="2"/>
          </p:cNvCxnSpPr>
          <p:nvPr/>
        </p:nvCxnSpPr>
        <p:spPr>
          <a:xfrm>
            <a:off x="5665005" y="3011912"/>
            <a:ext cx="667197" cy="1034751"/>
          </a:xfrm>
          <a:prstGeom prst="bentConnector3">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3AA89832-6428-149F-C73A-C4D6B68C5C3F}"/>
              </a:ext>
            </a:extLst>
          </p:cNvPr>
          <p:cNvCxnSpPr>
            <a:cxnSpLocks/>
            <a:stCxn id="7" idx="3"/>
            <a:endCxn id="57" idx="2"/>
          </p:cNvCxnSpPr>
          <p:nvPr/>
        </p:nvCxnSpPr>
        <p:spPr>
          <a:xfrm flipV="1">
            <a:off x="5652687" y="4046663"/>
            <a:ext cx="679515" cy="1070009"/>
          </a:xfrm>
          <a:prstGeom prst="bentConnector3">
            <a:avLst>
              <a:gd name="adj1" fmla="val 50000"/>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640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51149B-37EA-E770-80F3-B38353D29C5A}"/>
            </a:ext>
          </a:extLst>
        </p:cNvPr>
        <p:cNvGrpSpPr/>
        <p:nvPr/>
      </p:nvGrpSpPr>
      <p:grpSpPr>
        <a:xfrm>
          <a:off x="0" y="0"/>
          <a:ext cx="0" cy="0"/>
          <a:chOff x="0" y="0"/>
          <a:chExt cx="0" cy="0"/>
        </a:xfrm>
      </p:grpSpPr>
      <p:sp>
        <p:nvSpPr>
          <p:cNvPr id="66" name="Oval 65">
            <a:extLst>
              <a:ext uri="{FF2B5EF4-FFF2-40B4-BE49-F238E27FC236}">
                <a16:creationId xmlns:a16="http://schemas.microsoft.com/office/drawing/2014/main" id="{64884625-00D8-418E-517D-CFC53A7A4C37}"/>
              </a:ext>
            </a:extLst>
          </p:cNvPr>
          <p:cNvSpPr/>
          <p:nvPr/>
        </p:nvSpPr>
        <p:spPr>
          <a:xfrm>
            <a:off x="4039438" y="1770025"/>
            <a:ext cx="3984422" cy="3984422"/>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CD2C54F5-37E6-630A-6027-9DEB2CD26589}"/>
              </a:ext>
            </a:extLst>
          </p:cNvPr>
          <p:cNvSpPr>
            <a:spLocks noGrp="1"/>
          </p:cNvSpPr>
          <p:nvPr>
            <p:ph type="title"/>
          </p:nvPr>
        </p:nvSpPr>
        <p:spPr>
          <a:xfrm>
            <a:off x="536240" y="414320"/>
            <a:ext cx="10896000" cy="1082209"/>
          </a:xfrm>
        </p:spPr>
        <p:txBody>
          <a:bodyPr/>
          <a:lstStyle/>
          <a:p>
            <a:r>
              <a:rPr lang="en-US" noProof="0" dirty="0"/>
              <a:t>External causes</a:t>
            </a:r>
          </a:p>
        </p:txBody>
      </p:sp>
      <p:sp>
        <p:nvSpPr>
          <p:cNvPr id="3" name="Text Placeholder 2">
            <a:extLst>
              <a:ext uri="{FF2B5EF4-FFF2-40B4-BE49-F238E27FC236}">
                <a16:creationId xmlns:a16="http://schemas.microsoft.com/office/drawing/2014/main" id="{58BCD4A5-212C-6EC9-25FD-5268B258F3C8}"/>
              </a:ext>
            </a:extLst>
          </p:cNvPr>
          <p:cNvSpPr>
            <a:spLocks noGrp="1"/>
          </p:cNvSpPr>
          <p:nvPr>
            <p:ph type="body" sz="quarter" idx="13"/>
          </p:nvPr>
        </p:nvSpPr>
        <p:spPr>
          <a:xfrm>
            <a:off x="536240" y="5955432"/>
            <a:ext cx="10896000" cy="388628"/>
          </a:xfrm>
        </p:spPr>
        <p:txBody>
          <a:bodyPr/>
          <a:lstStyle/>
          <a:p>
            <a:pPr lvl="0" defTabSz="914400">
              <a:spcAft>
                <a:spcPts val="0"/>
              </a:spcAft>
              <a:defRPr/>
            </a:pPr>
            <a:r>
              <a:rPr lang="en-US" dirty="0"/>
              <a:t>1. Kumar S, Kelly AS. Mayo Clin Proc 2017;92:251–265; 2. Rhee KE et al. Int J Pediatrics 2012;2012:463850; 3. Hampl SE et al. Pediatrics. 2023;151:e2022060640; 4. Karnik S, Kanekar A. Int J Prev Med 2012;3:1–7; 5. Sahoo K et al. J Family Med Prim Care 2015;4:187–192; 6. Taveras EM et al. Pediatrics 2014;133:1013–1022; 7. Salvy S-J, Bowker JC. J Obes Weight Loss Ther 2014;4:207; 8. Weihrauch-Blüher S, Wiegand S. Curr Obes Rep 2018;7:254–259.</a:t>
            </a:r>
            <a:endParaRPr lang="en-CA" dirty="0"/>
          </a:p>
        </p:txBody>
      </p:sp>
      <p:sp>
        <p:nvSpPr>
          <p:cNvPr id="7" name="Rounded Rectangle 39">
            <a:extLst>
              <a:ext uri="{FF2B5EF4-FFF2-40B4-BE49-F238E27FC236}">
                <a16:creationId xmlns:a16="http://schemas.microsoft.com/office/drawing/2014/main" id="{377A8E8F-2A75-4782-C086-B5BE66C540CB}"/>
              </a:ext>
            </a:extLst>
          </p:cNvPr>
          <p:cNvSpPr/>
          <p:nvPr/>
        </p:nvSpPr>
        <p:spPr>
          <a:xfrm>
            <a:off x="-13015" y="3090268"/>
            <a:ext cx="4836199" cy="1328619"/>
          </a:xfrm>
          <a:prstGeom prst="rect">
            <a:avLst/>
          </a:prstGeom>
          <a:solidFill>
            <a:schemeClr val="accent3">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219139" rtl="0" eaLnBrk="1" fontAlgn="base" latinLnBrk="0" hangingPunct="1">
              <a:lnSpc>
                <a:spcPct val="100000"/>
              </a:lnSpc>
              <a:spcBef>
                <a:spcPct val="0"/>
              </a:spcBef>
              <a:spcAft>
                <a:spcPts val="70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Socioeconomic factors</a:t>
            </a:r>
          </a:p>
          <a:p>
            <a:pPr marL="0" marR="0" lvl="0" indent="0" algn="r" defTabSz="1219139" rtl="0" eaLnBrk="1" fontAlgn="base" latinLnBrk="0" hangingPunct="1">
              <a:lnSpc>
                <a:spcPct val="100000"/>
              </a:lnSpc>
              <a:spcBef>
                <a:spcPct val="0"/>
              </a:spcBef>
              <a:spcAft>
                <a:spcPts val="700"/>
              </a:spcAft>
              <a:buClrTx/>
              <a:buSzTx/>
              <a:buFontTx/>
              <a:buNone/>
              <a:tabLst/>
              <a:defRPr/>
            </a:pP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Obesity burden greater in lower socioeconomic groups;</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3</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junk food is inexpensive, associated with </a:t>
            </a:r>
            <a:b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pleasure and convenience</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3,5</a:t>
            </a:r>
          </a:p>
        </p:txBody>
      </p:sp>
      <p:sp>
        <p:nvSpPr>
          <p:cNvPr id="9" name="Rounded Rectangle 39">
            <a:extLst>
              <a:ext uri="{FF2B5EF4-FFF2-40B4-BE49-F238E27FC236}">
                <a16:creationId xmlns:a16="http://schemas.microsoft.com/office/drawing/2014/main" id="{E802806A-BFB6-88F6-A944-5D0528B5FBE7}"/>
              </a:ext>
            </a:extLst>
          </p:cNvPr>
          <p:cNvSpPr/>
          <p:nvPr/>
        </p:nvSpPr>
        <p:spPr>
          <a:xfrm>
            <a:off x="0" y="1708916"/>
            <a:ext cx="4836199" cy="1328619"/>
          </a:xfrm>
          <a:prstGeom prst="rect">
            <a:avLst/>
          </a:prstGeom>
          <a:solidFill>
            <a:schemeClr val="accent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219139" rtl="0" eaLnBrk="1" fontAlgn="base" latinLnBrk="0" hangingPunct="1">
              <a:lnSpc>
                <a:spcPct val="100000"/>
              </a:lnSpc>
              <a:spcBef>
                <a:spcPct val="0"/>
              </a:spcBef>
              <a:spcAft>
                <a:spcPts val="70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Prenatal and parental factors</a:t>
            </a:r>
          </a:p>
          <a:p>
            <a:pPr marL="0" marR="0" lvl="0" indent="0" algn="r" defTabSz="1219139" rtl="0" eaLnBrk="1" fontAlgn="base" latinLnBrk="0" hangingPunct="1">
              <a:lnSpc>
                <a:spcPct val="100000"/>
              </a:lnSpc>
              <a:spcBef>
                <a:spcPct val="0"/>
              </a:spcBef>
              <a:spcAft>
                <a:spcPts val="700"/>
              </a:spcAft>
              <a:buClrTx/>
              <a:buSzTx/>
              <a:buFontTx/>
              <a:buNone/>
              <a:tabLst/>
              <a:defRPr/>
            </a:pP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Smoking during pregnancy, lack of breastfeeding,</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2,3</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mimicking parents’ poor eating habits</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a:t>
            </a:r>
            <a:r>
              <a:rPr lang="en-US" sz="1400" baseline="30000" dirty="0">
                <a:solidFill>
                  <a:schemeClr val="bg1"/>
                </a:solidFill>
                <a:ea typeface="Apis For Office" panose="020B0504010101010104" pitchFamily="34" charset="0"/>
                <a:cs typeface="Apis For Office" panose="020B0504010101010104" pitchFamily="34" charset="0"/>
              </a:rPr>
              <a:t>3-5</a:t>
            </a:r>
            <a:endPar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endParaRPr>
          </a:p>
        </p:txBody>
      </p:sp>
      <p:sp>
        <p:nvSpPr>
          <p:cNvPr id="11" name="Rounded Rectangle 39">
            <a:extLst>
              <a:ext uri="{FF2B5EF4-FFF2-40B4-BE49-F238E27FC236}">
                <a16:creationId xmlns:a16="http://schemas.microsoft.com/office/drawing/2014/main" id="{B514644A-5E3E-3E42-75F2-B9A101BA2C27}"/>
              </a:ext>
            </a:extLst>
          </p:cNvPr>
          <p:cNvSpPr/>
          <p:nvPr/>
        </p:nvSpPr>
        <p:spPr>
          <a:xfrm>
            <a:off x="0" y="4479277"/>
            <a:ext cx="4836199" cy="1328619"/>
          </a:xfrm>
          <a:prstGeom prst="rect">
            <a:avLst/>
          </a:prstGeom>
          <a:solidFill>
            <a:schemeClr val="accent5">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r" defTabSz="1219139" rtl="0" eaLnBrk="1" fontAlgn="base" latinLnBrk="0" hangingPunct="1">
              <a:lnSpc>
                <a:spcPct val="100000"/>
              </a:lnSpc>
              <a:spcBef>
                <a:spcPct val="0"/>
              </a:spcBef>
              <a:spcAft>
                <a:spcPts val="70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Diet and physical activity</a:t>
            </a:r>
          </a:p>
          <a:p>
            <a:pPr algn="r" defTabSz="1219139" fontAlgn="base">
              <a:spcBef>
                <a:spcPct val="0"/>
              </a:spcBef>
              <a:spcAft>
                <a:spcPts val="700"/>
              </a:spcAft>
              <a:defRPr/>
            </a:pP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High glycemic foods, </a:t>
            </a:r>
            <a:r>
              <a:rPr lang="en-US" sz="1400" noProof="0" dirty="0">
                <a:solidFill>
                  <a:schemeClr val="bg1"/>
                </a:solidFill>
                <a:ea typeface="Apis For Office" panose="020B0504010101010104" pitchFamily="34" charset="0"/>
                <a:cs typeface="Apis For Office" panose="020B0504010101010104" pitchFamily="34" charset="0"/>
              </a:rPr>
              <a:t>sugar-sweetened</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a:t>
            </a:r>
            <a:br>
              <a:rPr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drinks, devices that </a:t>
            </a:r>
            <a:r>
              <a:rPr lang="en-US" sz="1400" noProof="0" dirty="0">
                <a:solidFill>
                  <a:schemeClr val="bg1"/>
                </a:solidFill>
                <a:ea typeface="Apis For Office" panose="020B0504010101010104" pitchFamily="34" charset="0"/>
                <a:cs typeface="Apis For Office" panose="020B0504010101010104" pitchFamily="34" charset="0"/>
              </a:rPr>
              <a:t>increase</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sedentary time</a:t>
            </a:r>
            <a:r>
              <a:rPr lang="en-US" sz="1400" dirty="0">
                <a:solidFill>
                  <a:schemeClr val="bg1"/>
                </a:solidFill>
                <a:ea typeface="Apis For Office" panose="020B0504010101010104" pitchFamily="34" charset="0"/>
                <a:cs typeface="Apis For Office" panose="020B0504010101010104" pitchFamily="34" charset="0"/>
              </a:rPr>
              <a:t>, </a:t>
            </a:r>
            <a:br>
              <a:rPr lang="en-US" sz="1400" dirty="0">
                <a:solidFill>
                  <a:schemeClr val="bg1"/>
                </a:solidFill>
                <a:ea typeface="Apis For Office" panose="020B0504010101010104" pitchFamily="34" charset="0"/>
                <a:cs typeface="Apis For Office" panose="020B0504010101010104" pitchFamily="34" charset="0"/>
              </a:rPr>
            </a:br>
            <a:r>
              <a:rPr lang="en-US" sz="1400" dirty="0">
                <a:solidFill>
                  <a:schemeClr val="bg1"/>
                </a:solidFill>
                <a:ea typeface="Apis For Office" panose="020B0504010101010104" pitchFamily="34" charset="0"/>
                <a:cs typeface="Apis For Office" panose="020B0504010101010104" pitchFamily="34" charset="0"/>
              </a:rPr>
              <a:t>poor sleep quality</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3,4,6</a:t>
            </a:r>
            <a:endParaRPr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endParaRPr>
          </a:p>
        </p:txBody>
      </p:sp>
      <p:sp>
        <p:nvSpPr>
          <p:cNvPr id="13" name="Rounded Rectangle 39">
            <a:extLst>
              <a:ext uri="{FF2B5EF4-FFF2-40B4-BE49-F238E27FC236}">
                <a16:creationId xmlns:a16="http://schemas.microsoft.com/office/drawing/2014/main" id="{85738522-9296-C9B9-A5CF-F6BCB5A324E7}"/>
              </a:ext>
            </a:extLst>
          </p:cNvPr>
          <p:cNvSpPr/>
          <p:nvPr/>
        </p:nvSpPr>
        <p:spPr>
          <a:xfrm>
            <a:off x="7279159" y="1708916"/>
            <a:ext cx="4912841" cy="2337747"/>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39" rtl="0" eaLnBrk="1" fontAlgn="base" latinLnBrk="0" hangingPunct="1">
              <a:lnSpc>
                <a:spcPct val="100000"/>
              </a:lnSpc>
              <a:spcBef>
                <a:spcPct val="0"/>
              </a:spcBef>
              <a:spcAft>
                <a:spcPts val="70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Psychosocial/emotional factors</a:t>
            </a:r>
          </a:p>
          <a:p>
            <a:pPr marL="0" marR="0" lvl="0" indent="0" algn="l" defTabSz="1219139" rtl="0" eaLnBrk="1" fontAlgn="base" latinLnBrk="0" hangingPunct="1">
              <a:lnSpc>
                <a:spcPct val="100000"/>
              </a:lnSpc>
              <a:spcBef>
                <a:spcPct val="0"/>
              </a:spcBef>
              <a:spcAft>
                <a:spcPts val="700"/>
              </a:spcAft>
              <a:buClrTx/>
              <a:buSzTx/>
              <a:buFontTx/>
              <a:buNone/>
              <a:tabLst/>
              <a:defRPr/>
            </a:pP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Depression,</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3,4</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peer pressure,</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7</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anxiety,</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3</a:t>
            </a:r>
            <a:b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low self-esteem,</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3,4</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body dissatisfaction,</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3,4,7 </a:t>
            </a:r>
            <a:b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eating disorders,</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3,7</a:t>
            </a: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maladaptive coping strategies</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3</a:t>
            </a:r>
            <a:endPar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endParaRPr>
          </a:p>
        </p:txBody>
      </p:sp>
      <p:sp>
        <p:nvSpPr>
          <p:cNvPr id="15" name="Rounded Rectangle 39">
            <a:extLst>
              <a:ext uri="{FF2B5EF4-FFF2-40B4-BE49-F238E27FC236}">
                <a16:creationId xmlns:a16="http://schemas.microsoft.com/office/drawing/2014/main" id="{83BFB532-7BC2-0B2A-A8E0-AEC66F096C1C}"/>
              </a:ext>
            </a:extLst>
          </p:cNvPr>
          <p:cNvSpPr/>
          <p:nvPr/>
        </p:nvSpPr>
        <p:spPr>
          <a:xfrm>
            <a:off x="7279159" y="4099105"/>
            <a:ext cx="4912841" cy="1708791"/>
          </a:xfrm>
          <a:prstGeom prst="rect">
            <a:avLst/>
          </a:prstGeom>
          <a:solidFill>
            <a:schemeClr val="accent5">
              <a:lumMod val="5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39" rtl="0" eaLnBrk="1" fontAlgn="base" latinLnBrk="0" hangingPunct="1">
              <a:lnSpc>
                <a:spcPct val="100000"/>
              </a:lnSpc>
              <a:spcBef>
                <a:spcPct val="0"/>
              </a:spcBef>
              <a:spcAft>
                <a:spcPts val="70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Environment</a:t>
            </a:r>
          </a:p>
          <a:p>
            <a:pPr marL="0" marR="0" lvl="0" indent="0" algn="l" defTabSz="1219139" rtl="0" eaLnBrk="1" fontAlgn="base" latinLnBrk="0" hangingPunct="1">
              <a:lnSpc>
                <a:spcPct val="100000"/>
              </a:lnSpc>
              <a:spcBef>
                <a:spcPct val="0"/>
              </a:spcBef>
              <a:spcAft>
                <a:spcPts val="700"/>
              </a:spcAft>
              <a:buClrTx/>
              <a:buSzTx/>
              <a:buFontTx/>
              <a:buNone/>
              <a:tabLst/>
              <a:defRPr/>
            </a:pPr>
            <a:r>
              <a:rPr kumimoji="0" lang="en-US" sz="1400" b="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Length of the street the children live on, accessibility of nearest playground by foot, frequency of buses/trains passing the street, the socioeconomic status of the neighborhood</a:t>
            </a:r>
            <a:r>
              <a:rPr kumimoji="0" lang="en-US" sz="1400" b="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3,4,8</a:t>
            </a:r>
          </a:p>
        </p:txBody>
      </p:sp>
      <p:sp>
        <p:nvSpPr>
          <p:cNvPr id="64" name="Oval 63">
            <a:extLst>
              <a:ext uri="{FF2B5EF4-FFF2-40B4-BE49-F238E27FC236}">
                <a16:creationId xmlns:a16="http://schemas.microsoft.com/office/drawing/2014/main" id="{5D8CF837-BE83-3870-A645-D6D2727C5023}"/>
              </a:ext>
            </a:extLst>
          </p:cNvPr>
          <p:cNvSpPr/>
          <p:nvPr/>
        </p:nvSpPr>
        <p:spPr>
          <a:xfrm>
            <a:off x="5175541" y="2885454"/>
            <a:ext cx="1738246" cy="1738246"/>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65" name="Graphic 64">
            <a:extLst>
              <a:ext uri="{FF2B5EF4-FFF2-40B4-BE49-F238E27FC236}">
                <a16:creationId xmlns:a16="http://schemas.microsoft.com/office/drawing/2014/main" id="{7B46F020-6D48-89AC-919F-306C352253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53334" y="3086439"/>
            <a:ext cx="1336278" cy="1336276"/>
          </a:xfrm>
          <a:prstGeom prst="rect">
            <a:avLst/>
          </a:prstGeom>
        </p:spPr>
      </p:pic>
      <p:cxnSp>
        <p:nvCxnSpPr>
          <p:cNvPr id="67" name="Connector: Elbow 66">
            <a:extLst>
              <a:ext uri="{FF2B5EF4-FFF2-40B4-BE49-F238E27FC236}">
                <a16:creationId xmlns:a16="http://schemas.microsoft.com/office/drawing/2014/main" id="{63C4E77F-7A25-8823-5045-77B1AE16A3CB}"/>
              </a:ext>
            </a:extLst>
          </p:cNvPr>
          <p:cNvCxnSpPr>
            <a:cxnSpLocks/>
            <a:stCxn id="64" idx="2"/>
            <a:endCxn id="9" idx="3"/>
          </p:cNvCxnSpPr>
          <p:nvPr/>
        </p:nvCxnSpPr>
        <p:spPr>
          <a:xfrm rot="10800000">
            <a:off x="4836199" y="2373227"/>
            <a:ext cx="339342" cy="1381351"/>
          </a:xfrm>
          <a:prstGeom prst="bentConnector3">
            <a:avLst>
              <a:gd name="adj1" fmla="val 50000"/>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1C02BF8A-51C4-0432-3810-8E5F2FAD16EE}"/>
              </a:ext>
            </a:extLst>
          </p:cNvPr>
          <p:cNvCxnSpPr>
            <a:cxnSpLocks/>
            <a:stCxn id="64" idx="2"/>
            <a:endCxn id="11" idx="3"/>
          </p:cNvCxnSpPr>
          <p:nvPr/>
        </p:nvCxnSpPr>
        <p:spPr>
          <a:xfrm rot="10800000" flipV="1">
            <a:off x="4836199" y="3754577"/>
            <a:ext cx="339342" cy="1389010"/>
          </a:xfrm>
          <a:prstGeom prst="bentConnector3">
            <a:avLst>
              <a:gd name="adj1" fmla="val 50000"/>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A812EBB6-0607-F9B5-2464-4716703E690B}"/>
              </a:ext>
            </a:extLst>
          </p:cNvPr>
          <p:cNvCxnSpPr>
            <a:cxnSpLocks/>
            <a:stCxn id="64" idx="6"/>
            <a:endCxn id="13" idx="1"/>
          </p:cNvCxnSpPr>
          <p:nvPr/>
        </p:nvCxnSpPr>
        <p:spPr>
          <a:xfrm flipV="1">
            <a:off x="6913787" y="2877790"/>
            <a:ext cx="365372" cy="876787"/>
          </a:xfrm>
          <a:prstGeom prst="bentConnector3">
            <a:avLst>
              <a:gd name="adj1" fmla="val 50000"/>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A1604C36-28A1-2A6D-87AD-4DA4DD29826B}"/>
              </a:ext>
            </a:extLst>
          </p:cNvPr>
          <p:cNvCxnSpPr>
            <a:cxnSpLocks/>
            <a:stCxn id="64" idx="6"/>
            <a:endCxn id="15" idx="1"/>
          </p:cNvCxnSpPr>
          <p:nvPr/>
        </p:nvCxnSpPr>
        <p:spPr>
          <a:xfrm>
            <a:off x="6913787" y="3754577"/>
            <a:ext cx="365372" cy="1198924"/>
          </a:xfrm>
          <a:prstGeom prst="bentConnector3">
            <a:avLst>
              <a:gd name="adj1" fmla="val 50000"/>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12EA02F-F9F4-24FF-0F3D-103FEC713C66}"/>
              </a:ext>
            </a:extLst>
          </p:cNvPr>
          <p:cNvCxnSpPr>
            <a:cxnSpLocks/>
            <a:endCxn id="7" idx="3"/>
          </p:cNvCxnSpPr>
          <p:nvPr/>
        </p:nvCxnSpPr>
        <p:spPr>
          <a:xfrm flipH="1">
            <a:off x="4823184" y="3754577"/>
            <a:ext cx="197549"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4961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D0EC6-A472-6D50-6DBB-71B810BD9A50}"/>
              </a:ext>
            </a:extLst>
          </p:cNvPr>
          <p:cNvSpPr>
            <a:spLocks noGrp="1"/>
          </p:cNvSpPr>
          <p:nvPr>
            <p:ph type="title"/>
          </p:nvPr>
        </p:nvSpPr>
        <p:spPr>
          <a:xfrm>
            <a:off x="536240" y="414320"/>
            <a:ext cx="10896000" cy="1082209"/>
          </a:xfrm>
        </p:spPr>
        <p:txBody>
          <a:bodyPr/>
          <a:lstStyle/>
          <a:p>
            <a:r>
              <a:rPr lang="en-US" noProof="0" dirty="0"/>
              <a:t>Endocrine factors</a:t>
            </a:r>
          </a:p>
        </p:txBody>
      </p:sp>
      <p:sp>
        <p:nvSpPr>
          <p:cNvPr id="3" name="Text Placeholder 2">
            <a:extLst>
              <a:ext uri="{FF2B5EF4-FFF2-40B4-BE49-F238E27FC236}">
                <a16:creationId xmlns:a16="http://schemas.microsoft.com/office/drawing/2014/main" id="{57BD5735-0CDE-A12C-06F2-DDC5F98680B7}"/>
              </a:ext>
            </a:extLst>
          </p:cNvPr>
          <p:cNvSpPr>
            <a:spLocks noGrp="1"/>
          </p:cNvSpPr>
          <p:nvPr>
            <p:ph type="body" sz="quarter" idx="13"/>
          </p:nvPr>
        </p:nvSpPr>
        <p:spPr>
          <a:xfrm>
            <a:off x="536240" y="5733795"/>
            <a:ext cx="10896000" cy="610265"/>
          </a:xfrm>
        </p:spPr>
        <p:txBody>
          <a:bodyPr/>
          <a:lstStyle/>
          <a:p>
            <a:r>
              <a:rPr lang="en-US" dirty="0"/>
              <a:t>BPA, bisphenol A; DDT, dichlorodiphenyltrichloroethane; PFCs, perfluorochemicals.</a:t>
            </a:r>
            <a:br>
              <a:rPr lang="en-US" dirty="0"/>
            </a:br>
            <a:r>
              <a:rPr lang="en-US" dirty="0"/>
              <a:t>1. Kumar S, Kelly AS. Mayo Clin Proc 2017;92:251–265; 2. Hampl SE et al. Pediatrics 2023;151:e2022060640; 3. Ghergherehchi R, Hazhir N. Ther Adv Endocrinol Metab 2015;6:51–55; 4 Savage MO, Storr HL. Indian J Endocrinol Metab 2012;16(suppl 2):S171–S175; 5. Stratakis CA et al. Endocrinol Metab Clin North Am 2012;41:793–803; </a:t>
            </a:r>
            <a:r>
              <a:rPr lang="en-US" dirty="0">
                <a:solidFill>
                  <a:schemeClr val="tx1"/>
                </a:solidFill>
              </a:rPr>
              <a:t>6. </a:t>
            </a:r>
            <a:r>
              <a:rPr lang="en-US" dirty="0"/>
              <a:t>Aycan Z, Bas VN. J Clin Pediatr Endocrinol 2014;6:62–67; 7. Prader–Willi Syndrome Association UK. What is PWS? </a:t>
            </a:r>
            <a:r>
              <a:rPr lang="en-US" dirty="0">
                <a:hlinkClick r:id="rId3">
                  <a:extLst>
                    <a:ext uri="{A12FA001-AC4F-418D-AE19-62706E023703}">
                      <ahyp:hlinkClr xmlns:ahyp="http://schemas.microsoft.com/office/drawing/2018/hyperlinkcolor" val="tx"/>
                    </a:ext>
                  </a:extLst>
                </a:hlinkClick>
              </a:rPr>
              <a:t>https://www.pwsa.co.uk/what-is-pws</a:t>
            </a:r>
            <a:r>
              <a:rPr lang="en-US" dirty="0"/>
              <a:t>. Accessed October 2025; 8. Skelton JA et. Pediatr Clin North Am 2011;58:1333–1354; 9. Endocrine Society. Impact of EDCs on metabolism and obesity. </a:t>
            </a:r>
            <a:r>
              <a:rPr lang="en-US" dirty="0">
                <a:hlinkClick r:id="rId4">
                  <a:extLst>
                    <a:ext uri="{A12FA001-AC4F-418D-AE19-62706E023703}">
                      <ahyp:hlinkClr xmlns:ahyp="http://schemas.microsoft.com/office/drawing/2018/hyperlinkcolor" val="tx"/>
                    </a:ext>
                  </a:extLst>
                </a:hlinkClick>
              </a:rPr>
              <a:t>https://www.endocrine.org/topics/edc/what-edcs-are/common-edcs/metabolic</a:t>
            </a:r>
            <a:r>
              <a:rPr lang="en-US" dirty="0"/>
              <a:t>. Accessed October 2025.</a:t>
            </a:r>
          </a:p>
        </p:txBody>
      </p:sp>
      <p:sp>
        <p:nvSpPr>
          <p:cNvPr id="32" name="Oval 31">
            <a:extLst>
              <a:ext uri="{FF2B5EF4-FFF2-40B4-BE49-F238E27FC236}">
                <a16:creationId xmlns:a16="http://schemas.microsoft.com/office/drawing/2014/main" id="{1C8468CC-ACD1-442B-F395-19AA0DC867D4}"/>
              </a:ext>
            </a:extLst>
          </p:cNvPr>
          <p:cNvSpPr/>
          <p:nvPr/>
        </p:nvSpPr>
        <p:spPr>
          <a:xfrm>
            <a:off x="259082" y="1786362"/>
            <a:ext cx="3657600" cy="36576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137160" bIns="0" rtlCol="0" anchor="ctr"/>
          <a:lstStyle/>
          <a:p>
            <a:pPr lvl="0" algn="ctr" defTabSz="1219170" fontAlgn="base">
              <a:spcBef>
                <a:spcPct val="50000"/>
              </a:spcBef>
              <a:spcAft>
                <a:spcPct val="0"/>
              </a:spcAft>
              <a:defRPr sz="1200" b="1" i="0" u="none" strike="noStrike" kern="1200" baseline="0">
                <a:solidFill>
                  <a:srgbClr val="001965"/>
                </a:solidFill>
                <a:latin typeface="+mn-lt"/>
                <a:ea typeface="+mn-ea"/>
                <a:cs typeface="+mn-cs"/>
              </a:defRPr>
            </a:pPr>
            <a:r>
              <a:rPr lang="en-US" sz="2400" b="1" noProof="0" dirty="0">
                <a:solidFill>
                  <a:srgbClr val="FFFFFF"/>
                </a:solidFill>
              </a:rPr>
              <a:t>Endocrine causes of weight gain are rare (&lt;1%)</a:t>
            </a:r>
            <a:r>
              <a:rPr lang="en-US" sz="2400" baseline="30000" noProof="0" dirty="0">
                <a:solidFill>
                  <a:srgbClr val="FFFFFF"/>
                </a:solidFill>
              </a:rPr>
              <a:t>1–2</a:t>
            </a:r>
            <a:r>
              <a:rPr lang="en-US" sz="2400" b="1" noProof="0" dirty="0">
                <a:solidFill>
                  <a:srgbClr val="FFFFFF"/>
                </a:solidFill>
              </a:rPr>
              <a:t> </a:t>
            </a:r>
            <a:br>
              <a:rPr lang="en-US" sz="2400" b="1" noProof="0" dirty="0">
                <a:solidFill>
                  <a:srgbClr val="FFFFFF"/>
                </a:solidFill>
              </a:rPr>
            </a:br>
            <a:r>
              <a:rPr lang="en-US" sz="2400" b="1" noProof="0" dirty="0">
                <a:solidFill>
                  <a:srgbClr val="FFFFFF"/>
                </a:solidFill>
              </a:rPr>
              <a:t>and include:</a:t>
            </a:r>
          </a:p>
        </p:txBody>
      </p:sp>
      <p:sp>
        <p:nvSpPr>
          <p:cNvPr id="33" name="Oval 32">
            <a:extLst>
              <a:ext uri="{FF2B5EF4-FFF2-40B4-BE49-F238E27FC236}">
                <a16:creationId xmlns:a16="http://schemas.microsoft.com/office/drawing/2014/main" id="{87D1CEC4-96BA-088E-C8FA-C728896C022A}"/>
              </a:ext>
            </a:extLst>
          </p:cNvPr>
          <p:cNvSpPr/>
          <p:nvPr/>
        </p:nvSpPr>
        <p:spPr>
          <a:xfrm>
            <a:off x="6399213" y="1786362"/>
            <a:ext cx="3657600" cy="36576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fontAlgn="base">
              <a:spcBef>
                <a:spcPct val="50000"/>
              </a:spcBef>
              <a:spcAft>
                <a:spcPct val="0"/>
              </a:spcAft>
              <a:defRPr sz="1200" b="1" i="0" u="none" strike="noStrike" kern="1200" baseline="0">
                <a:solidFill>
                  <a:srgbClr val="001965"/>
                </a:solidFill>
                <a:latin typeface="+mn-lt"/>
                <a:ea typeface="+mn-ea"/>
                <a:cs typeface="+mn-cs"/>
              </a:defRPr>
            </a:pPr>
            <a:r>
              <a:rPr lang="en-US" sz="2400" noProof="0" dirty="0">
                <a:solidFill>
                  <a:srgbClr val="FFFFFF"/>
                </a:solidFill>
              </a:rPr>
              <a:t>Most children with endocrine disorders resulting in weight</a:t>
            </a:r>
            <a:br>
              <a:rPr lang="en-US" sz="2400" noProof="0" dirty="0">
                <a:solidFill>
                  <a:srgbClr val="FFFFFF"/>
                </a:solidFill>
              </a:rPr>
            </a:br>
            <a:r>
              <a:rPr lang="en-US" sz="2400" noProof="0" dirty="0">
                <a:solidFill>
                  <a:srgbClr val="FFFFFF"/>
                </a:solidFill>
              </a:rPr>
              <a:t>gain have:</a:t>
            </a:r>
            <a:r>
              <a:rPr lang="en-US" sz="2400" baseline="30000" noProof="0" dirty="0">
                <a:solidFill>
                  <a:srgbClr val="FFFFFF"/>
                </a:solidFill>
              </a:rPr>
              <a:t>1,2,6</a:t>
            </a:r>
          </a:p>
        </p:txBody>
      </p:sp>
      <p:sp>
        <p:nvSpPr>
          <p:cNvPr id="34" name="Oval 33">
            <a:extLst>
              <a:ext uri="{FF2B5EF4-FFF2-40B4-BE49-F238E27FC236}">
                <a16:creationId xmlns:a16="http://schemas.microsoft.com/office/drawing/2014/main" id="{A1785C39-93A0-9DB4-86F4-AE1E18C2A967}"/>
              </a:ext>
            </a:extLst>
          </p:cNvPr>
          <p:cNvSpPr/>
          <p:nvPr/>
        </p:nvSpPr>
        <p:spPr>
          <a:xfrm>
            <a:off x="3267396" y="1696035"/>
            <a:ext cx="3838254" cy="3838254"/>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Aft>
                <a:spcPts val="900"/>
              </a:spcAft>
              <a:defRPr/>
            </a:pPr>
            <a:r>
              <a:rPr lang="en-US" sz="1600" dirty="0"/>
              <a:t>Hypothyroidism</a:t>
            </a:r>
            <a:r>
              <a:rPr lang="en-US" sz="1600" baseline="30000" dirty="0"/>
              <a:t>2,3</a:t>
            </a:r>
          </a:p>
          <a:p>
            <a:pPr algn="ctr" fontAlgn="base">
              <a:spcAft>
                <a:spcPts val="900"/>
              </a:spcAft>
              <a:defRPr/>
            </a:pPr>
            <a:r>
              <a:rPr lang="en-US" sz="1600" dirty="0"/>
              <a:t>Cushing syndrome</a:t>
            </a:r>
            <a:r>
              <a:rPr lang="en-US" sz="1600" baseline="30000" dirty="0"/>
              <a:t>2,4,5</a:t>
            </a:r>
          </a:p>
          <a:p>
            <a:pPr lvl="0" algn="ctr" fontAlgn="base">
              <a:spcAft>
                <a:spcPts val="900"/>
              </a:spcAft>
              <a:defRPr/>
            </a:pPr>
            <a:r>
              <a:rPr lang="en-US" sz="1600" dirty="0"/>
              <a:t>Growth hormone deficiency</a:t>
            </a:r>
            <a:r>
              <a:rPr lang="en-US" sz="1600" baseline="30000" dirty="0"/>
              <a:t>2,6,7 </a:t>
            </a:r>
          </a:p>
          <a:p>
            <a:pPr lvl="0" algn="ctr" fontAlgn="base">
              <a:spcAft>
                <a:spcPts val="900"/>
              </a:spcAft>
              <a:defRPr/>
            </a:pPr>
            <a:r>
              <a:rPr lang="en-US" sz="1600" noProof="0" dirty="0"/>
              <a:t>Congenital leptin deficiency</a:t>
            </a:r>
            <a:r>
              <a:rPr lang="en-US" sz="1600" baseline="30000" noProof="0" dirty="0"/>
              <a:t>8</a:t>
            </a:r>
          </a:p>
          <a:p>
            <a:pPr algn="ctr" fontAlgn="base">
              <a:spcAft>
                <a:spcPts val="900"/>
              </a:spcAft>
              <a:defRPr/>
            </a:pPr>
            <a:r>
              <a:rPr lang="en-US" sz="1600" dirty="0"/>
              <a:t>Pseudohypoparathyroidism type 1a</a:t>
            </a:r>
            <a:r>
              <a:rPr lang="en-US" sz="1600" baseline="30000" dirty="0"/>
              <a:t>1,2</a:t>
            </a:r>
          </a:p>
          <a:p>
            <a:pPr lvl="0" algn="ctr" fontAlgn="base">
              <a:spcAft>
                <a:spcPts val="900"/>
              </a:spcAft>
              <a:defRPr/>
            </a:pPr>
            <a:r>
              <a:rPr lang="en-US" sz="1600" noProof="0" dirty="0"/>
              <a:t>Exposure to endocrine-disrupting chemicals (e.g., BPA, DDT, PFCs)</a:t>
            </a:r>
            <a:r>
              <a:rPr lang="en-US" sz="1600" baseline="30000" noProof="0" dirty="0"/>
              <a:t>9</a:t>
            </a:r>
          </a:p>
        </p:txBody>
      </p:sp>
      <p:sp>
        <p:nvSpPr>
          <p:cNvPr id="35" name="Oval 34">
            <a:extLst>
              <a:ext uri="{FF2B5EF4-FFF2-40B4-BE49-F238E27FC236}">
                <a16:creationId xmlns:a16="http://schemas.microsoft.com/office/drawing/2014/main" id="{8150D17A-7EF2-0295-F31C-93C219242B06}"/>
              </a:ext>
            </a:extLst>
          </p:cNvPr>
          <p:cNvSpPr/>
          <p:nvPr/>
        </p:nvSpPr>
        <p:spPr>
          <a:xfrm>
            <a:off x="9360221" y="2432635"/>
            <a:ext cx="2365054" cy="2365054"/>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spcAft>
                <a:spcPts val="600"/>
              </a:spcAft>
              <a:defRPr/>
            </a:pPr>
            <a:r>
              <a:rPr lang="en-US" sz="1600" noProof="0" dirty="0"/>
              <a:t>Poor linear growth</a:t>
            </a:r>
            <a:endParaRPr lang="en-US" sz="1600" baseline="30000" noProof="0" dirty="0"/>
          </a:p>
          <a:p>
            <a:pPr lvl="0" algn="ctr" fontAlgn="base">
              <a:spcAft>
                <a:spcPts val="600"/>
              </a:spcAft>
              <a:defRPr/>
            </a:pPr>
            <a:r>
              <a:rPr lang="en-US" sz="1600" noProof="0" dirty="0"/>
              <a:t>Short stature and/or hypogonadism</a:t>
            </a:r>
            <a:endParaRPr lang="en-US" sz="1600" baseline="30000" noProof="0" dirty="0"/>
          </a:p>
        </p:txBody>
      </p:sp>
      <p:sp>
        <p:nvSpPr>
          <p:cNvPr id="36" name="Oval 35">
            <a:extLst>
              <a:ext uri="{FF2B5EF4-FFF2-40B4-BE49-F238E27FC236}">
                <a16:creationId xmlns:a16="http://schemas.microsoft.com/office/drawing/2014/main" id="{D5AE8FD5-138A-418A-8563-2FB28D410638}"/>
              </a:ext>
            </a:extLst>
          </p:cNvPr>
          <p:cNvSpPr/>
          <p:nvPr/>
        </p:nvSpPr>
        <p:spPr>
          <a:xfrm>
            <a:off x="9096855" y="4441469"/>
            <a:ext cx="1283968" cy="1283968"/>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fontAlgn="base">
              <a:spcBef>
                <a:spcPct val="50000"/>
              </a:spcBef>
              <a:spcAft>
                <a:spcPct val="0"/>
              </a:spcAft>
              <a:defRPr sz="1200" b="1" i="0" u="none" strike="noStrike" kern="1200" baseline="0">
                <a:solidFill>
                  <a:srgbClr val="001965"/>
                </a:solidFill>
                <a:latin typeface="+mn-lt"/>
                <a:ea typeface="+mn-ea"/>
                <a:cs typeface="+mn-cs"/>
              </a:defRPr>
            </a:pPr>
            <a:endParaRPr lang="en-US" sz="2400" b="1" baseline="30000" noProof="0" dirty="0">
              <a:solidFill>
                <a:srgbClr val="FFFFFF"/>
              </a:solidFill>
            </a:endParaRPr>
          </a:p>
        </p:txBody>
      </p:sp>
      <p:pic>
        <p:nvPicPr>
          <p:cNvPr id="38" name="Graphic 37">
            <a:extLst>
              <a:ext uri="{FF2B5EF4-FFF2-40B4-BE49-F238E27FC236}">
                <a16:creationId xmlns:a16="http://schemas.microsoft.com/office/drawing/2014/main" id="{FF90CDEE-B6CD-F8FB-CE10-62C4F7035191}"/>
              </a:ext>
            </a:extLst>
          </p:cNvPr>
          <p:cNvPicPr>
            <a:picLocks noChangeAspect="1"/>
          </p:cNvPicPr>
          <p:nvPr/>
        </p:nvPicPr>
        <p:blipFill>
          <a:blip r:embed="rId5">
            <a:extLst>
              <a:ext uri="{96DAC541-7B7A-43D3-8B79-37D633B846F1}">
                <asvg:svgBlip xmlns:asvg="http://schemas.microsoft.com/office/drawing/2016/SVG/main" r:embed="rId6"/>
              </a:ext>
            </a:extLst>
          </a:blip>
          <a:srcRect l="23" r="23"/>
          <a:stretch/>
        </p:blipFill>
        <p:spPr>
          <a:xfrm>
            <a:off x="9249326" y="4596146"/>
            <a:ext cx="1010072" cy="1010542"/>
          </a:xfrm>
          <a:prstGeom prst="rect">
            <a:avLst/>
          </a:prstGeom>
        </p:spPr>
      </p:pic>
    </p:spTree>
    <p:extLst>
      <p:ext uri="{BB962C8B-B14F-4D97-AF65-F5344CB8AC3E}">
        <p14:creationId xmlns:p14="http://schemas.microsoft.com/office/powerpoint/2010/main" val="4180816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F2875404-BC52-1CA9-706E-5607AD7E9280}"/>
              </a:ext>
            </a:extLst>
          </p:cNvPr>
          <p:cNvSpPr/>
          <p:nvPr/>
        </p:nvSpPr>
        <p:spPr>
          <a:xfrm>
            <a:off x="647701" y="1747585"/>
            <a:ext cx="7764779" cy="1224167"/>
          </a:xfrm>
          <a:prstGeom prst="roundRect">
            <a:avLst>
              <a:gd name="adj" fmla="val 50000"/>
            </a:avLst>
          </a:prstGeom>
          <a:solidFill>
            <a:schemeClr val="bg1">
              <a:lumMod val="95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822960" rIns="182880" rtlCol="0" anchor="ctr"/>
          <a:lstStyle/>
          <a:p>
            <a:pPr marL="232817" marR="0" lvl="0" indent="0" algn="l" defTabSz="1219139"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tx1"/>
                </a:solidFill>
                <a:effectLst/>
                <a:uLnTx/>
                <a:uFillTx/>
                <a:ea typeface="+mn-ea"/>
                <a:cs typeface="+mn-cs"/>
              </a:rPr>
              <a:t>Diet, lifestyle, </a:t>
            </a:r>
            <a:r>
              <a:rPr kumimoji="0" lang="en-US" sz="2400" i="0" u="none" strike="noStrike" kern="1200" cap="none" spc="0" normalizeH="0" baseline="0" noProof="0" dirty="0">
                <a:ln>
                  <a:noFill/>
                </a:ln>
                <a:solidFill>
                  <a:schemeClr val="tx1"/>
                </a:solidFill>
                <a:effectLst/>
                <a:uLnTx/>
                <a:uFillTx/>
                <a:ea typeface="+mn-ea"/>
                <a:cs typeface="+mn-cs"/>
              </a:rPr>
              <a:t>&amp; </a:t>
            </a:r>
            <a:r>
              <a:rPr kumimoji="0" lang="en-US" sz="2400" b="0" i="0" u="none" strike="noStrike" kern="1200" cap="none" spc="0" normalizeH="0" baseline="0" noProof="0" dirty="0">
                <a:ln>
                  <a:noFill/>
                </a:ln>
                <a:solidFill>
                  <a:schemeClr val="tx1"/>
                </a:solidFill>
                <a:effectLst/>
                <a:uLnTx/>
                <a:uFillTx/>
                <a:ea typeface="+mn-ea"/>
                <a:cs typeface="+mn-cs"/>
              </a:rPr>
              <a:t>behavioral interventions</a:t>
            </a:r>
            <a:r>
              <a:rPr kumimoji="0" lang="en-US" sz="2400" b="0" i="0" u="none" strike="noStrike" kern="1200" cap="none" spc="0" normalizeH="0" baseline="30000" noProof="0" dirty="0">
                <a:ln>
                  <a:noFill/>
                </a:ln>
                <a:solidFill>
                  <a:schemeClr val="tx1"/>
                </a:solidFill>
                <a:effectLst/>
                <a:uLnTx/>
                <a:uFillTx/>
                <a:ea typeface="+mn-ea"/>
                <a:cs typeface="+mn-cs"/>
              </a:rPr>
              <a:t>1–3</a:t>
            </a:r>
          </a:p>
        </p:txBody>
      </p:sp>
      <p:sp>
        <p:nvSpPr>
          <p:cNvPr id="9" name="Rectangle 8">
            <a:extLst>
              <a:ext uri="{FF2B5EF4-FFF2-40B4-BE49-F238E27FC236}">
                <a16:creationId xmlns:a16="http://schemas.microsoft.com/office/drawing/2014/main" id="{BBC57B0C-3C94-450D-7201-770C7DBA873E}"/>
              </a:ext>
            </a:extLst>
          </p:cNvPr>
          <p:cNvSpPr/>
          <p:nvPr/>
        </p:nvSpPr>
        <p:spPr>
          <a:xfrm>
            <a:off x="1" y="1747585"/>
            <a:ext cx="1541640" cy="1224167"/>
          </a:xfrm>
          <a:prstGeom prst="rect">
            <a:avLst/>
          </a:prstGeom>
          <a:solidFill>
            <a:schemeClr val="tx1"/>
          </a:solidFill>
          <a:ln w="12700" cap="flat" cmpd="sng" algn="ctr">
            <a:noFill/>
            <a:prstDash val="solid"/>
            <a:round/>
            <a:headEnd type="none" w="med" len="med"/>
            <a:tailEnd type="none" w="med" len="med"/>
          </a:ln>
          <a:effectLst/>
        </p:spPr>
        <p:style>
          <a:lnRef idx="2">
            <a:scrgbClr r="0" g="0" b="0"/>
          </a:lnRef>
          <a:fillRef idx="1">
            <a:scrgbClr r="0" g="0" b="0"/>
          </a:fillRef>
          <a:effectRef idx="0">
            <a:scrgbClr r="0" g="0" b="0"/>
          </a:effectRef>
          <a:fontRef idx="minor">
            <a:schemeClr val="lt1"/>
          </a:fontRef>
        </p:style>
        <p:txBody>
          <a:bodyPr spcFirstLastPara="0" vert="horz" wrap="square" lIns="267929" tIns="267905" rIns="267929" bIns="267905" numCol="1" spcCol="1270" anchor="ctr" anchorCtr="0">
            <a:noAutofit/>
          </a:bodyPr>
          <a:lstStyle/>
          <a:p>
            <a:pPr marL="0" marR="0" lvl="0" indent="0" algn="ctr" defTabSz="533361" rtl="0" eaLnBrk="1" fontAlgn="base" latinLnBrk="0" hangingPunct="1">
              <a:lnSpc>
                <a:spcPct val="90000"/>
              </a:lnSpc>
              <a:spcBef>
                <a:spcPct val="0"/>
              </a:spcBef>
              <a:spcAft>
                <a:spcPct val="35000"/>
              </a:spcAft>
              <a:buClrTx/>
              <a:buSzTx/>
              <a:buFontTx/>
              <a:buNone/>
              <a:tabLst/>
              <a:defRPr/>
            </a:pPr>
            <a:endParaRPr kumimoji="0" lang="en-US" sz="1401" b="1" i="0" u="none" strike="noStrike" kern="1200" cap="none" spc="0" normalizeH="0" baseline="0" noProof="0" dirty="0">
              <a:ln>
                <a:noFill/>
              </a:ln>
              <a:solidFill>
                <a:srgbClr val="FFFFFF"/>
              </a:solidFill>
              <a:effectLst/>
              <a:uLnTx/>
              <a:uFillTx/>
              <a:latin typeface="Verdana"/>
              <a:ea typeface="+mn-ea"/>
              <a:cs typeface="+mn-cs"/>
            </a:endParaRPr>
          </a:p>
        </p:txBody>
      </p:sp>
      <p:sp>
        <p:nvSpPr>
          <p:cNvPr id="2" name="Title 1">
            <a:extLst>
              <a:ext uri="{FF2B5EF4-FFF2-40B4-BE49-F238E27FC236}">
                <a16:creationId xmlns:a16="http://schemas.microsoft.com/office/drawing/2014/main" id="{39572FCE-8AAF-8087-71A5-6EE9ED611322}"/>
              </a:ext>
            </a:extLst>
          </p:cNvPr>
          <p:cNvSpPr>
            <a:spLocks noGrp="1"/>
          </p:cNvSpPr>
          <p:nvPr>
            <p:ph type="title"/>
          </p:nvPr>
        </p:nvSpPr>
        <p:spPr>
          <a:xfrm>
            <a:off x="536240" y="414320"/>
            <a:ext cx="10896000" cy="1082209"/>
          </a:xfrm>
        </p:spPr>
        <p:txBody>
          <a:bodyPr/>
          <a:lstStyle/>
          <a:p>
            <a:r>
              <a:rPr lang="en-US" noProof="0" dirty="0"/>
              <a:t>Obesity treatment options for children</a:t>
            </a:r>
          </a:p>
        </p:txBody>
      </p:sp>
      <p:sp>
        <p:nvSpPr>
          <p:cNvPr id="3" name="Text Placeholder 2">
            <a:extLst>
              <a:ext uri="{FF2B5EF4-FFF2-40B4-BE49-F238E27FC236}">
                <a16:creationId xmlns:a16="http://schemas.microsoft.com/office/drawing/2014/main" id="{D7E9531E-6CA6-866E-833D-32FE70D5307B}"/>
              </a:ext>
            </a:extLst>
          </p:cNvPr>
          <p:cNvSpPr>
            <a:spLocks noGrp="1"/>
          </p:cNvSpPr>
          <p:nvPr>
            <p:ph type="body" sz="quarter" idx="13"/>
          </p:nvPr>
        </p:nvSpPr>
        <p:spPr>
          <a:xfrm>
            <a:off x="536240" y="5837382"/>
            <a:ext cx="10896000" cy="506678"/>
          </a:xfrm>
        </p:spPr>
        <p:txBody>
          <a:bodyPr/>
          <a:lstStyle/>
          <a:p>
            <a:r>
              <a:rPr lang="en-US" dirty="0"/>
              <a:t>*Phentermine and topiramate extended-release capsules are approved for patients aged ≥12 with a BMI in the 95th percentile or greater when standardized for age and sex. </a:t>
            </a:r>
            <a:br>
              <a:rPr lang="en-US" dirty="0"/>
            </a:br>
            <a:r>
              <a:rPr lang="en-US" noProof="0" dirty="0"/>
              <a:t>LAGB, laparoscopic adjustable gastric banding; RYGB, Roux-en-Y gastric bypass.</a:t>
            </a:r>
            <a:br>
              <a:rPr lang="en-US" noProof="0" dirty="0"/>
            </a:br>
            <a:r>
              <a:rPr lang="en-US" noProof="0" dirty="0"/>
              <a:t>1. Fitch A et al. Institute for Clinical Systems Improvement 2013:2022-04; 2. Hampl SE et al. Pediatrics 2023;151:e2022060640; 3. Weghuber D et al. N Engl J Med 2022;387:2245–2257; </a:t>
            </a:r>
            <a:br>
              <a:rPr lang="en-US" noProof="0" dirty="0"/>
            </a:br>
            <a:r>
              <a:rPr lang="en-US" noProof="0" dirty="0"/>
              <a:t>please see slide notes for references 4–8 (prescribing information). </a:t>
            </a:r>
          </a:p>
        </p:txBody>
      </p:sp>
      <p:sp>
        <p:nvSpPr>
          <p:cNvPr id="4" name="Rectangle: Rounded Corners 3">
            <a:extLst>
              <a:ext uri="{FF2B5EF4-FFF2-40B4-BE49-F238E27FC236}">
                <a16:creationId xmlns:a16="http://schemas.microsoft.com/office/drawing/2014/main" id="{BEAAAAB5-B9CC-C08E-9276-3FEC55F32D65}"/>
              </a:ext>
            </a:extLst>
          </p:cNvPr>
          <p:cNvSpPr/>
          <p:nvPr/>
        </p:nvSpPr>
        <p:spPr>
          <a:xfrm>
            <a:off x="647701" y="4416793"/>
            <a:ext cx="7764779" cy="1224167"/>
          </a:xfrm>
          <a:prstGeom prst="roundRect">
            <a:avLst>
              <a:gd name="adj" fmla="val 50000"/>
            </a:avLst>
          </a:prstGeom>
          <a:solidFill>
            <a:schemeClr val="bg1">
              <a:lumMod val="95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822960" rIns="182880" rtlCol="0" anchor="ctr"/>
          <a:lstStyle/>
          <a:p>
            <a:pPr marL="232817" marR="0" lvl="0" indent="0" algn="l" defTabSz="1219139" rtl="0" eaLnBrk="1" fontAlgn="base" latinLnBrk="0" hangingPunct="1">
              <a:lnSpc>
                <a:spcPct val="100000"/>
              </a:lnSpc>
              <a:spcBef>
                <a:spcPct val="0"/>
              </a:spcBef>
              <a:spcAft>
                <a:spcPct val="0"/>
              </a:spcAft>
              <a:buClrTx/>
              <a:buSzTx/>
              <a:buFontTx/>
              <a:buNone/>
              <a:tabLst/>
              <a:defRPr/>
            </a:pPr>
            <a:r>
              <a:rPr kumimoji="0" lang="en-US" sz="2400" i="0" u="none" strike="noStrike" kern="1200" cap="none" spc="0" normalizeH="0" baseline="0" noProof="0" dirty="0">
                <a:ln>
                  <a:noFill/>
                </a:ln>
                <a:solidFill>
                  <a:schemeClr val="tx1"/>
                </a:solidFill>
                <a:effectLst/>
                <a:uLnTx/>
                <a:uFillTx/>
                <a:ea typeface="+mn-ea"/>
                <a:cs typeface="+mn-cs"/>
              </a:rPr>
              <a:t>RYGB, LAGB sleeve gastrectomy</a:t>
            </a:r>
            <a:r>
              <a:rPr kumimoji="0" lang="en-US" sz="2400" i="0" u="none" strike="noStrike" kern="1200" cap="none" spc="0" normalizeH="0" baseline="30000" noProof="0" dirty="0">
                <a:ln>
                  <a:noFill/>
                </a:ln>
                <a:solidFill>
                  <a:schemeClr val="tx1"/>
                </a:solidFill>
                <a:effectLst/>
                <a:uLnTx/>
                <a:uFillTx/>
                <a:ea typeface="+mn-ea"/>
                <a:cs typeface="+mn-cs"/>
              </a:rPr>
              <a:t>1,2</a:t>
            </a:r>
            <a:r>
              <a:rPr kumimoji="0" lang="en-US" sz="2400" i="0" u="none" strike="noStrike" kern="1200" cap="none" spc="0" normalizeH="0" baseline="0" noProof="0" dirty="0">
                <a:ln>
                  <a:noFill/>
                </a:ln>
                <a:solidFill>
                  <a:schemeClr val="tx1"/>
                </a:solidFill>
                <a:effectLst/>
                <a:uLnTx/>
                <a:uFillTx/>
                <a:ea typeface="+mn-ea"/>
                <a:cs typeface="+mn-cs"/>
              </a:rPr>
              <a:t> </a:t>
            </a:r>
          </a:p>
        </p:txBody>
      </p:sp>
      <p:sp>
        <p:nvSpPr>
          <p:cNvPr id="7" name="Rectangle 6">
            <a:extLst>
              <a:ext uri="{FF2B5EF4-FFF2-40B4-BE49-F238E27FC236}">
                <a16:creationId xmlns:a16="http://schemas.microsoft.com/office/drawing/2014/main" id="{5B9BEE4C-2042-0FEA-FBB6-B263E798FBD2}"/>
              </a:ext>
            </a:extLst>
          </p:cNvPr>
          <p:cNvSpPr/>
          <p:nvPr/>
        </p:nvSpPr>
        <p:spPr>
          <a:xfrm>
            <a:off x="1" y="4416792"/>
            <a:ext cx="1541640" cy="1224168"/>
          </a:xfrm>
          <a:prstGeom prst="rect">
            <a:avLst/>
          </a:prstGeom>
          <a:solidFill>
            <a:schemeClr val="tx1"/>
          </a:solidFill>
          <a:ln w="12700" cap="flat" cmpd="sng" algn="ctr">
            <a:noFill/>
            <a:prstDash val="solid"/>
            <a:round/>
            <a:headEnd type="none" w="med" len="med"/>
            <a:tailEnd type="none" w="med" len="med"/>
          </a:ln>
          <a:effectLst/>
        </p:spPr>
        <p:style>
          <a:lnRef idx="2">
            <a:scrgbClr r="0" g="0" b="0"/>
          </a:lnRef>
          <a:fillRef idx="1">
            <a:scrgbClr r="0" g="0" b="0"/>
          </a:fillRef>
          <a:effectRef idx="0">
            <a:scrgbClr r="0" g="0" b="0"/>
          </a:effectRef>
          <a:fontRef idx="minor">
            <a:schemeClr val="lt1"/>
          </a:fontRef>
        </p:style>
        <p:txBody>
          <a:bodyPr spcFirstLastPara="0" vert="horz" wrap="none" lIns="267929" tIns="267905" rIns="267929" bIns="267905" numCol="1" spcCol="1270" anchor="ctr" anchorCtr="0">
            <a:noAutofit/>
          </a:bodyPr>
          <a:lstStyle/>
          <a:p>
            <a:pPr marL="0" marR="0" lvl="0" indent="0" algn="ctr" defTabSz="533361" rtl="0" eaLnBrk="1" fontAlgn="base" latinLnBrk="0" hangingPunct="1">
              <a:lnSpc>
                <a:spcPct val="90000"/>
              </a:lnSpc>
              <a:spcBef>
                <a:spcPct val="0"/>
              </a:spcBef>
              <a:spcAft>
                <a:spcPct val="35000"/>
              </a:spcAft>
              <a:buClrTx/>
              <a:buSzTx/>
              <a:buFontTx/>
              <a:buNone/>
              <a:tabLst/>
              <a:defRPr/>
            </a:pPr>
            <a:endParaRPr kumimoji="0" lang="en-US" sz="3200" b="1" i="0" u="none" strike="noStrike" kern="1200" cap="none" spc="0" normalizeH="0" baseline="0" noProof="0" dirty="0">
              <a:ln>
                <a:noFill/>
              </a:ln>
              <a:solidFill>
                <a:srgbClr val="FFFFFF">
                  <a:lumMod val="100000"/>
                </a:srgbClr>
              </a:solidFill>
              <a:effectLst/>
              <a:uLnTx/>
              <a:uFillTx/>
              <a:latin typeface="Apis For Office"/>
              <a:ea typeface="+mn-ea"/>
              <a:cs typeface="+mn-cs"/>
            </a:endParaRPr>
          </a:p>
        </p:txBody>
      </p:sp>
      <p:sp>
        <p:nvSpPr>
          <p:cNvPr id="5" name="Rectangle: Rounded Corners 4">
            <a:extLst>
              <a:ext uri="{FF2B5EF4-FFF2-40B4-BE49-F238E27FC236}">
                <a16:creationId xmlns:a16="http://schemas.microsoft.com/office/drawing/2014/main" id="{A3B94ADF-4008-1DCA-B17D-78EA53AD944E}"/>
              </a:ext>
            </a:extLst>
          </p:cNvPr>
          <p:cNvSpPr/>
          <p:nvPr/>
        </p:nvSpPr>
        <p:spPr>
          <a:xfrm>
            <a:off x="647701" y="2994917"/>
            <a:ext cx="7764779" cy="1388724"/>
          </a:xfrm>
          <a:prstGeom prst="roundRect">
            <a:avLst>
              <a:gd name="adj" fmla="val 50000"/>
            </a:avLst>
          </a:prstGeom>
          <a:solidFill>
            <a:schemeClr val="bg1">
              <a:lumMod val="95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822960" rIns="182880" numCol="1" rtlCol="0" anchor="ctr"/>
          <a:lstStyle/>
          <a:p>
            <a:pPr marL="232817" marR="0" lvl="0" indent="0" algn="l" defTabSz="1219139" rtl="0" eaLnBrk="1" fontAlgn="base" latinLnBrk="0" hangingPunct="1">
              <a:lnSpc>
                <a:spcPct val="100000"/>
              </a:lnSpc>
              <a:spcBef>
                <a:spcPct val="0"/>
              </a:spcBef>
              <a:spcAft>
                <a:spcPct val="0"/>
              </a:spcAft>
              <a:buClrTx/>
              <a:buSzTx/>
              <a:buFontTx/>
              <a:buNone/>
              <a:tabLst/>
              <a:defRPr/>
            </a:pPr>
            <a:r>
              <a:rPr kumimoji="0" lang="en-US" sz="2400" i="0" u="none" strike="noStrike" kern="1200" cap="none" spc="0" normalizeH="0" baseline="0" noProof="0" dirty="0">
                <a:ln>
                  <a:noFill/>
                </a:ln>
                <a:solidFill>
                  <a:schemeClr val="tx1"/>
                </a:solidFill>
                <a:effectLst/>
                <a:uLnTx/>
                <a:uFillTx/>
                <a:ea typeface="+mn-ea"/>
                <a:cs typeface="+mn-cs"/>
              </a:rPr>
              <a:t>Pharmacotherapy options are limited </a:t>
            </a:r>
            <a:r>
              <a:rPr lang="en-US" sz="2400" noProof="0" dirty="0">
                <a:solidFill>
                  <a:schemeClr val="tx1"/>
                </a:solidFill>
              </a:rPr>
              <a:t>to </a:t>
            </a:r>
            <a:br>
              <a:rPr lang="en-US" sz="2400" noProof="0" dirty="0">
                <a:solidFill>
                  <a:schemeClr val="tx1"/>
                </a:solidFill>
              </a:rPr>
            </a:br>
            <a:r>
              <a:rPr kumimoji="0" lang="en-US" sz="2400" i="0" u="none" strike="noStrike" kern="1200" cap="none" spc="0" normalizeH="0" baseline="0" noProof="0" dirty="0">
                <a:ln>
                  <a:noFill/>
                </a:ln>
                <a:solidFill>
                  <a:schemeClr val="tx1"/>
                </a:solidFill>
                <a:effectLst/>
                <a:uLnTx/>
                <a:uFillTx/>
                <a:ea typeface="+mn-ea"/>
                <a:cs typeface="+mn-cs"/>
              </a:rPr>
              <a:t>aged 12 years and older in the US</a:t>
            </a:r>
            <a:r>
              <a:rPr kumimoji="0" lang="en-US" sz="2400" i="0" u="none" strike="noStrike" kern="1200" cap="none" spc="0" normalizeH="0" baseline="30000" noProof="0" dirty="0">
                <a:ln>
                  <a:noFill/>
                </a:ln>
                <a:solidFill>
                  <a:schemeClr val="tx1"/>
                </a:solidFill>
                <a:effectLst/>
                <a:uLnTx/>
                <a:uFillTx/>
                <a:ea typeface="+mn-ea"/>
                <a:cs typeface="+mn-cs"/>
              </a:rPr>
              <a:t>*,</a:t>
            </a:r>
            <a:r>
              <a:rPr kumimoji="0" lang="en-US" sz="2400" b="0" i="0" u="none" strike="noStrike" kern="1200" cap="none" spc="0" normalizeH="0" baseline="30000" noProof="0" dirty="0">
                <a:ln>
                  <a:noFill/>
                </a:ln>
                <a:solidFill>
                  <a:schemeClr val="tx1"/>
                </a:solidFill>
                <a:effectLst/>
                <a:uLnTx/>
                <a:uFillTx/>
                <a:ea typeface="+mn-ea"/>
                <a:cs typeface="+mn-cs"/>
              </a:rPr>
              <a:t>1–8</a:t>
            </a:r>
            <a:endParaRPr kumimoji="0" lang="en-US" sz="2400" i="0" u="none" strike="noStrike" kern="1200" cap="none" spc="0" normalizeH="0" baseline="0" noProof="0" dirty="0">
              <a:ln>
                <a:noFill/>
              </a:ln>
              <a:solidFill>
                <a:schemeClr val="tx1"/>
              </a:solidFill>
              <a:effectLst/>
              <a:uLnTx/>
              <a:uFillTx/>
              <a:ea typeface="+mn-ea"/>
              <a:cs typeface="+mn-cs"/>
            </a:endParaRPr>
          </a:p>
        </p:txBody>
      </p:sp>
      <p:sp>
        <p:nvSpPr>
          <p:cNvPr id="8" name="Rectangle 7">
            <a:extLst>
              <a:ext uri="{FF2B5EF4-FFF2-40B4-BE49-F238E27FC236}">
                <a16:creationId xmlns:a16="http://schemas.microsoft.com/office/drawing/2014/main" id="{36E52F80-2C2A-03F0-4E15-A9C3316A544D}"/>
              </a:ext>
            </a:extLst>
          </p:cNvPr>
          <p:cNvSpPr/>
          <p:nvPr/>
        </p:nvSpPr>
        <p:spPr>
          <a:xfrm>
            <a:off x="1" y="2999910"/>
            <a:ext cx="1541640" cy="1388724"/>
          </a:xfrm>
          <a:prstGeom prst="rect">
            <a:avLst/>
          </a:prstGeom>
          <a:solidFill>
            <a:schemeClr val="tx1"/>
          </a:solidFill>
          <a:ln w="12700" cap="flat" cmpd="sng" algn="ctr">
            <a:noFill/>
            <a:prstDash val="solid"/>
            <a:round/>
            <a:headEnd type="none" w="med" len="med"/>
            <a:tailEnd type="none" w="med" len="med"/>
          </a:ln>
          <a:effectLst/>
        </p:spPr>
        <p:style>
          <a:lnRef idx="2">
            <a:scrgbClr r="0" g="0" b="0"/>
          </a:lnRef>
          <a:fillRef idx="1">
            <a:scrgbClr r="0" g="0" b="0"/>
          </a:fillRef>
          <a:effectRef idx="0">
            <a:scrgbClr r="0" g="0" b="0"/>
          </a:effectRef>
          <a:fontRef idx="minor">
            <a:schemeClr val="lt1"/>
          </a:fontRef>
        </p:style>
        <p:txBody>
          <a:bodyPr spcFirstLastPara="0" vert="horz" wrap="square" lIns="267929" tIns="267905" rIns="267929" bIns="267905" numCol="1" spcCol="1270" anchor="ctr" anchorCtr="0">
            <a:noAutofit/>
          </a:bodyPr>
          <a:lstStyle/>
          <a:p>
            <a:pPr marL="0" marR="0" lvl="0" indent="0" algn="ctr" defTabSz="533361" rtl="0" eaLnBrk="1" fontAlgn="base" latinLnBrk="0" hangingPunct="1">
              <a:lnSpc>
                <a:spcPct val="90000"/>
              </a:lnSpc>
              <a:spcBef>
                <a:spcPct val="0"/>
              </a:spcBef>
              <a:spcAft>
                <a:spcPct val="35000"/>
              </a:spcAft>
              <a:buClrTx/>
              <a:buSzTx/>
              <a:buFontTx/>
              <a:buNone/>
              <a:tabLst/>
              <a:defRPr/>
            </a:pPr>
            <a:endParaRPr kumimoji="0" lang="en-US" sz="1401" b="1" i="0" u="none" strike="noStrike" kern="1200" cap="none" spc="0" normalizeH="0" baseline="0" noProof="0" dirty="0">
              <a:ln>
                <a:noFill/>
              </a:ln>
              <a:solidFill>
                <a:srgbClr val="FFFFFF"/>
              </a:solidFill>
              <a:effectLst/>
              <a:uLnTx/>
              <a:uFillTx/>
              <a:latin typeface="Verdana"/>
              <a:ea typeface="+mn-ea"/>
              <a:cs typeface="+mn-cs"/>
            </a:endParaRPr>
          </a:p>
        </p:txBody>
      </p:sp>
      <p:pic>
        <p:nvPicPr>
          <p:cNvPr id="44" name="Graphic 43">
            <a:extLst>
              <a:ext uri="{FF2B5EF4-FFF2-40B4-BE49-F238E27FC236}">
                <a16:creationId xmlns:a16="http://schemas.microsoft.com/office/drawing/2014/main" id="{EB770D15-0948-1A71-32B5-F64BF908BF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222" y="3383944"/>
            <a:ext cx="666466" cy="666465"/>
          </a:xfrm>
          <a:prstGeom prst="rect">
            <a:avLst/>
          </a:prstGeom>
        </p:spPr>
      </p:pic>
      <p:pic>
        <p:nvPicPr>
          <p:cNvPr id="45" name="Graphic 44">
            <a:extLst>
              <a:ext uri="{FF2B5EF4-FFF2-40B4-BE49-F238E27FC236}">
                <a16:creationId xmlns:a16="http://schemas.microsoft.com/office/drawing/2014/main" id="{A2E5ECB7-7C85-08A1-CD19-4C7C6DC9AD1C}"/>
              </a:ext>
            </a:extLst>
          </p:cNvPr>
          <p:cNvPicPr>
            <a:picLocks noChangeAspect="1"/>
          </p:cNvPicPr>
          <p:nvPr/>
        </p:nvPicPr>
        <p:blipFill>
          <a:blip r:embed="rId5">
            <a:extLst>
              <a:ext uri="{96DAC541-7B7A-43D3-8B79-37D633B846F1}">
                <asvg:svgBlip xmlns:asvg="http://schemas.microsoft.com/office/drawing/2016/SVG/main" r:embed="rId6"/>
              </a:ext>
            </a:extLst>
          </a:blip>
          <a:srcRect l="13" r="13"/>
          <a:stretch/>
        </p:blipFill>
        <p:spPr>
          <a:xfrm>
            <a:off x="747126" y="2036299"/>
            <a:ext cx="617480" cy="617640"/>
          </a:xfrm>
          <a:prstGeom prst="rect">
            <a:avLst/>
          </a:prstGeom>
        </p:spPr>
      </p:pic>
      <p:pic>
        <p:nvPicPr>
          <p:cNvPr id="46" name="Graphic 45">
            <a:extLst>
              <a:ext uri="{FF2B5EF4-FFF2-40B4-BE49-F238E27FC236}">
                <a16:creationId xmlns:a16="http://schemas.microsoft.com/office/drawing/2014/main" id="{F2F3F4D7-905D-D141-4783-6AB4E2996207}"/>
              </a:ext>
            </a:extLst>
          </p:cNvPr>
          <p:cNvPicPr>
            <a:picLocks noChangeAspect="1"/>
          </p:cNvPicPr>
          <p:nvPr/>
        </p:nvPicPr>
        <p:blipFill>
          <a:blip r:embed="rId7">
            <a:extLst>
              <a:ext uri="{96DAC541-7B7A-43D3-8B79-37D633B846F1}">
                <asvg:svgBlip xmlns:asvg="http://schemas.microsoft.com/office/drawing/2016/SVG/main" r:embed="rId8"/>
              </a:ext>
            </a:extLst>
          </a:blip>
          <a:srcRect l="19" r="19"/>
          <a:stretch/>
        </p:blipFill>
        <p:spPr>
          <a:xfrm>
            <a:off x="747126" y="4688059"/>
            <a:ext cx="617400" cy="617640"/>
          </a:xfrm>
          <a:prstGeom prst="rect">
            <a:avLst/>
          </a:prstGeom>
        </p:spPr>
      </p:pic>
    </p:spTree>
    <p:extLst>
      <p:ext uri="{BB962C8B-B14F-4D97-AF65-F5344CB8AC3E}">
        <p14:creationId xmlns:p14="http://schemas.microsoft.com/office/powerpoint/2010/main" val="3659737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A9E92102-FABE-FA04-0496-F1FEF1AD30EF}"/>
              </a:ext>
            </a:extLst>
          </p:cNvPr>
          <p:cNvSpPr/>
          <p:nvPr/>
        </p:nvSpPr>
        <p:spPr>
          <a:xfrm>
            <a:off x="-1" y="2324101"/>
            <a:ext cx="12192000" cy="30290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0" name="Oval 29">
            <a:extLst>
              <a:ext uri="{FF2B5EF4-FFF2-40B4-BE49-F238E27FC236}">
                <a16:creationId xmlns:a16="http://schemas.microsoft.com/office/drawing/2014/main" id="{BECECE91-5DC6-85CC-7145-FA8C214FC078}"/>
              </a:ext>
            </a:extLst>
          </p:cNvPr>
          <p:cNvSpPr/>
          <p:nvPr/>
        </p:nvSpPr>
        <p:spPr>
          <a:xfrm>
            <a:off x="4181475" y="1843512"/>
            <a:ext cx="3829050" cy="382905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fontAlgn="base">
              <a:spcBef>
                <a:spcPct val="50000"/>
              </a:spcBef>
              <a:spcAft>
                <a:spcPct val="0"/>
              </a:spcAft>
              <a:defRPr sz="1200" b="1" i="0" u="none" strike="noStrike" kern="1200" baseline="0">
                <a:solidFill>
                  <a:srgbClr val="001965"/>
                </a:solidFill>
                <a:latin typeface="+mn-lt"/>
                <a:ea typeface="+mn-ea"/>
                <a:cs typeface="+mn-cs"/>
              </a:defRPr>
            </a:pPr>
            <a:endParaRPr lang="en-US" sz="2400" b="1" noProof="0" dirty="0">
              <a:solidFill>
                <a:srgbClr val="FFFFFF"/>
              </a:solidFill>
            </a:endParaRPr>
          </a:p>
        </p:txBody>
      </p:sp>
      <p:sp>
        <p:nvSpPr>
          <p:cNvPr id="2" name="Title 1">
            <a:extLst>
              <a:ext uri="{FF2B5EF4-FFF2-40B4-BE49-F238E27FC236}">
                <a16:creationId xmlns:a16="http://schemas.microsoft.com/office/drawing/2014/main" id="{3E403C2F-2898-A80E-FEC9-48F10E76343E}"/>
              </a:ext>
            </a:extLst>
          </p:cNvPr>
          <p:cNvSpPr>
            <a:spLocks noGrp="1"/>
          </p:cNvSpPr>
          <p:nvPr>
            <p:ph type="title"/>
          </p:nvPr>
        </p:nvSpPr>
        <p:spPr>
          <a:xfrm>
            <a:off x="536240" y="414320"/>
            <a:ext cx="10896000" cy="1082209"/>
          </a:xfrm>
        </p:spPr>
        <p:txBody>
          <a:bodyPr>
            <a:normAutofit/>
          </a:bodyPr>
          <a:lstStyle/>
          <a:p>
            <a:r>
              <a:rPr lang="en-US" noProof="0" dirty="0"/>
              <a:t>Multicomponent lifestyle and dietary interventions </a:t>
            </a:r>
            <a:br>
              <a:rPr lang="en-US" noProof="0" dirty="0"/>
            </a:br>
            <a:r>
              <a:rPr lang="en-US" noProof="0" dirty="0"/>
              <a:t>in children aged 2 years and older with obesity</a:t>
            </a:r>
            <a:r>
              <a:rPr lang="en-US" baseline="30000" noProof="0" dirty="0"/>
              <a:t>1–3</a:t>
            </a:r>
          </a:p>
        </p:txBody>
      </p:sp>
      <p:sp>
        <p:nvSpPr>
          <p:cNvPr id="3" name="Text Placeholder 2">
            <a:extLst>
              <a:ext uri="{FF2B5EF4-FFF2-40B4-BE49-F238E27FC236}">
                <a16:creationId xmlns:a16="http://schemas.microsoft.com/office/drawing/2014/main" id="{96BC6CE8-B960-BA7C-2110-1F9DDA067F60}"/>
              </a:ext>
            </a:extLst>
          </p:cNvPr>
          <p:cNvSpPr>
            <a:spLocks noGrp="1"/>
          </p:cNvSpPr>
          <p:nvPr>
            <p:ph type="body" sz="quarter" idx="13"/>
          </p:nvPr>
        </p:nvSpPr>
        <p:spPr>
          <a:xfrm>
            <a:off x="536240" y="6020060"/>
            <a:ext cx="10896000" cy="324000"/>
          </a:xfrm>
        </p:spPr>
        <p:txBody>
          <a:bodyPr/>
          <a:lstStyle/>
          <a:p>
            <a:r>
              <a:rPr lang="en-US" noProof="0" dirty="0"/>
              <a:t>1. National Institute for Healt</a:t>
            </a:r>
            <a:r>
              <a:rPr lang="en-US" dirty="0"/>
              <a:t>h and Care Excellence. </a:t>
            </a:r>
            <a:r>
              <a:rPr lang="en-US" noProof="0" dirty="0"/>
              <a:t>NICE guideline: Overweight and obesity </a:t>
            </a:r>
            <a:r>
              <a:rPr lang="en-US" dirty="0"/>
              <a:t>management (2025). </a:t>
            </a:r>
            <a:r>
              <a:rPr lang="en-US" dirty="0">
                <a:hlinkClick r:id="rId3"/>
              </a:rPr>
              <a:t>https://www.nice.org.uk/guidance/ng246</a:t>
            </a:r>
            <a:r>
              <a:rPr lang="en-US" dirty="0"/>
              <a:t>. Accessed October 2025; </a:t>
            </a:r>
            <a:r>
              <a:rPr lang="en-US" noProof="0" dirty="0"/>
              <a:t>2. Styne DM et al. J Clin Endocrinol Metab 2017;102:709–757; 3. Hampl SE et al. Pediatrics 2023;151:e2022060640.</a:t>
            </a:r>
          </a:p>
        </p:txBody>
      </p:sp>
      <p:sp>
        <p:nvSpPr>
          <p:cNvPr id="4" name="Rounded Rectangle 48">
            <a:extLst>
              <a:ext uri="{FF2B5EF4-FFF2-40B4-BE49-F238E27FC236}">
                <a16:creationId xmlns:a16="http://schemas.microsoft.com/office/drawing/2014/main" id="{8973D8F6-2FE2-BFCC-4403-5ED68181FE72}"/>
              </a:ext>
            </a:extLst>
          </p:cNvPr>
          <p:cNvSpPr/>
          <p:nvPr/>
        </p:nvSpPr>
        <p:spPr>
          <a:xfrm>
            <a:off x="533400" y="4080876"/>
            <a:ext cx="4062892" cy="1481724"/>
          </a:xfrm>
          <a:prstGeom prst="roundRect">
            <a:avLst>
              <a:gd name="adj" fmla="val 50000"/>
            </a:avLst>
          </a:prstGeom>
          <a:solidFill>
            <a:schemeClr val="accent2">
              <a:lumMod val="7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Physical activity</a:t>
            </a:r>
          </a:p>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and </a:t>
            </a:r>
            <a:br>
              <a:rPr lang="en-US" noProof="0" dirty="0">
                <a:solidFill>
                  <a:schemeClr val="bg1"/>
                </a:solidFill>
                <a:ea typeface="Apis For Office" panose="020B0504010101010104" pitchFamily="34" charset="0"/>
                <a:cs typeface="Apis For Office" panose="020B0504010101010104" pitchFamily="34" charset="0"/>
              </a:rPr>
            </a:br>
            <a:r>
              <a:rPr kumimoji="0" lang="en-US" sz="24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sedentary time</a:t>
            </a:r>
          </a:p>
        </p:txBody>
      </p:sp>
      <p:sp>
        <p:nvSpPr>
          <p:cNvPr id="5" name="Rounded Rectangle 70">
            <a:extLst>
              <a:ext uri="{FF2B5EF4-FFF2-40B4-BE49-F238E27FC236}">
                <a16:creationId xmlns:a16="http://schemas.microsoft.com/office/drawing/2014/main" id="{9B4DF016-ACB4-1E77-2059-96F9AE52D8AB}"/>
              </a:ext>
            </a:extLst>
          </p:cNvPr>
          <p:cNvSpPr/>
          <p:nvPr/>
        </p:nvSpPr>
        <p:spPr>
          <a:xfrm>
            <a:off x="7557608" y="4080877"/>
            <a:ext cx="4062892" cy="1481724"/>
          </a:xfrm>
          <a:prstGeom prst="roundRect">
            <a:avLst>
              <a:gd name="adj" fmla="val 50000"/>
            </a:avLst>
          </a:prstGeom>
          <a:solidFill>
            <a:schemeClr val="accent4"/>
          </a:solidFill>
          <a:ln w="9525">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1219139"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Family-centered interventions</a:t>
            </a:r>
          </a:p>
        </p:txBody>
      </p:sp>
      <p:sp>
        <p:nvSpPr>
          <p:cNvPr id="6" name="Rounded Rectangle 48">
            <a:extLst>
              <a:ext uri="{FF2B5EF4-FFF2-40B4-BE49-F238E27FC236}">
                <a16:creationId xmlns:a16="http://schemas.microsoft.com/office/drawing/2014/main" id="{E87DF444-DB81-BA86-702C-C9AC15C59AA4}"/>
              </a:ext>
            </a:extLst>
          </p:cNvPr>
          <p:cNvSpPr/>
          <p:nvPr/>
        </p:nvSpPr>
        <p:spPr>
          <a:xfrm>
            <a:off x="533400" y="2139383"/>
            <a:ext cx="4062892" cy="1481724"/>
          </a:xfrm>
          <a:prstGeom prst="roundRect">
            <a:avLst>
              <a:gd name="adj" fmla="val 50000"/>
            </a:avLst>
          </a:prstGeom>
          <a:solidFill>
            <a:schemeClr val="accent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Dietary</a:t>
            </a:r>
          </a:p>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interventions</a:t>
            </a:r>
            <a:endParaRPr kumimoji="0" lang="en-US" sz="2400" b="1"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endParaRPr>
          </a:p>
        </p:txBody>
      </p:sp>
      <p:sp>
        <p:nvSpPr>
          <p:cNvPr id="7" name="Rounded Rectangle 70">
            <a:extLst>
              <a:ext uri="{FF2B5EF4-FFF2-40B4-BE49-F238E27FC236}">
                <a16:creationId xmlns:a16="http://schemas.microsoft.com/office/drawing/2014/main" id="{45EAF406-02CB-6137-211C-3E0448138194}"/>
              </a:ext>
            </a:extLst>
          </p:cNvPr>
          <p:cNvSpPr/>
          <p:nvPr/>
        </p:nvSpPr>
        <p:spPr>
          <a:xfrm>
            <a:off x="7557608" y="2139384"/>
            <a:ext cx="4062892" cy="1481724"/>
          </a:xfrm>
          <a:prstGeom prst="roundRect">
            <a:avLst>
              <a:gd name="adj" fmla="val 50000"/>
            </a:avLst>
          </a:prstGeom>
          <a:solidFill>
            <a:schemeClr val="accent5">
              <a:lumMod val="75000"/>
            </a:schemeClr>
          </a:solidFill>
          <a:ln w="9525">
            <a:solidFill>
              <a:schemeClr val="accent5">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1219139"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Behavioral </a:t>
            </a:r>
            <a:br>
              <a:rPr kumimoji="0" lang="en-US" sz="24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US" sz="24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counseling</a:t>
            </a:r>
          </a:p>
        </p:txBody>
      </p:sp>
      <p:pic>
        <p:nvPicPr>
          <p:cNvPr id="33" name="Graphic 32">
            <a:extLst>
              <a:ext uri="{FF2B5EF4-FFF2-40B4-BE49-F238E27FC236}">
                <a16:creationId xmlns:a16="http://schemas.microsoft.com/office/drawing/2014/main" id="{56CC1413-790F-4212-68B1-10E7B8CB5D7B}"/>
              </a:ext>
            </a:extLst>
          </p:cNvPr>
          <p:cNvPicPr>
            <a:picLocks noChangeAspect="1"/>
          </p:cNvPicPr>
          <p:nvPr/>
        </p:nvPicPr>
        <p:blipFill>
          <a:blip r:embed="rId4">
            <a:extLst>
              <a:ext uri="{96DAC541-7B7A-43D3-8B79-37D633B846F1}">
                <asvg:svgBlip xmlns:asvg="http://schemas.microsoft.com/office/drawing/2016/SVG/main" r:embed="rId5"/>
              </a:ext>
            </a:extLst>
          </a:blip>
          <a:srcRect l="13" r="13"/>
          <a:stretch/>
        </p:blipFill>
        <p:spPr>
          <a:xfrm>
            <a:off x="640502" y="2530716"/>
            <a:ext cx="617480" cy="617640"/>
          </a:xfrm>
          <a:prstGeom prst="rect">
            <a:avLst/>
          </a:prstGeom>
        </p:spPr>
      </p:pic>
      <p:pic>
        <p:nvPicPr>
          <p:cNvPr id="35" name="Graphic 34">
            <a:extLst>
              <a:ext uri="{FF2B5EF4-FFF2-40B4-BE49-F238E27FC236}">
                <a16:creationId xmlns:a16="http://schemas.microsoft.com/office/drawing/2014/main" id="{48C58F71-79C9-C5C1-3FD8-181F2D4968F6}"/>
              </a:ext>
            </a:extLst>
          </p:cNvPr>
          <p:cNvPicPr>
            <a:picLocks noChangeAspect="1"/>
          </p:cNvPicPr>
          <p:nvPr/>
        </p:nvPicPr>
        <p:blipFill>
          <a:blip r:embed="rId6">
            <a:extLst>
              <a:ext uri="{96DAC541-7B7A-43D3-8B79-37D633B846F1}">
                <asvg:svgBlip xmlns:asvg="http://schemas.microsoft.com/office/drawing/2016/SVG/main" r:embed="rId7"/>
              </a:ext>
            </a:extLst>
          </a:blip>
          <a:srcRect l="19" r="19"/>
          <a:stretch/>
        </p:blipFill>
        <p:spPr>
          <a:xfrm>
            <a:off x="574246" y="4446636"/>
            <a:ext cx="749912" cy="750204"/>
          </a:xfrm>
          <a:prstGeom prst="rect">
            <a:avLst/>
          </a:prstGeom>
        </p:spPr>
      </p:pic>
      <p:pic>
        <p:nvPicPr>
          <p:cNvPr id="36" name="Graphic 35">
            <a:extLst>
              <a:ext uri="{FF2B5EF4-FFF2-40B4-BE49-F238E27FC236}">
                <a16:creationId xmlns:a16="http://schemas.microsoft.com/office/drawing/2014/main" id="{06D1E67C-8589-D1DC-D84C-179F8F40548F}"/>
              </a:ext>
            </a:extLst>
          </p:cNvPr>
          <p:cNvPicPr>
            <a:picLocks noChangeAspect="1"/>
          </p:cNvPicPr>
          <p:nvPr/>
        </p:nvPicPr>
        <p:blipFill>
          <a:blip r:embed="rId8">
            <a:extLst>
              <a:ext uri="{96DAC541-7B7A-43D3-8B79-37D633B846F1}">
                <asvg:svgBlip xmlns:asvg="http://schemas.microsoft.com/office/drawing/2016/SVG/main" r:embed="rId9"/>
              </a:ext>
            </a:extLst>
          </a:blip>
          <a:srcRect l="23" r="23"/>
          <a:stretch/>
        </p:blipFill>
        <p:spPr>
          <a:xfrm>
            <a:off x="10811189" y="4512918"/>
            <a:ext cx="617353" cy="617640"/>
          </a:xfrm>
          <a:prstGeom prst="rect">
            <a:avLst/>
          </a:prstGeom>
        </p:spPr>
      </p:pic>
      <p:pic>
        <p:nvPicPr>
          <p:cNvPr id="37" name="Graphic 36">
            <a:extLst>
              <a:ext uri="{FF2B5EF4-FFF2-40B4-BE49-F238E27FC236}">
                <a16:creationId xmlns:a16="http://schemas.microsoft.com/office/drawing/2014/main" id="{E2239148-2C1C-B796-BA8A-FDC43F9528DA}"/>
              </a:ext>
            </a:extLst>
          </p:cNvPr>
          <p:cNvPicPr>
            <a:picLocks noChangeAspect="1"/>
          </p:cNvPicPr>
          <p:nvPr/>
        </p:nvPicPr>
        <p:blipFill>
          <a:blip r:embed="rId10">
            <a:extLst>
              <a:ext uri="{96DAC541-7B7A-43D3-8B79-37D633B846F1}">
                <asvg:svgBlip xmlns:asvg="http://schemas.microsoft.com/office/drawing/2016/SVG/main" r:embed="rId11"/>
              </a:ext>
            </a:extLst>
          </a:blip>
          <a:srcRect l="25" r="25"/>
          <a:stretch/>
        </p:blipFill>
        <p:spPr>
          <a:xfrm>
            <a:off x="10739810" y="2531370"/>
            <a:ext cx="760094" cy="760470"/>
          </a:xfrm>
          <a:prstGeom prst="rect">
            <a:avLst/>
          </a:prstGeom>
        </p:spPr>
      </p:pic>
      <p:pic>
        <p:nvPicPr>
          <p:cNvPr id="38" name="Graphic 37">
            <a:extLst>
              <a:ext uri="{FF2B5EF4-FFF2-40B4-BE49-F238E27FC236}">
                <a16:creationId xmlns:a16="http://schemas.microsoft.com/office/drawing/2014/main" id="{BCA4CBEC-E8C8-5673-F9F8-7E85F805F8A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6200000">
            <a:off x="1455126" y="4265098"/>
            <a:ext cx="434634" cy="434634"/>
          </a:xfrm>
          <a:prstGeom prst="rect">
            <a:avLst/>
          </a:prstGeom>
        </p:spPr>
      </p:pic>
      <p:pic>
        <p:nvPicPr>
          <p:cNvPr id="39" name="Graphic 38">
            <a:extLst>
              <a:ext uri="{FF2B5EF4-FFF2-40B4-BE49-F238E27FC236}">
                <a16:creationId xmlns:a16="http://schemas.microsoft.com/office/drawing/2014/main" id="{F6179B0C-D7C1-AA33-0ECE-913B087C92D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5400000">
            <a:off x="1647665" y="4969352"/>
            <a:ext cx="434634" cy="434634"/>
          </a:xfrm>
          <a:prstGeom prst="rect">
            <a:avLst/>
          </a:prstGeom>
        </p:spPr>
      </p:pic>
      <p:grpSp>
        <p:nvGrpSpPr>
          <p:cNvPr id="41" name="Group 109">
            <a:extLst>
              <a:ext uri="{FF2B5EF4-FFF2-40B4-BE49-F238E27FC236}">
                <a16:creationId xmlns:a16="http://schemas.microsoft.com/office/drawing/2014/main" id="{3EB440E3-6A54-CF09-4A5E-A09CA8749585}"/>
              </a:ext>
            </a:extLst>
          </p:cNvPr>
          <p:cNvGrpSpPr>
            <a:grpSpLocks noChangeAspect="1"/>
          </p:cNvGrpSpPr>
          <p:nvPr/>
        </p:nvGrpSpPr>
        <p:grpSpPr bwMode="auto">
          <a:xfrm>
            <a:off x="5321462" y="2266951"/>
            <a:ext cx="1598150" cy="2907686"/>
            <a:chOff x="2287" y="548"/>
            <a:chExt cx="1185" cy="2156"/>
          </a:xfrm>
          <a:noFill/>
        </p:grpSpPr>
        <p:sp>
          <p:nvSpPr>
            <p:cNvPr id="42" name="Freeform 110">
              <a:extLst>
                <a:ext uri="{FF2B5EF4-FFF2-40B4-BE49-F238E27FC236}">
                  <a16:creationId xmlns:a16="http://schemas.microsoft.com/office/drawing/2014/main" id="{44965E74-76E5-F5C9-57F0-0CB364C4BEEF}"/>
                </a:ext>
              </a:extLst>
            </p:cNvPr>
            <p:cNvSpPr>
              <a:spLocks noEditPoints="1"/>
            </p:cNvSpPr>
            <p:nvPr/>
          </p:nvSpPr>
          <p:spPr bwMode="auto">
            <a:xfrm>
              <a:off x="2287" y="1002"/>
              <a:ext cx="1185" cy="1702"/>
            </a:xfrm>
            <a:custGeom>
              <a:avLst/>
              <a:gdLst>
                <a:gd name="T0" fmla="*/ 406 w 787"/>
                <a:gd name="T1" fmla="*/ 659 h 1134"/>
                <a:gd name="T2" fmla="*/ 381 w 787"/>
                <a:gd name="T3" fmla="*/ 659 h 1134"/>
                <a:gd name="T4" fmla="*/ 381 w 787"/>
                <a:gd name="T5" fmla="*/ 677 h 1134"/>
                <a:gd name="T6" fmla="*/ 381 w 787"/>
                <a:gd name="T7" fmla="*/ 1049 h 1134"/>
                <a:gd name="T8" fmla="*/ 292 w 787"/>
                <a:gd name="T9" fmla="*/ 1124 h 1134"/>
                <a:gd name="T10" fmla="*/ 230 w 787"/>
                <a:gd name="T11" fmla="*/ 1061 h 1134"/>
                <a:gd name="T12" fmla="*/ 169 w 787"/>
                <a:gd name="T13" fmla="*/ 734 h 1134"/>
                <a:gd name="T14" fmla="*/ 130 w 787"/>
                <a:gd name="T15" fmla="*/ 526 h 1134"/>
                <a:gd name="T16" fmla="*/ 125 w 787"/>
                <a:gd name="T17" fmla="*/ 519 h 1134"/>
                <a:gd name="T18" fmla="*/ 125 w 787"/>
                <a:gd name="T19" fmla="*/ 558 h 1134"/>
                <a:gd name="T20" fmla="*/ 86 w 787"/>
                <a:gd name="T21" fmla="*/ 614 h 1134"/>
                <a:gd name="T22" fmla="*/ 1 w 787"/>
                <a:gd name="T23" fmla="*/ 563 h 1134"/>
                <a:gd name="T24" fmla="*/ 58 w 787"/>
                <a:gd name="T25" fmla="*/ 196 h 1134"/>
                <a:gd name="T26" fmla="*/ 158 w 787"/>
                <a:gd name="T27" fmla="*/ 52 h 1134"/>
                <a:gd name="T28" fmla="*/ 296 w 787"/>
                <a:gd name="T29" fmla="*/ 5 h 1134"/>
                <a:gd name="T30" fmla="*/ 313 w 787"/>
                <a:gd name="T31" fmla="*/ 11 h 1134"/>
                <a:gd name="T32" fmla="*/ 463 w 787"/>
                <a:gd name="T33" fmla="*/ 15 h 1134"/>
                <a:gd name="T34" fmla="*/ 559 w 787"/>
                <a:gd name="T35" fmla="*/ 13 h 1134"/>
                <a:gd name="T36" fmla="*/ 695 w 787"/>
                <a:gd name="T37" fmla="*/ 128 h 1134"/>
                <a:gd name="T38" fmla="*/ 769 w 787"/>
                <a:gd name="T39" fmla="*/ 338 h 1134"/>
                <a:gd name="T40" fmla="*/ 787 w 787"/>
                <a:gd name="T41" fmla="*/ 556 h 1134"/>
                <a:gd name="T42" fmla="*/ 734 w 787"/>
                <a:gd name="T43" fmla="*/ 618 h 1134"/>
                <a:gd name="T44" fmla="*/ 665 w 787"/>
                <a:gd name="T45" fmla="*/ 574 h 1134"/>
                <a:gd name="T46" fmla="*/ 662 w 787"/>
                <a:gd name="T47" fmla="*/ 529 h 1134"/>
                <a:gd name="T48" fmla="*/ 659 w 787"/>
                <a:gd name="T49" fmla="*/ 516 h 1134"/>
                <a:gd name="T50" fmla="*/ 646 w 787"/>
                <a:gd name="T51" fmla="*/ 588 h 1134"/>
                <a:gd name="T52" fmla="*/ 592 w 787"/>
                <a:gd name="T53" fmla="*/ 875 h 1134"/>
                <a:gd name="T54" fmla="*/ 556 w 787"/>
                <a:gd name="T55" fmla="*/ 1072 h 1134"/>
                <a:gd name="T56" fmla="*/ 539 w 787"/>
                <a:gd name="T57" fmla="*/ 1103 h 1134"/>
                <a:gd name="T58" fmla="*/ 422 w 787"/>
                <a:gd name="T59" fmla="*/ 1101 h 1134"/>
                <a:gd name="T60" fmla="*/ 406 w 787"/>
                <a:gd name="T61" fmla="*/ 1060 h 1134"/>
                <a:gd name="T62" fmla="*/ 406 w 787"/>
                <a:gd name="T63" fmla="*/ 677 h 1134"/>
                <a:gd name="T64" fmla="*/ 406 w 787"/>
                <a:gd name="T65" fmla="*/ 659 h 1134"/>
                <a:gd name="T66" fmla="*/ 616 w 787"/>
                <a:gd name="T67" fmla="*/ 557 h 1134"/>
                <a:gd name="T68" fmla="*/ 637 w 787"/>
                <a:gd name="T69" fmla="*/ 311 h 1134"/>
                <a:gd name="T70" fmla="*/ 616 w 787"/>
                <a:gd name="T71" fmla="*/ 557 h 1134"/>
                <a:gd name="T72" fmla="*/ 167 w 787"/>
                <a:gd name="T73" fmla="*/ 554 h 1134"/>
                <a:gd name="T74" fmla="*/ 124 w 787"/>
                <a:gd name="T75" fmla="*/ 441 h 1134"/>
                <a:gd name="T76" fmla="*/ 144 w 787"/>
                <a:gd name="T77" fmla="*/ 321 h 1134"/>
                <a:gd name="T78" fmla="*/ 167 w 787"/>
                <a:gd name="T79" fmla="*/ 554 h 1134"/>
                <a:gd name="T80" fmla="*/ 627 w 787"/>
                <a:gd name="T81" fmla="*/ 300 h 1134"/>
                <a:gd name="T82" fmla="*/ 633 w 787"/>
                <a:gd name="T83" fmla="*/ 298 h 1134"/>
                <a:gd name="T84" fmla="*/ 603 w 787"/>
                <a:gd name="T85" fmla="*/ 218 h 1134"/>
                <a:gd name="T86" fmla="*/ 600 w 787"/>
                <a:gd name="T87" fmla="*/ 219 h 1134"/>
                <a:gd name="T88" fmla="*/ 611 w 787"/>
                <a:gd name="T89" fmla="*/ 260 h 1134"/>
                <a:gd name="T90" fmla="*/ 627 w 787"/>
                <a:gd name="T91" fmla="*/ 300 h 1134"/>
                <a:gd name="T92" fmla="*/ 186 w 787"/>
                <a:gd name="T93" fmla="*/ 226 h 1134"/>
                <a:gd name="T94" fmla="*/ 182 w 787"/>
                <a:gd name="T95" fmla="*/ 224 h 1134"/>
                <a:gd name="T96" fmla="*/ 154 w 787"/>
                <a:gd name="T97" fmla="*/ 298 h 1134"/>
                <a:gd name="T98" fmla="*/ 186 w 787"/>
                <a:gd name="T99" fmla="*/ 226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7" h="1134">
                  <a:moveTo>
                    <a:pt x="406" y="659"/>
                  </a:moveTo>
                  <a:cubicBezTo>
                    <a:pt x="397" y="659"/>
                    <a:pt x="390" y="659"/>
                    <a:pt x="381" y="659"/>
                  </a:cubicBezTo>
                  <a:cubicBezTo>
                    <a:pt x="381" y="665"/>
                    <a:pt x="381" y="671"/>
                    <a:pt x="381" y="677"/>
                  </a:cubicBezTo>
                  <a:cubicBezTo>
                    <a:pt x="381" y="801"/>
                    <a:pt x="381" y="925"/>
                    <a:pt x="381" y="1049"/>
                  </a:cubicBezTo>
                  <a:cubicBezTo>
                    <a:pt x="381" y="1102"/>
                    <a:pt x="343" y="1133"/>
                    <a:pt x="292" y="1124"/>
                  </a:cubicBezTo>
                  <a:cubicBezTo>
                    <a:pt x="255" y="1118"/>
                    <a:pt x="238" y="1099"/>
                    <a:pt x="230" y="1061"/>
                  </a:cubicBezTo>
                  <a:cubicBezTo>
                    <a:pt x="210" y="952"/>
                    <a:pt x="189" y="843"/>
                    <a:pt x="169" y="734"/>
                  </a:cubicBezTo>
                  <a:cubicBezTo>
                    <a:pt x="156" y="664"/>
                    <a:pt x="143" y="595"/>
                    <a:pt x="130" y="526"/>
                  </a:cubicBezTo>
                  <a:cubicBezTo>
                    <a:pt x="130" y="524"/>
                    <a:pt x="129" y="522"/>
                    <a:pt x="125" y="519"/>
                  </a:cubicBezTo>
                  <a:cubicBezTo>
                    <a:pt x="125" y="532"/>
                    <a:pt x="125" y="545"/>
                    <a:pt x="125" y="558"/>
                  </a:cubicBezTo>
                  <a:cubicBezTo>
                    <a:pt x="124" y="585"/>
                    <a:pt x="110" y="604"/>
                    <a:pt x="86" y="614"/>
                  </a:cubicBezTo>
                  <a:cubicBezTo>
                    <a:pt x="48" y="630"/>
                    <a:pt x="1" y="603"/>
                    <a:pt x="1" y="563"/>
                  </a:cubicBezTo>
                  <a:cubicBezTo>
                    <a:pt x="0" y="437"/>
                    <a:pt x="12" y="314"/>
                    <a:pt x="58" y="196"/>
                  </a:cubicBezTo>
                  <a:cubicBezTo>
                    <a:pt x="81" y="141"/>
                    <a:pt x="111" y="91"/>
                    <a:pt x="158" y="52"/>
                  </a:cubicBezTo>
                  <a:cubicBezTo>
                    <a:pt x="198" y="19"/>
                    <a:pt x="243" y="1"/>
                    <a:pt x="296" y="5"/>
                  </a:cubicBezTo>
                  <a:cubicBezTo>
                    <a:pt x="302" y="6"/>
                    <a:pt x="308" y="8"/>
                    <a:pt x="313" y="11"/>
                  </a:cubicBezTo>
                  <a:cubicBezTo>
                    <a:pt x="362" y="35"/>
                    <a:pt x="413" y="39"/>
                    <a:pt x="463" y="15"/>
                  </a:cubicBezTo>
                  <a:cubicBezTo>
                    <a:pt x="495" y="0"/>
                    <a:pt x="527" y="2"/>
                    <a:pt x="559" y="13"/>
                  </a:cubicBezTo>
                  <a:cubicBezTo>
                    <a:pt x="619" y="33"/>
                    <a:pt x="662" y="76"/>
                    <a:pt x="695" y="128"/>
                  </a:cubicBezTo>
                  <a:cubicBezTo>
                    <a:pt x="735" y="193"/>
                    <a:pt x="756" y="264"/>
                    <a:pt x="769" y="338"/>
                  </a:cubicBezTo>
                  <a:cubicBezTo>
                    <a:pt x="782" y="410"/>
                    <a:pt x="787" y="483"/>
                    <a:pt x="787" y="556"/>
                  </a:cubicBezTo>
                  <a:cubicBezTo>
                    <a:pt x="787" y="587"/>
                    <a:pt x="764" y="614"/>
                    <a:pt x="734" y="618"/>
                  </a:cubicBezTo>
                  <a:cubicBezTo>
                    <a:pt x="703" y="622"/>
                    <a:pt x="673" y="605"/>
                    <a:pt x="665" y="574"/>
                  </a:cubicBezTo>
                  <a:cubicBezTo>
                    <a:pt x="661" y="560"/>
                    <a:pt x="663" y="544"/>
                    <a:pt x="662" y="529"/>
                  </a:cubicBezTo>
                  <a:cubicBezTo>
                    <a:pt x="661" y="524"/>
                    <a:pt x="662" y="520"/>
                    <a:pt x="659" y="516"/>
                  </a:cubicBezTo>
                  <a:cubicBezTo>
                    <a:pt x="655" y="540"/>
                    <a:pt x="650" y="564"/>
                    <a:pt x="646" y="588"/>
                  </a:cubicBezTo>
                  <a:cubicBezTo>
                    <a:pt x="628" y="684"/>
                    <a:pt x="610" y="779"/>
                    <a:pt x="592" y="875"/>
                  </a:cubicBezTo>
                  <a:cubicBezTo>
                    <a:pt x="580" y="940"/>
                    <a:pt x="569" y="1006"/>
                    <a:pt x="556" y="1072"/>
                  </a:cubicBezTo>
                  <a:cubicBezTo>
                    <a:pt x="553" y="1083"/>
                    <a:pt x="547" y="1095"/>
                    <a:pt x="539" y="1103"/>
                  </a:cubicBezTo>
                  <a:cubicBezTo>
                    <a:pt x="508" y="1134"/>
                    <a:pt x="452" y="1132"/>
                    <a:pt x="422" y="1101"/>
                  </a:cubicBezTo>
                  <a:cubicBezTo>
                    <a:pt x="410" y="1090"/>
                    <a:pt x="406" y="1076"/>
                    <a:pt x="406" y="1060"/>
                  </a:cubicBezTo>
                  <a:cubicBezTo>
                    <a:pt x="406" y="932"/>
                    <a:pt x="406" y="804"/>
                    <a:pt x="406" y="677"/>
                  </a:cubicBezTo>
                  <a:cubicBezTo>
                    <a:pt x="406" y="671"/>
                    <a:pt x="406" y="665"/>
                    <a:pt x="406" y="659"/>
                  </a:cubicBezTo>
                  <a:close/>
                  <a:moveTo>
                    <a:pt x="616" y="557"/>
                  </a:moveTo>
                  <a:cubicBezTo>
                    <a:pt x="689" y="506"/>
                    <a:pt x="689" y="379"/>
                    <a:pt x="637" y="311"/>
                  </a:cubicBezTo>
                  <a:cubicBezTo>
                    <a:pt x="680" y="398"/>
                    <a:pt x="673" y="479"/>
                    <a:pt x="616" y="557"/>
                  </a:cubicBezTo>
                  <a:close/>
                  <a:moveTo>
                    <a:pt x="167" y="554"/>
                  </a:moveTo>
                  <a:cubicBezTo>
                    <a:pt x="144" y="519"/>
                    <a:pt x="128" y="483"/>
                    <a:pt x="124" y="441"/>
                  </a:cubicBezTo>
                  <a:cubicBezTo>
                    <a:pt x="120" y="399"/>
                    <a:pt x="128" y="360"/>
                    <a:pt x="144" y="321"/>
                  </a:cubicBezTo>
                  <a:cubicBezTo>
                    <a:pt x="102" y="381"/>
                    <a:pt x="98" y="501"/>
                    <a:pt x="167" y="554"/>
                  </a:cubicBezTo>
                  <a:close/>
                  <a:moveTo>
                    <a:pt x="627" y="300"/>
                  </a:moveTo>
                  <a:cubicBezTo>
                    <a:pt x="629" y="300"/>
                    <a:pt x="631" y="299"/>
                    <a:pt x="633" y="298"/>
                  </a:cubicBezTo>
                  <a:cubicBezTo>
                    <a:pt x="623" y="272"/>
                    <a:pt x="613" y="245"/>
                    <a:pt x="603" y="218"/>
                  </a:cubicBezTo>
                  <a:cubicBezTo>
                    <a:pt x="602" y="219"/>
                    <a:pt x="601" y="219"/>
                    <a:pt x="600" y="219"/>
                  </a:cubicBezTo>
                  <a:cubicBezTo>
                    <a:pt x="603" y="233"/>
                    <a:pt x="607" y="247"/>
                    <a:pt x="611" y="260"/>
                  </a:cubicBezTo>
                  <a:cubicBezTo>
                    <a:pt x="616" y="274"/>
                    <a:pt x="621" y="287"/>
                    <a:pt x="627" y="300"/>
                  </a:cubicBezTo>
                  <a:close/>
                  <a:moveTo>
                    <a:pt x="186" y="226"/>
                  </a:moveTo>
                  <a:cubicBezTo>
                    <a:pt x="185" y="225"/>
                    <a:pt x="183" y="224"/>
                    <a:pt x="182" y="224"/>
                  </a:cubicBezTo>
                  <a:cubicBezTo>
                    <a:pt x="172" y="249"/>
                    <a:pt x="163" y="273"/>
                    <a:pt x="154" y="298"/>
                  </a:cubicBezTo>
                  <a:cubicBezTo>
                    <a:pt x="177" y="278"/>
                    <a:pt x="177" y="250"/>
                    <a:pt x="186" y="226"/>
                  </a:cubicBez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111">
              <a:extLst>
                <a:ext uri="{FF2B5EF4-FFF2-40B4-BE49-F238E27FC236}">
                  <a16:creationId xmlns:a16="http://schemas.microsoft.com/office/drawing/2014/main" id="{C031079C-35B8-836D-772E-B711D35B1B11}"/>
                </a:ext>
              </a:extLst>
            </p:cNvPr>
            <p:cNvSpPr>
              <a:spLocks/>
            </p:cNvSpPr>
            <p:nvPr/>
          </p:nvSpPr>
          <p:spPr bwMode="auto">
            <a:xfrm>
              <a:off x="2640" y="548"/>
              <a:ext cx="478" cy="478"/>
            </a:xfrm>
            <a:custGeom>
              <a:avLst/>
              <a:gdLst>
                <a:gd name="T0" fmla="*/ 317 w 317"/>
                <a:gd name="T1" fmla="*/ 159 h 318"/>
                <a:gd name="T2" fmla="*/ 159 w 317"/>
                <a:gd name="T3" fmla="*/ 318 h 318"/>
                <a:gd name="T4" fmla="*/ 0 w 317"/>
                <a:gd name="T5" fmla="*/ 159 h 318"/>
                <a:gd name="T6" fmla="*/ 159 w 317"/>
                <a:gd name="T7" fmla="*/ 0 h 318"/>
                <a:gd name="T8" fmla="*/ 317 w 317"/>
                <a:gd name="T9" fmla="*/ 159 h 318"/>
              </a:gdLst>
              <a:ahLst/>
              <a:cxnLst>
                <a:cxn ang="0">
                  <a:pos x="T0" y="T1"/>
                </a:cxn>
                <a:cxn ang="0">
                  <a:pos x="T2" y="T3"/>
                </a:cxn>
                <a:cxn ang="0">
                  <a:pos x="T4" y="T5"/>
                </a:cxn>
                <a:cxn ang="0">
                  <a:pos x="T6" y="T7"/>
                </a:cxn>
                <a:cxn ang="0">
                  <a:pos x="T8" y="T9"/>
                </a:cxn>
              </a:cxnLst>
              <a:rect l="0" t="0" r="r" b="b"/>
              <a:pathLst>
                <a:path w="317" h="318">
                  <a:moveTo>
                    <a:pt x="317" y="159"/>
                  </a:moveTo>
                  <a:cubicBezTo>
                    <a:pt x="317" y="246"/>
                    <a:pt x="246" y="318"/>
                    <a:pt x="159" y="318"/>
                  </a:cubicBezTo>
                  <a:cubicBezTo>
                    <a:pt x="71" y="317"/>
                    <a:pt x="0" y="250"/>
                    <a:pt x="0" y="159"/>
                  </a:cubicBezTo>
                  <a:cubicBezTo>
                    <a:pt x="0" y="66"/>
                    <a:pt x="74" y="0"/>
                    <a:pt x="159" y="0"/>
                  </a:cubicBezTo>
                  <a:cubicBezTo>
                    <a:pt x="247" y="0"/>
                    <a:pt x="317" y="72"/>
                    <a:pt x="317" y="159"/>
                  </a:cubicBez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112">
              <a:extLst>
                <a:ext uri="{FF2B5EF4-FFF2-40B4-BE49-F238E27FC236}">
                  <a16:creationId xmlns:a16="http://schemas.microsoft.com/office/drawing/2014/main" id="{1B662402-63F0-072D-F427-F130D6BE9AAD}"/>
                </a:ext>
              </a:extLst>
            </p:cNvPr>
            <p:cNvSpPr>
              <a:spLocks/>
            </p:cNvSpPr>
            <p:nvPr/>
          </p:nvSpPr>
          <p:spPr bwMode="auto">
            <a:xfrm>
              <a:off x="3214" y="1469"/>
              <a:ext cx="110" cy="369"/>
            </a:xfrm>
            <a:custGeom>
              <a:avLst/>
              <a:gdLst>
                <a:gd name="T0" fmla="*/ 0 w 73"/>
                <a:gd name="T1" fmla="*/ 246 h 246"/>
                <a:gd name="T2" fmla="*/ 21 w 73"/>
                <a:gd name="T3" fmla="*/ 0 h 246"/>
                <a:gd name="T4" fmla="*/ 0 w 73"/>
                <a:gd name="T5" fmla="*/ 246 h 246"/>
              </a:gdLst>
              <a:ahLst/>
              <a:cxnLst>
                <a:cxn ang="0">
                  <a:pos x="T0" y="T1"/>
                </a:cxn>
                <a:cxn ang="0">
                  <a:pos x="T2" y="T3"/>
                </a:cxn>
                <a:cxn ang="0">
                  <a:pos x="T4" y="T5"/>
                </a:cxn>
              </a:cxnLst>
              <a:rect l="0" t="0" r="r" b="b"/>
              <a:pathLst>
                <a:path w="73" h="246">
                  <a:moveTo>
                    <a:pt x="0" y="246"/>
                  </a:moveTo>
                  <a:cubicBezTo>
                    <a:pt x="57" y="168"/>
                    <a:pt x="64" y="87"/>
                    <a:pt x="21" y="0"/>
                  </a:cubicBezTo>
                  <a:cubicBezTo>
                    <a:pt x="73" y="68"/>
                    <a:pt x="73" y="195"/>
                    <a:pt x="0" y="246"/>
                  </a:cubicBez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113">
              <a:extLst>
                <a:ext uri="{FF2B5EF4-FFF2-40B4-BE49-F238E27FC236}">
                  <a16:creationId xmlns:a16="http://schemas.microsoft.com/office/drawing/2014/main" id="{D3139148-6933-6FC6-28A1-589D9D1A5113}"/>
                </a:ext>
              </a:extLst>
            </p:cNvPr>
            <p:cNvSpPr>
              <a:spLocks/>
            </p:cNvSpPr>
            <p:nvPr/>
          </p:nvSpPr>
          <p:spPr bwMode="auto">
            <a:xfrm>
              <a:off x="2434" y="1484"/>
              <a:ext cx="104" cy="349"/>
            </a:xfrm>
            <a:custGeom>
              <a:avLst/>
              <a:gdLst>
                <a:gd name="T0" fmla="*/ 69 w 69"/>
                <a:gd name="T1" fmla="*/ 233 h 233"/>
                <a:gd name="T2" fmla="*/ 46 w 69"/>
                <a:gd name="T3" fmla="*/ 0 h 233"/>
                <a:gd name="T4" fmla="*/ 26 w 69"/>
                <a:gd name="T5" fmla="*/ 120 h 233"/>
                <a:gd name="T6" fmla="*/ 69 w 69"/>
                <a:gd name="T7" fmla="*/ 233 h 233"/>
              </a:gdLst>
              <a:ahLst/>
              <a:cxnLst>
                <a:cxn ang="0">
                  <a:pos x="T0" y="T1"/>
                </a:cxn>
                <a:cxn ang="0">
                  <a:pos x="T2" y="T3"/>
                </a:cxn>
                <a:cxn ang="0">
                  <a:pos x="T4" y="T5"/>
                </a:cxn>
                <a:cxn ang="0">
                  <a:pos x="T6" y="T7"/>
                </a:cxn>
              </a:cxnLst>
              <a:rect l="0" t="0" r="r" b="b"/>
              <a:pathLst>
                <a:path w="69" h="233">
                  <a:moveTo>
                    <a:pt x="69" y="233"/>
                  </a:moveTo>
                  <a:cubicBezTo>
                    <a:pt x="0" y="180"/>
                    <a:pt x="4" y="60"/>
                    <a:pt x="46" y="0"/>
                  </a:cubicBezTo>
                  <a:cubicBezTo>
                    <a:pt x="30" y="39"/>
                    <a:pt x="22" y="78"/>
                    <a:pt x="26" y="120"/>
                  </a:cubicBezTo>
                  <a:cubicBezTo>
                    <a:pt x="30" y="162"/>
                    <a:pt x="46" y="198"/>
                    <a:pt x="69" y="233"/>
                  </a:cubicBez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114">
              <a:extLst>
                <a:ext uri="{FF2B5EF4-FFF2-40B4-BE49-F238E27FC236}">
                  <a16:creationId xmlns:a16="http://schemas.microsoft.com/office/drawing/2014/main" id="{F27E3D93-555B-4880-A298-F7710F3B6E31}"/>
                </a:ext>
              </a:extLst>
            </p:cNvPr>
            <p:cNvSpPr>
              <a:spLocks/>
            </p:cNvSpPr>
            <p:nvPr/>
          </p:nvSpPr>
          <p:spPr bwMode="auto">
            <a:xfrm>
              <a:off x="3190" y="1329"/>
              <a:ext cx="50" cy="123"/>
            </a:xfrm>
            <a:custGeom>
              <a:avLst/>
              <a:gdLst>
                <a:gd name="T0" fmla="*/ 27 w 33"/>
                <a:gd name="T1" fmla="*/ 82 h 82"/>
                <a:gd name="T2" fmla="*/ 11 w 33"/>
                <a:gd name="T3" fmla="*/ 42 h 82"/>
                <a:gd name="T4" fmla="*/ 0 w 33"/>
                <a:gd name="T5" fmla="*/ 1 h 82"/>
                <a:gd name="T6" fmla="*/ 3 w 33"/>
                <a:gd name="T7" fmla="*/ 0 h 82"/>
                <a:gd name="T8" fmla="*/ 33 w 33"/>
                <a:gd name="T9" fmla="*/ 80 h 82"/>
                <a:gd name="T10" fmla="*/ 27 w 33"/>
                <a:gd name="T11" fmla="*/ 82 h 82"/>
              </a:gdLst>
              <a:ahLst/>
              <a:cxnLst>
                <a:cxn ang="0">
                  <a:pos x="T0" y="T1"/>
                </a:cxn>
                <a:cxn ang="0">
                  <a:pos x="T2" y="T3"/>
                </a:cxn>
                <a:cxn ang="0">
                  <a:pos x="T4" y="T5"/>
                </a:cxn>
                <a:cxn ang="0">
                  <a:pos x="T6" y="T7"/>
                </a:cxn>
                <a:cxn ang="0">
                  <a:pos x="T8" y="T9"/>
                </a:cxn>
                <a:cxn ang="0">
                  <a:pos x="T10" y="T11"/>
                </a:cxn>
              </a:cxnLst>
              <a:rect l="0" t="0" r="r" b="b"/>
              <a:pathLst>
                <a:path w="33" h="82">
                  <a:moveTo>
                    <a:pt x="27" y="82"/>
                  </a:moveTo>
                  <a:cubicBezTo>
                    <a:pt x="21" y="69"/>
                    <a:pt x="16" y="56"/>
                    <a:pt x="11" y="42"/>
                  </a:cubicBezTo>
                  <a:cubicBezTo>
                    <a:pt x="7" y="29"/>
                    <a:pt x="3" y="15"/>
                    <a:pt x="0" y="1"/>
                  </a:cubicBezTo>
                  <a:cubicBezTo>
                    <a:pt x="1" y="1"/>
                    <a:pt x="2" y="1"/>
                    <a:pt x="3" y="0"/>
                  </a:cubicBezTo>
                  <a:cubicBezTo>
                    <a:pt x="13" y="27"/>
                    <a:pt x="23" y="54"/>
                    <a:pt x="33" y="80"/>
                  </a:cubicBezTo>
                  <a:cubicBezTo>
                    <a:pt x="31" y="81"/>
                    <a:pt x="29" y="82"/>
                    <a:pt x="27" y="82"/>
                  </a:cubicBez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115">
              <a:extLst>
                <a:ext uri="{FF2B5EF4-FFF2-40B4-BE49-F238E27FC236}">
                  <a16:creationId xmlns:a16="http://schemas.microsoft.com/office/drawing/2014/main" id="{CA384BB2-67D9-6CBA-59CE-36ED5F38F17E}"/>
                </a:ext>
              </a:extLst>
            </p:cNvPr>
            <p:cNvSpPr>
              <a:spLocks/>
            </p:cNvSpPr>
            <p:nvPr/>
          </p:nvSpPr>
          <p:spPr bwMode="auto">
            <a:xfrm>
              <a:off x="2518" y="1338"/>
              <a:ext cx="49" cy="111"/>
            </a:xfrm>
            <a:custGeom>
              <a:avLst/>
              <a:gdLst>
                <a:gd name="T0" fmla="*/ 32 w 32"/>
                <a:gd name="T1" fmla="*/ 2 h 74"/>
                <a:gd name="T2" fmla="*/ 0 w 32"/>
                <a:gd name="T3" fmla="*/ 74 h 74"/>
                <a:gd name="T4" fmla="*/ 28 w 32"/>
                <a:gd name="T5" fmla="*/ 0 h 74"/>
                <a:gd name="T6" fmla="*/ 32 w 32"/>
                <a:gd name="T7" fmla="*/ 2 h 74"/>
              </a:gdLst>
              <a:ahLst/>
              <a:cxnLst>
                <a:cxn ang="0">
                  <a:pos x="T0" y="T1"/>
                </a:cxn>
                <a:cxn ang="0">
                  <a:pos x="T2" y="T3"/>
                </a:cxn>
                <a:cxn ang="0">
                  <a:pos x="T4" y="T5"/>
                </a:cxn>
                <a:cxn ang="0">
                  <a:pos x="T6" y="T7"/>
                </a:cxn>
              </a:cxnLst>
              <a:rect l="0" t="0" r="r" b="b"/>
              <a:pathLst>
                <a:path w="32" h="74">
                  <a:moveTo>
                    <a:pt x="32" y="2"/>
                  </a:moveTo>
                  <a:cubicBezTo>
                    <a:pt x="23" y="26"/>
                    <a:pt x="23" y="54"/>
                    <a:pt x="0" y="74"/>
                  </a:cubicBezTo>
                  <a:cubicBezTo>
                    <a:pt x="9" y="49"/>
                    <a:pt x="18" y="25"/>
                    <a:pt x="28" y="0"/>
                  </a:cubicBezTo>
                  <a:cubicBezTo>
                    <a:pt x="29" y="0"/>
                    <a:pt x="31" y="1"/>
                    <a:pt x="32" y="2"/>
                  </a:cubicBez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41714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B6145-BEE7-4D40-1C4C-AF89CF132870}"/>
              </a:ext>
            </a:extLst>
          </p:cNvPr>
          <p:cNvSpPr>
            <a:spLocks noGrp="1"/>
          </p:cNvSpPr>
          <p:nvPr>
            <p:ph type="title"/>
          </p:nvPr>
        </p:nvSpPr>
        <p:spPr>
          <a:xfrm>
            <a:off x="536240" y="414320"/>
            <a:ext cx="10896000" cy="1082209"/>
          </a:xfrm>
        </p:spPr>
        <p:txBody>
          <a:bodyPr/>
          <a:lstStyle/>
          <a:p>
            <a:r>
              <a:rPr lang="en-US" noProof="0" dirty="0"/>
              <a:t>Dietary recommendations</a:t>
            </a:r>
          </a:p>
        </p:txBody>
      </p:sp>
      <p:sp>
        <p:nvSpPr>
          <p:cNvPr id="3" name="Text Placeholder 2">
            <a:extLst>
              <a:ext uri="{FF2B5EF4-FFF2-40B4-BE49-F238E27FC236}">
                <a16:creationId xmlns:a16="http://schemas.microsoft.com/office/drawing/2014/main" id="{376D5DC2-735B-2349-9855-01580143B829}"/>
              </a:ext>
            </a:extLst>
          </p:cNvPr>
          <p:cNvSpPr>
            <a:spLocks noGrp="1"/>
          </p:cNvSpPr>
          <p:nvPr>
            <p:ph type="body" sz="quarter" idx="13"/>
          </p:nvPr>
        </p:nvSpPr>
        <p:spPr>
          <a:xfrm>
            <a:off x="536240" y="6020060"/>
            <a:ext cx="10896000" cy="324000"/>
          </a:xfrm>
        </p:spPr>
        <p:txBody>
          <a:bodyPr/>
          <a:lstStyle/>
          <a:p>
            <a:r>
              <a:rPr lang="en-US" noProof="0" dirty="0"/>
              <a:t>1. Styne DM et al. J Clin Endocrinol Metab 2017;102:709–757; 2. Hampl SE et al. Pediatrics 2023;151:e2022060640.</a:t>
            </a:r>
          </a:p>
        </p:txBody>
      </p:sp>
      <p:sp>
        <p:nvSpPr>
          <p:cNvPr id="39" name="Rectangle 38">
            <a:extLst>
              <a:ext uri="{FF2B5EF4-FFF2-40B4-BE49-F238E27FC236}">
                <a16:creationId xmlns:a16="http://schemas.microsoft.com/office/drawing/2014/main" id="{FFEE0A22-910E-E763-8CFC-D25C06612053}"/>
              </a:ext>
            </a:extLst>
          </p:cNvPr>
          <p:cNvSpPr/>
          <p:nvPr/>
        </p:nvSpPr>
        <p:spPr>
          <a:xfrm>
            <a:off x="949130" y="1819275"/>
            <a:ext cx="2533650" cy="38622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822960" rIns="91440" bIns="36000" rtlCol="0" anchor="t"/>
          <a:lstStyle/>
          <a:p>
            <a:pPr lvl="0" algn="ctr" defTabSz="1219139" fontAlgn="base">
              <a:spcAft>
                <a:spcPts val="1200"/>
              </a:spcAft>
              <a:defRPr/>
            </a:pPr>
            <a:r>
              <a:rPr lang="en-US" sz="1400" noProof="0" dirty="0">
                <a:solidFill>
                  <a:schemeClr val="bg1"/>
                </a:solidFill>
              </a:rPr>
              <a:t>Decrease consumption of fast foods, added table sugar, high-fructose corn syrup, fruit juices, and high-fat, high-sodium, or processed foods</a:t>
            </a:r>
            <a:r>
              <a:rPr lang="en-US" sz="1400" baseline="30000" noProof="0" dirty="0">
                <a:solidFill>
                  <a:schemeClr val="bg1"/>
                </a:solidFill>
              </a:rPr>
              <a:t>1</a:t>
            </a:r>
          </a:p>
          <a:p>
            <a:pPr lvl="0" algn="ctr" defTabSz="1219139" fontAlgn="base">
              <a:spcAft>
                <a:spcPts val="1200"/>
              </a:spcAft>
              <a:defRPr/>
            </a:pPr>
            <a:r>
              <a:rPr lang="en-US" sz="1400" b="1" noProof="0" dirty="0">
                <a:solidFill>
                  <a:schemeClr val="bg1"/>
                </a:solidFill>
              </a:rPr>
              <a:t>Remove all </a:t>
            </a:r>
            <a:br>
              <a:rPr lang="en-US" sz="1400" b="1" noProof="0" dirty="0">
                <a:solidFill>
                  <a:schemeClr val="bg1"/>
                </a:solidFill>
              </a:rPr>
            </a:br>
            <a:r>
              <a:rPr lang="en-US" sz="1400" b="1" noProof="0" dirty="0">
                <a:solidFill>
                  <a:schemeClr val="bg1"/>
                </a:solidFill>
              </a:rPr>
              <a:t>sugar-sweetened beverages from the diets </a:t>
            </a:r>
            <a:br>
              <a:rPr lang="en-US" sz="1400" b="1" noProof="0" dirty="0">
                <a:solidFill>
                  <a:schemeClr val="bg1"/>
                </a:solidFill>
              </a:rPr>
            </a:br>
            <a:r>
              <a:rPr lang="en-US" sz="1400" b="1" noProof="0" dirty="0">
                <a:solidFill>
                  <a:schemeClr val="bg1"/>
                </a:solidFill>
              </a:rPr>
              <a:t>of children</a:t>
            </a:r>
            <a:r>
              <a:rPr lang="en-US" sz="1400" baseline="30000" noProof="0" dirty="0">
                <a:solidFill>
                  <a:schemeClr val="bg1"/>
                </a:solidFill>
              </a:rPr>
              <a:t>2</a:t>
            </a:r>
          </a:p>
          <a:p>
            <a:pPr lvl="0" algn="ctr" defTabSz="1219139" fontAlgn="base">
              <a:spcAft>
                <a:spcPts val="1200"/>
              </a:spcAft>
              <a:defRPr/>
            </a:pPr>
            <a:r>
              <a:rPr lang="en-US" sz="1400" b="1" noProof="0" dirty="0">
                <a:solidFill>
                  <a:schemeClr val="bg1"/>
                </a:solidFill>
              </a:rPr>
              <a:t>The ideal beverage for children at all meals and during the day is water</a:t>
            </a:r>
            <a:r>
              <a:rPr lang="en-US" sz="1400" baseline="30000" noProof="0" dirty="0">
                <a:solidFill>
                  <a:schemeClr val="bg1"/>
                </a:solidFill>
              </a:rPr>
              <a:t>1</a:t>
            </a:r>
          </a:p>
        </p:txBody>
      </p:sp>
      <p:sp>
        <p:nvSpPr>
          <p:cNvPr id="40" name="Rectangle 39">
            <a:extLst>
              <a:ext uri="{FF2B5EF4-FFF2-40B4-BE49-F238E27FC236}">
                <a16:creationId xmlns:a16="http://schemas.microsoft.com/office/drawing/2014/main" id="{3F790348-F3E9-74A2-4085-D3B4F358FAD4}"/>
              </a:ext>
            </a:extLst>
          </p:cNvPr>
          <p:cNvSpPr/>
          <p:nvPr/>
        </p:nvSpPr>
        <p:spPr>
          <a:xfrm>
            <a:off x="3544629" y="1819275"/>
            <a:ext cx="2533650" cy="386223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822960" rIns="91440" bIns="36000" rtlCol="0" anchor="t"/>
          <a:lstStyle/>
          <a:p>
            <a:pPr algn="ctr">
              <a:spcAft>
                <a:spcPts val="1200"/>
              </a:spcAft>
            </a:pPr>
            <a:r>
              <a:rPr lang="en-US" sz="1400" noProof="0" dirty="0">
                <a:solidFill>
                  <a:schemeClr val="bg1"/>
                </a:solidFill>
              </a:rPr>
              <a:t>Increase intake of dietary fiber, fruits and vegetables; eating a healthy breakfast</a:t>
            </a:r>
            <a:r>
              <a:rPr lang="en-US" sz="1400" baseline="30000" noProof="0" dirty="0">
                <a:solidFill>
                  <a:schemeClr val="bg1"/>
                </a:solidFill>
              </a:rPr>
              <a:t>1</a:t>
            </a:r>
            <a:r>
              <a:rPr lang="en-US" sz="1400" noProof="0" dirty="0">
                <a:solidFill>
                  <a:schemeClr val="bg1"/>
                </a:solidFill>
              </a:rPr>
              <a:t> </a:t>
            </a:r>
          </a:p>
          <a:p>
            <a:pPr algn="ctr">
              <a:spcAft>
                <a:spcPts val="1200"/>
              </a:spcAft>
            </a:pPr>
            <a:r>
              <a:rPr lang="en-US" sz="1400" noProof="0" dirty="0">
                <a:solidFill>
                  <a:schemeClr val="bg1"/>
                </a:solidFill>
              </a:rPr>
              <a:t>Promote diet rich in foods with low caloric density and minimize foods with high </a:t>
            </a:r>
            <a:br>
              <a:rPr lang="en-US" sz="1400" noProof="0" dirty="0">
                <a:solidFill>
                  <a:schemeClr val="bg1"/>
                </a:solidFill>
              </a:rPr>
            </a:br>
            <a:r>
              <a:rPr lang="en-US" sz="1400" noProof="0" dirty="0">
                <a:solidFill>
                  <a:schemeClr val="bg1"/>
                </a:solidFill>
              </a:rPr>
              <a:t>caloric density</a:t>
            </a:r>
            <a:r>
              <a:rPr lang="en-US" sz="1400" baseline="30000" noProof="0" dirty="0">
                <a:solidFill>
                  <a:schemeClr val="bg1"/>
                </a:solidFill>
              </a:rPr>
              <a:t>2</a:t>
            </a:r>
          </a:p>
        </p:txBody>
      </p:sp>
      <p:sp>
        <p:nvSpPr>
          <p:cNvPr id="41" name="Rectangle 40">
            <a:extLst>
              <a:ext uri="{FF2B5EF4-FFF2-40B4-BE49-F238E27FC236}">
                <a16:creationId xmlns:a16="http://schemas.microsoft.com/office/drawing/2014/main" id="{3EA9DEB6-D148-36BC-2413-CB2D58E98ED3}"/>
              </a:ext>
            </a:extLst>
          </p:cNvPr>
          <p:cNvSpPr/>
          <p:nvPr/>
        </p:nvSpPr>
        <p:spPr>
          <a:xfrm>
            <a:off x="6140128" y="1819275"/>
            <a:ext cx="2533650" cy="3862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822960" rIns="91440" bIns="36000" rtlCol="0" anchor="t"/>
          <a:lstStyle/>
          <a:p>
            <a:pPr lvl="0" algn="ctr" defTabSz="1219139" fontAlgn="base">
              <a:spcAft>
                <a:spcPts val="1200"/>
              </a:spcAft>
              <a:defRPr/>
            </a:pPr>
            <a:r>
              <a:rPr lang="en-US" sz="1400" noProof="0" dirty="0">
                <a:solidFill>
                  <a:schemeClr val="bg1"/>
                </a:solidFill>
              </a:rPr>
              <a:t>Eating meals together </a:t>
            </a:r>
            <a:br>
              <a:rPr lang="en-US" sz="1400" noProof="0" dirty="0">
                <a:solidFill>
                  <a:schemeClr val="bg1"/>
                </a:solidFill>
              </a:rPr>
            </a:br>
            <a:r>
              <a:rPr lang="en-US" sz="1400" noProof="0" dirty="0">
                <a:solidFill>
                  <a:schemeClr val="bg1"/>
                </a:solidFill>
              </a:rPr>
              <a:t>as a family</a:t>
            </a:r>
            <a:r>
              <a:rPr lang="en-US" sz="1400" baseline="30000" noProof="0" dirty="0">
                <a:solidFill>
                  <a:schemeClr val="bg1"/>
                </a:solidFill>
              </a:rPr>
              <a:t>2</a:t>
            </a:r>
            <a:endParaRPr lang="en-US" sz="1400" noProof="0" dirty="0">
              <a:solidFill>
                <a:schemeClr val="bg1"/>
              </a:solidFill>
            </a:endParaRPr>
          </a:p>
          <a:p>
            <a:pPr lvl="0" algn="ctr" defTabSz="1219139" fontAlgn="base">
              <a:spcAft>
                <a:spcPts val="1200"/>
              </a:spcAft>
              <a:defRPr/>
            </a:pPr>
            <a:r>
              <a:rPr lang="en-US" sz="1400" noProof="0" dirty="0">
                <a:solidFill>
                  <a:schemeClr val="bg1"/>
                </a:solidFill>
              </a:rPr>
              <a:t>Avoid watching </a:t>
            </a:r>
            <a:br>
              <a:rPr lang="en-US" sz="1400" noProof="0" dirty="0">
                <a:solidFill>
                  <a:schemeClr val="bg1"/>
                </a:solidFill>
              </a:rPr>
            </a:br>
            <a:r>
              <a:rPr lang="en-US" sz="1400" noProof="0" dirty="0">
                <a:solidFill>
                  <a:schemeClr val="bg1"/>
                </a:solidFill>
              </a:rPr>
              <a:t>television while eating</a:t>
            </a:r>
            <a:r>
              <a:rPr lang="en-US" sz="1400" baseline="30000" noProof="0" dirty="0">
                <a:solidFill>
                  <a:schemeClr val="bg1"/>
                </a:solidFill>
              </a:rPr>
              <a:t>2</a:t>
            </a:r>
            <a:endParaRPr lang="en-US" sz="1400" noProof="0" dirty="0">
              <a:solidFill>
                <a:schemeClr val="bg1"/>
              </a:solidFill>
            </a:endParaRPr>
          </a:p>
        </p:txBody>
      </p:sp>
      <p:sp>
        <p:nvSpPr>
          <p:cNvPr id="42" name="Rectangle 41">
            <a:extLst>
              <a:ext uri="{FF2B5EF4-FFF2-40B4-BE49-F238E27FC236}">
                <a16:creationId xmlns:a16="http://schemas.microsoft.com/office/drawing/2014/main" id="{E36CE881-A32B-3053-1628-FB76BEFA6D51}"/>
              </a:ext>
            </a:extLst>
          </p:cNvPr>
          <p:cNvSpPr/>
          <p:nvPr/>
        </p:nvSpPr>
        <p:spPr>
          <a:xfrm>
            <a:off x="8735628" y="1819275"/>
            <a:ext cx="2533650" cy="386223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822960" rIns="91440" bIns="36000" rtlCol="0" anchor="t"/>
          <a:lstStyle/>
          <a:p>
            <a:pPr algn="ctr">
              <a:spcAft>
                <a:spcPts val="1200"/>
              </a:spcAft>
            </a:pPr>
            <a:r>
              <a:rPr lang="en-US" sz="1400" noProof="0" dirty="0">
                <a:solidFill>
                  <a:schemeClr val="bg1"/>
                </a:solidFill>
              </a:rPr>
              <a:t>Portion control education, timely, regular meals, and avoiding constant “grazing” during the day, recognizing eating cues in the child or adolescent’s environment; ensure availability of </a:t>
            </a:r>
            <a:br>
              <a:rPr lang="en-US" sz="1400" noProof="0" dirty="0">
                <a:solidFill>
                  <a:schemeClr val="bg1"/>
                </a:solidFill>
              </a:rPr>
            </a:br>
            <a:r>
              <a:rPr lang="en-US" sz="1400" noProof="0" dirty="0">
                <a:solidFill>
                  <a:schemeClr val="bg1"/>
                </a:solidFill>
              </a:rPr>
              <a:t>healthy snacks</a:t>
            </a:r>
            <a:r>
              <a:rPr lang="en-US" sz="1400" baseline="30000" noProof="0" dirty="0">
                <a:solidFill>
                  <a:schemeClr val="bg1"/>
                </a:solidFill>
              </a:rPr>
              <a:t>1</a:t>
            </a:r>
            <a:endParaRPr lang="en-US" sz="1400" noProof="0" dirty="0">
              <a:solidFill>
                <a:schemeClr val="bg1"/>
              </a:solidFill>
            </a:endParaRPr>
          </a:p>
        </p:txBody>
      </p:sp>
      <p:pic>
        <p:nvPicPr>
          <p:cNvPr id="70" name="Graphic 69">
            <a:extLst>
              <a:ext uri="{FF2B5EF4-FFF2-40B4-BE49-F238E27FC236}">
                <a16:creationId xmlns:a16="http://schemas.microsoft.com/office/drawing/2014/main" id="{DFC50207-2272-F654-B1E9-F7E2534485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38781" y="1931558"/>
            <a:ext cx="656040" cy="656038"/>
          </a:xfrm>
          <a:prstGeom prst="rect">
            <a:avLst/>
          </a:prstGeom>
        </p:spPr>
      </p:pic>
      <p:pic>
        <p:nvPicPr>
          <p:cNvPr id="74" name="Graphic 73">
            <a:extLst>
              <a:ext uri="{FF2B5EF4-FFF2-40B4-BE49-F238E27FC236}">
                <a16:creationId xmlns:a16="http://schemas.microsoft.com/office/drawing/2014/main" id="{4669382B-B0A4-51A9-7FAA-07D53A5FA5C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41705" y="1921689"/>
            <a:ext cx="721496" cy="721496"/>
          </a:xfrm>
          <a:prstGeom prst="rect">
            <a:avLst/>
          </a:prstGeom>
        </p:spPr>
      </p:pic>
      <p:pic>
        <p:nvPicPr>
          <p:cNvPr id="76" name="Graphic 75">
            <a:extLst>
              <a:ext uri="{FF2B5EF4-FFF2-40B4-BE49-F238E27FC236}">
                <a16:creationId xmlns:a16="http://schemas.microsoft.com/office/drawing/2014/main" id="{FBAE461E-1120-6CB2-1252-33E2873E910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52781" y="1923764"/>
            <a:ext cx="717346" cy="717346"/>
          </a:xfrm>
          <a:prstGeom prst="rect">
            <a:avLst/>
          </a:prstGeom>
        </p:spPr>
      </p:pic>
      <p:pic>
        <p:nvPicPr>
          <p:cNvPr id="79" name="Graphic 78">
            <a:extLst>
              <a:ext uri="{FF2B5EF4-FFF2-40B4-BE49-F238E27FC236}">
                <a16:creationId xmlns:a16="http://schemas.microsoft.com/office/drawing/2014/main" id="{2BF3B00E-5135-2611-5D66-FF8A949364A1}"/>
              </a:ext>
            </a:extLst>
          </p:cNvPr>
          <p:cNvPicPr>
            <a:picLocks noChangeAspect="1"/>
          </p:cNvPicPr>
          <p:nvPr/>
        </p:nvPicPr>
        <p:blipFill>
          <a:blip r:embed="rId9">
            <a:extLst>
              <a:ext uri="{96DAC541-7B7A-43D3-8B79-37D633B846F1}">
                <asvg:svgBlip xmlns:asvg="http://schemas.microsoft.com/office/drawing/2016/SVG/main" r:embed="rId10"/>
              </a:ext>
            </a:extLst>
          </a:blip>
          <a:srcRect l="13" r="13"/>
          <a:stretch/>
        </p:blipFill>
        <p:spPr>
          <a:xfrm>
            <a:off x="1869088" y="1935480"/>
            <a:ext cx="693734" cy="693914"/>
          </a:xfrm>
          <a:prstGeom prst="rect">
            <a:avLst/>
          </a:prstGeom>
        </p:spPr>
      </p:pic>
    </p:spTree>
    <p:extLst>
      <p:ext uri="{BB962C8B-B14F-4D97-AF65-F5344CB8AC3E}">
        <p14:creationId xmlns:p14="http://schemas.microsoft.com/office/powerpoint/2010/main" val="92351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3555A7-7971-65FF-70AC-871A62DFED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D742A3B-6CBC-7801-C508-F23D9F0F5AEB}"/>
              </a:ext>
            </a:extLst>
          </p:cNvPr>
          <p:cNvSpPr>
            <a:spLocks noGrp="1"/>
          </p:cNvSpPr>
          <p:nvPr>
            <p:ph type="title"/>
          </p:nvPr>
        </p:nvSpPr>
        <p:spPr>
          <a:xfrm>
            <a:off x="536240" y="414320"/>
            <a:ext cx="10896000" cy="1082209"/>
          </a:xfrm>
        </p:spPr>
        <p:txBody>
          <a:bodyPr>
            <a:normAutofit/>
          </a:bodyPr>
          <a:lstStyle/>
          <a:p>
            <a:r>
              <a:rPr lang="en-US" noProof="0" dirty="0"/>
              <a:t>Physical activity recommendations</a:t>
            </a:r>
          </a:p>
        </p:txBody>
      </p:sp>
      <p:sp>
        <p:nvSpPr>
          <p:cNvPr id="3" name="Text Placeholder 2">
            <a:extLst>
              <a:ext uri="{FF2B5EF4-FFF2-40B4-BE49-F238E27FC236}">
                <a16:creationId xmlns:a16="http://schemas.microsoft.com/office/drawing/2014/main" id="{D1C1A428-E9F2-41F2-B7F8-97F0AEA220FF}"/>
              </a:ext>
            </a:extLst>
          </p:cNvPr>
          <p:cNvSpPr>
            <a:spLocks noGrp="1"/>
          </p:cNvSpPr>
          <p:nvPr>
            <p:ph type="body" sz="quarter" idx="13"/>
          </p:nvPr>
        </p:nvSpPr>
        <p:spPr>
          <a:xfrm>
            <a:off x="536575" y="6019800"/>
            <a:ext cx="10895013" cy="323850"/>
          </a:xfrm>
        </p:spPr>
        <p:txBody>
          <a:bodyPr/>
          <a:lstStyle/>
          <a:p>
            <a:r>
              <a:rPr lang="en-US" noProof="0" dirty="0"/>
              <a:t>AAP, American Academy of Pediatrics; ENDO, Endocrine Society. </a:t>
            </a:r>
            <a:br>
              <a:rPr lang="en-US" noProof="0" dirty="0"/>
            </a:br>
            <a:r>
              <a:rPr lang="en-US" noProof="0" dirty="0"/>
              <a:t>1. Hampl SE et al. Pediatrics 2023;151:e2022060640</a:t>
            </a:r>
            <a:r>
              <a:rPr lang="en-US" dirty="0"/>
              <a:t>; 2. Styne DM et al. J Clin Endocrinol Metab 2017;102:709–757.</a:t>
            </a:r>
            <a:endParaRPr lang="en-US" noProof="0" dirty="0"/>
          </a:p>
        </p:txBody>
      </p:sp>
      <p:sp>
        <p:nvSpPr>
          <p:cNvPr id="29" name="Oval 28">
            <a:extLst>
              <a:ext uri="{FF2B5EF4-FFF2-40B4-BE49-F238E27FC236}">
                <a16:creationId xmlns:a16="http://schemas.microsoft.com/office/drawing/2014/main" id="{838D0FA9-4E5E-6876-51E0-BE129A90F388}"/>
              </a:ext>
            </a:extLst>
          </p:cNvPr>
          <p:cNvSpPr/>
          <p:nvPr/>
        </p:nvSpPr>
        <p:spPr>
          <a:xfrm>
            <a:off x="306707" y="1929237"/>
            <a:ext cx="3657600" cy="3657600"/>
          </a:xfrm>
          <a:prstGeom prst="ellipse">
            <a:avLst/>
          </a:prstGeom>
          <a:solidFill>
            <a:schemeClr val="accent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fontAlgn="base">
              <a:spcBef>
                <a:spcPct val="50000"/>
              </a:spcBef>
              <a:spcAft>
                <a:spcPct val="0"/>
              </a:spcAft>
              <a:defRPr sz="1200" b="1" i="0" u="none" strike="noStrike" kern="1200" baseline="0">
                <a:solidFill>
                  <a:srgbClr val="001965"/>
                </a:solidFill>
                <a:latin typeface="+mn-lt"/>
                <a:ea typeface="+mn-ea"/>
                <a:cs typeface="+mn-cs"/>
              </a:defRPr>
            </a:pPr>
            <a:r>
              <a:rPr lang="en-US" sz="2400" b="1" noProof="0" dirty="0">
                <a:solidFill>
                  <a:srgbClr val="FFFFFF"/>
                </a:solidFill>
              </a:rPr>
              <a:t>Increasing physical</a:t>
            </a:r>
            <a:br>
              <a:rPr lang="en-US" sz="2400" b="1" noProof="0" dirty="0">
                <a:solidFill>
                  <a:srgbClr val="FFFFFF"/>
                </a:solidFill>
              </a:rPr>
            </a:br>
            <a:r>
              <a:rPr lang="en-US" sz="2400" b="1" noProof="0" dirty="0">
                <a:solidFill>
                  <a:srgbClr val="FFFFFF"/>
                </a:solidFill>
              </a:rPr>
              <a:t>activity</a:t>
            </a:r>
          </a:p>
        </p:txBody>
      </p:sp>
      <p:sp>
        <p:nvSpPr>
          <p:cNvPr id="30" name="Oval 29">
            <a:extLst>
              <a:ext uri="{FF2B5EF4-FFF2-40B4-BE49-F238E27FC236}">
                <a16:creationId xmlns:a16="http://schemas.microsoft.com/office/drawing/2014/main" id="{FC48E429-B5FD-AD15-071B-4ADF92EE2C1A}"/>
              </a:ext>
            </a:extLst>
          </p:cNvPr>
          <p:cNvSpPr/>
          <p:nvPr/>
        </p:nvSpPr>
        <p:spPr>
          <a:xfrm>
            <a:off x="6103938" y="1929237"/>
            <a:ext cx="3657600" cy="36576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fontAlgn="base">
              <a:spcBef>
                <a:spcPct val="50000"/>
              </a:spcBef>
              <a:spcAft>
                <a:spcPct val="0"/>
              </a:spcAft>
              <a:defRPr sz="1200" b="1" i="0" u="none" strike="noStrike" kern="1200" baseline="0">
                <a:solidFill>
                  <a:srgbClr val="001965"/>
                </a:solidFill>
                <a:latin typeface="+mn-lt"/>
                <a:ea typeface="+mn-ea"/>
                <a:cs typeface="+mn-cs"/>
              </a:defRPr>
            </a:pPr>
            <a:r>
              <a:rPr lang="en-US" sz="2400" b="1" noProof="0" dirty="0">
                <a:solidFill>
                  <a:srgbClr val="FFFFFF"/>
                </a:solidFill>
              </a:rPr>
              <a:t>Reducing sedentary </a:t>
            </a:r>
            <a:br>
              <a:rPr lang="en-US" sz="2400" b="1" noProof="0" dirty="0">
                <a:solidFill>
                  <a:srgbClr val="FFFFFF"/>
                </a:solidFill>
              </a:rPr>
            </a:br>
            <a:r>
              <a:rPr lang="en-US" sz="2400" b="1" noProof="0" dirty="0">
                <a:solidFill>
                  <a:srgbClr val="FFFFFF"/>
                </a:solidFill>
              </a:rPr>
              <a:t>time</a:t>
            </a:r>
          </a:p>
        </p:txBody>
      </p:sp>
      <p:sp>
        <p:nvSpPr>
          <p:cNvPr id="31" name="Oval 30">
            <a:extLst>
              <a:ext uri="{FF2B5EF4-FFF2-40B4-BE49-F238E27FC236}">
                <a16:creationId xmlns:a16="http://schemas.microsoft.com/office/drawing/2014/main" id="{87E43359-2D4E-F7AB-2EBB-E3FD93E69E3C}"/>
              </a:ext>
            </a:extLst>
          </p:cNvPr>
          <p:cNvSpPr/>
          <p:nvPr/>
        </p:nvSpPr>
        <p:spPr>
          <a:xfrm>
            <a:off x="3038796" y="2562810"/>
            <a:ext cx="2390454" cy="2390454"/>
          </a:xfrm>
          <a:prstGeom prst="ellipse">
            <a:avLst/>
          </a:prstGeom>
          <a:solidFill>
            <a:schemeClr val="accent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spcAft>
                <a:spcPts val="600"/>
              </a:spcAft>
              <a:defRPr/>
            </a:pPr>
            <a:r>
              <a:rPr lang="en-US" sz="1400" noProof="0" dirty="0"/>
              <a:t>Promotion of active play and lifestyle and family- or sports-based moderate to vigorous physical activity for a total of 60 minutes/day </a:t>
            </a:r>
            <a:br>
              <a:rPr lang="en-US" sz="1400" noProof="0" dirty="0"/>
            </a:br>
            <a:r>
              <a:rPr lang="en-US" sz="1400" noProof="0" dirty="0"/>
              <a:t>(AAP)</a:t>
            </a:r>
            <a:r>
              <a:rPr lang="en-US" sz="1400" baseline="30000" dirty="0"/>
              <a:t>1</a:t>
            </a:r>
            <a:endParaRPr lang="en-US" sz="1400" noProof="0" dirty="0"/>
          </a:p>
        </p:txBody>
      </p:sp>
      <p:sp>
        <p:nvSpPr>
          <p:cNvPr id="32" name="Oval 31">
            <a:extLst>
              <a:ext uri="{FF2B5EF4-FFF2-40B4-BE49-F238E27FC236}">
                <a16:creationId xmlns:a16="http://schemas.microsoft.com/office/drawing/2014/main" id="{6D09D705-309C-1361-8EFB-3D342F416342}"/>
              </a:ext>
            </a:extLst>
          </p:cNvPr>
          <p:cNvSpPr/>
          <p:nvPr/>
        </p:nvSpPr>
        <p:spPr>
          <a:xfrm>
            <a:off x="8671510" y="1620099"/>
            <a:ext cx="2866176" cy="286617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spcAft>
                <a:spcPts val="600"/>
              </a:spcAft>
              <a:defRPr/>
            </a:pPr>
            <a:r>
              <a:rPr lang="en-US" sz="1400" noProof="0" dirty="0"/>
              <a:t>Limiting </a:t>
            </a:r>
            <a:br>
              <a:rPr lang="en-US" sz="1400" noProof="0" dirty="0"/>
            </a:br>
            <a:r>
              <a:rPr lang="en-US" sz="1400" noProof="0" dirty="0"/>
              <a:t>non-academic screen </a:t>
            </a:r>
            <a:br>
              <a:rPr lang="en-US" sz="1400" noProof="0" dirty="0"/>
            </a:br>
            <a:r>
              <a:rPr lang="en-US" sz="1400" noProof="0" dirty="0"/>
              <a:t>time to 1–2 hours/day and decreasing other sedentary behaviors, e.g., digital activities (ENDO/AAP), and television prior to age 2</a:t>
            </a:r>
            <a:r>
              <a:rPr lang="en-US" sz="1400" baseline="30000" noProof="0" dirty="0"/>
              <a:t>1,2</a:t>
            </a:r>
          </a:p>
        </p:txBody>
      </p:sp>
      <p:sp>
        <p:nvSpPr>
          <p:cNvPr id="34" name="Oval 33">
            <a:extLst>
              <a:ext uri="{FF2B5EF4-FFF2-40B4-BE49-F238E27FC236}">
                <a16:creationId xmlns:a16="http://schemas.microsoft.com/office/drawing/2014/main" id="{C6659FED-C1DE-CCA6-9CB5-558E472F8C00}"/>
              </a:ext>
            </a:extLst>
          </p:cNvPr>
          <p:cNvSpPr/>
          <p:nvPr/>
        </p:nvSpPr>
        <p:spPr>
          <a:xfrm>
            <a:off x="3878892" y="4670355"/>
            <a:ext cx="1283968" cy="1283968"/>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fontAlgn="base">
              <a:spcBef>
                <a:spcPct val="50000"/>
              </a:spcBef>
              <a:spcAft>
                <a:spcPct val="0"/>
              </a:spcAft>
              <a:defRPr sz="1200" b="1" i="0" u="none" strike="noStrike" kern="1200" baseline="0">
                <a:solidFill>
                  <a:srgbClr val="001965"/>
                </a:solidFill>
                <a:latin typeface="+mn-lt"/>
                <a:ea typeface="+mn-ea"/>
                <a:cs typeface="+mn-cs"/>
              </a:defRPr>
            </a:pPr>
            <a:endParaRPr lang="en-US" sz="2400" b="1" baseline="30000" noProof="0" dirty="0">
              <a:solidFill>
                <a:srgbClr val="FFFFFF"/>
              </a:solidFill>
            </a:endParaRPr>
          </a:p>
        </p:txBody>
      </p:sp>
      <p:pic>
        <p:nvPicPr>
          <p:cNvPr id="36" name="Graphic 35">
            <a:extLst>
              <a:ext uri="{FF2B5EF4-FFF2-40B4-BE49-F238E27FC236}">
                <a16:creationId xmlns:a16="http://schemas.microsoft.com/office/drawing/2014/main" id="{A2D9BEC5-2F25-E38B-02F6-CC67028C03DA}"/>
              </a:ext>
            </a:extLst>
          </p:cNvPr>
          <p:cNvPicPr>
            <a:picLocks noChangeAspect="1"/>
          </p:cNvPicPr>
          <p:nvPr/>
        </p:nvPicPr>
        <p:blipFill>
          <a:blip r:embed="rId3">
            <a:extLst>
              <a:ext uri="{96DAC541-7B7A-43D3-8B79-37D633B846F1}">
                <asvg:svgBlip xmlns:asvg="http://schemas.microsoft.com/office/drawing/2016/SVG/main" r:embed="rId4"/>
              </a:ext>
            </a:extLst>
          </a:blip>
          <a:srcRect l="19" r="19"/>
          <a:stretch/>
        </p:blipFill>
        <p:spPr>
          <a:xfrm>
            <a:off x="4033421" y="4833444"/>
            <a:ext cx="976461" cy="976840"/>
          </a:xfrm>
          <a:prstGeom prst="rect">
            <a:avLst/>
          </a:prstGeom>
        </p:spPr>
      </p:pic>
      <p:sp>
        <p:nvSpPr>
          <p:cNvPr id="4" name="Oval 3">
            <a:extLst>
              <a:ext uri="{FF2B5EF4-FFF2-40B4-BE49-F238E27FC236}">
                <a16:creationId xmlns:a16="http://schemas.microsoft.com/office/drawing/2014/main" id="{A1148441-57B7-5DFA-2E4E-E0C659D7D1F2}"/>
              </a:ext>
            </a:extLst>
          </p:cNvPr>
          <p:cNvSpPr/>
          <p:nvPr/>
        </p:nvSpPr>
        <p:spPr>
          <a:xfrm>
            <a:off x="4858071" y="3810585"/>
            <a:ext cx="2142804" cy="2142804"/>
          </a:xfrm>
          <a:prstGeom prst="ellipse">
            <a:avLst/>
          </a:prstGeom>
          <a:solidFill>
            <a:schemeClr val="accent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spcAft>
                <a:spcPts val="600"/>
              </a:spcAft>
              <a:defRPr/>
            </a:pPr>
            <a:r>
              <a:rPr lang="en-US" sz="1400" noProof="0" dirty="0"/>
              <a:t>At least 20 </a:t>
            </a:r>
            <a:br>
              <a:rPr lang="en-US" sz="1400" noProof="0" dirty="0"/>
            </a:br>
            <a:r>
              <a:rPr lang="en-US" sz="1400" noProof="0" dirty="0"/>
              <a:t>minutes (optimally </a:t>
            </a:r>
            <a:br>
              <a:rPr lang="en-US" sz="1400" noProof="0" dirty="0"/>
            </a:br>
            <a:r>
              <a:rPr lang="en-US" sz="1400" noProof="0" dirty="0"/>
              <a:t>60 minutes) of vigorous physical activity </a:t>
            </a:r>
            <a:br>
              <a:rPr lang="en-US" sz="1400" noProof="0" dirty="0"/>
            </a:br>
            <a:r>
              <a:rPr lang="en-US" sz="1400" noProof="0" dirty="0"/>
              <a:t>≥5 days/week (ENDO)</a:t>
            </a:r>
            <a:r>
              <a:rPr lang="en-US" sz="1400" baseline="30000" dirty="0"/>
              <a:t>2</a:t>
            </a:r>
            <a:endParaRPr lang="en-US" sz="1400" baseline="30000" noProof="0" dirty="0"/>
          </a:p>
        </p:txBody>
      </p:sp>
      <p:sp>
        <p:nvSpPr>
          <p:cNvPr id="5" name="Oval 4">
            <a:extLst>
              <a:ext uri="{FF2B5EF4-FFF2-40B4-BE49-F238E27FC236}">
                <a16:creationId xmlns:a16="http://schemas.microsoft.com/office/drawing/2014/main" id="{3FFC82ED-542C-2872-F910-1264A11BB945}"/>
              </a:ext>
            </a:extLst>
          </p:cNvPr>
          <p:cNvSpPr/>
          <p:nvPr/>
        </p:nvSpPr>
        <p:spPr>
          <a:xfrm>
            <a:off x="9303071" y="3966160"/>
            <a:ext cx="2384104" cy="2384104"/>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spcAft>
                <a:spcPts val="600"/>
              </a:spcAft>
              <a:defRPr/>
            </a:pPr>
            <a:r>
              <a:rPr lang="en-US" sz="1400" noProof="0" dirty="0"/>
              <a:t>Balancing unavoidable technology-related screen time in children and adolescents with increased opportunities for </a:t>
            </a:r>
            <a:br>
              <a:rPr lang="en-US" sz="1400" noProof="0" dirty="0"/>
            </a:br>
            <a:r>
              <a:rPr lang="en-US" sz="1400" noProof="0" dirty="0"/>
              <a:t>physical activity </a:t>
            </a:r>
            <a:br>
              <a:rPr lang="en-US" sz="1400" noProof="0" dirty="0"/>
            </a:br>
            <a:r>
              <a:rPr lang="en-US" sz="1400" noProof="0" dirty="0"/>
              <a:t>(ENDO)</a:t>
            </a:r>
            <a:r>
              <a:rPr lang="en-US" sz="1400" baseline="30000" dirty="0"/>
              <a:t>2</a:t>
            </a:r>
            <a:r>
              <a:rPr lang="en-US" sz="1400" noProof="0" dirty="0"/>
              <a:t> </a:t>
            </a:r>
          </a:p>
        </p:txBody>
      </p:sp>
      <p:sp>
        <p:nvSpPr>
          <p:cNvPr id="33" name="Oval 32">
            <a:extLst>
              <a:ext uri="{FF2B5EF4-FFF2-40B4-BE49-F238E27FC236}">
                <a16:creationId xmlns:a16="http://schemas.microsoft.com/office/drawing/2014/main" id="{DF2F03A6-1769-9B1B-6A19-D13EE8892B00}"/>
              </a:ext>
            </a:extLst>
          </p:cNvPr>
          <p:cNvSpPr/>
          <p:nvPr/>
        </p:nvSpPr>
        <p:spPr>
          <a:xfrm>
            <a:off x="8308159" y="4607377"/>
            <a:ext cx="1283968" cy="1283968"/>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fontAlgn="base">
              <a:spcBef>
                <a:spcPct val="50000"/>
              </a:spcBef>
              <a:spcAft>
                <a:spcPct val="0"/>
              </a:spcAft>
              <a:defRPr sz="1200" b="1" i="0" u="none" strike="noStrike" kern="1200" baseline="0">
                <a:solidFill>
                  <a:srgbClr val="001965"/>
                </a:solidFill>
                <a:latin typeface="+mn-lt"/>
                <a:ea typeface="+mn-ea"/>
                <a:cs typeface="+mn-cs"/>
              </a:defRPr>
            </a:pPr>
            <a:endParaRPr lang="en-US" sz="2400" b="1" baseline="30000" noProof="0" dirty="0">
              <a:solidFill>
                <a:srgbClr val="FFFFFF"/>
              </a:solidFill>
            </a:endParaRPr>
          </a:p>
        </p:txBody>
      </p:sp>
      <p:pic>
        <p:nvPicPr>
          <p:cNvPr id="35" name="Graphic 34">
            <a:extLst>
              <a:ext uri="{FF2B5EF4-FFF2-40B4-BE49-F238E27FC236}">
                <a16:creationId xmlns:a16="http://schemas.microsoft.com/office/drawing/2014/main" id="{F4459AE9-4BE0-D5B6-1077-5306C211EE7F}"/>
              </a:ext>
            </a:extLst>
          </p:cNvPr>
          <p:cNvPicPr>
            <a:picLocks noChangeAspect="1"/>
          </p:cNvPicPr>
          <p:nvPr/>
        </p:nvPicPr>
        <p:blipFill>
          <a:blip r:embed="rId5">
            <a:extLst>
              <a:ext uri="{96DAC541-7B7A-43D3-8B79-37D633B846F1}">
                <asvg:svgBlip xmlns:asvg="http://schemas.microsoft.com/office/drawing/2016/SVG/main" r:embed="rId6"/>
              </a:ext>
            </a:extLst>
          </a:blip>
          <a:srcRect l="23" r="23"/>
          <a:stretch/>
        </p:blipFill>
        <p:spPr>
          <a:xfrm>
            <a:off x="8553435" y="4810125"/>
            <a:ext cx="837810" cy="838200"/>
          </a:xfrm>
          <a:prstGeom prst="rect">
            <a:avLst/>
          </a:prstGeom>
        </p:spPr>
      </p:pic>
      <p:sp>
        <p:nvSpPr>
          <p:cNvPr id="37" name="Oval 36">
            <a:extLst>
              <a:ext uri="{FF2B5EF4-FFF2-40B4-BE49-F238E27FC236}">
                <a16:creationId xmlns:a16="http://schemas.microsoft.com/office/drawing/2014/main" id="{7F912D71-81F6-567D-19DB-47484DDDCDC6}"/>
              </a:ext>
            </a:extLst>
          </p:cNvPr>
          <p:cNvSpPr/>
          <p:nvPr/>
        </p:nvSpPr>
        <p:spPr>
          <a:xfrm>
            <a:off x="5164909" y="2807152"/>
            <a:ext cx="1283968" cy="1283968"/>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fontAlgn="base">
              <a:spcBef>
                <a:spcPct val="50000"/>
              </a:spcBef>
              <a:spcAft>
                <a:spcPct val="0"/>
              </a:spcAft>
              <a:defRPr sz="1200" b="1" i="0" u="none" strike="noStrike" kern="1200" baseline="0">
                <a:solidFill>
                  <a:srgbClr val="001965"/>
                </a:solidFill>
                <a:latin typeface="+mn-lt"/>
                <a:ea typeface="+mn-ea"/>
                <a:cs typeface="+mn-cs"/>
              </a:defRPr>
            </a:pPr>
            <a:endParaRPr lang="en-US" sz="2400" b="1" baseline="30000" noProof="0" dirty="0">
              <a:solidFill>
                <a:srgbClr val="FFFFFF"/>
              </a:solidFill>
            </a:endParaRPr>
          </a:p>
        </p:txBody>
      </p:sp>
      <p:pic>
        <p:nvPicPr>
          <p:cNvPr id="38" name="Graphic 37">
            <a:extLst>
              <a:ext uri="{FF2B5EF4-FFF2-40B4-BE49-F238E27FC236}">
                <a16:creationId xmlns:a16="http://schemas.microsoft.com/office/drawing/2014/main" id="{87223534-3919-30D6-1428-1646F7BEFE20}"/>
              </a:ext>
            </a:extLst>
          </p:cNvPr>
          <p:cNvPicPr>
            <a:picLocks noChangeAspect="1"/>
          </p:cNvPicPr>
          <p:nvPr/>
        </p:nvPicPr>
        <p:blipFill>
          <a:blip r:embed="rId7">
            <a:extLst>
              <a:ext uri="{96DAC541-7B7A-43D3-8B79-37D633B846F1}">
                <asvg:svgBlip xmlns:asvg="http://schemas.microsoft.com/office/drawing/2016/SVG/main" r:embed="rId8"/>
              </a:ext>
            </a:extLst>
          </a:blip>
          <a:srcRect l="13" r="13"/>
          <a:stretch/>
        </p:blipFill>
        <p:spPr>
          <a:xfrm>
            <a:off x="5276627" y="2914402"/>
            <a:ext cx="1047974" cy="1048246"/>
          </a:xfrm>
          <a:prstGeom prst="rect">
            <a:avLst/>
          </a:prstGeom>
        </p:spPr>
      </p:pic>
      <p:pic>
        <p:nvPicPr>
          <p:cNvPr id="6" name="Graphic 5">
            <a:extLst>
              <a:ext uri="{FF2B5EF4-FFF2-40B4-BE49-F238E27FC236}">
                <a16:creationId xmlns:a16="http://schemas.microsoft.com/office/drawing/2014/main" id="{07D8DC61-04BF-F5ED-6C0A-D273F002132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784505" y="4422573"/>
            <a:ext cx="690276" cy="690276"/>
          </a:xfrm>
          <a:prstGeom prst="rect">
            <a:avLst/>
          </a:prstGeom>
        </p:spPr>
      </p:pic>
      <p:pic>
        <p:nvPicPr>
          <p:cNvPr id="8" name="Graphic 7">
            <a:extLst>
              <a:ext uri="{FF2B5EF4-FFF2-40B4-BE49-F238E27FC236}">
                <a16:creationId xmlns:a16="http://schemas.microsoft.com/office/drawing/2014/main" id="{03981795-BBF5-4730-2C53-B9DF9A7BD78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7585364" y="4422573"/>
            <a:ext cx="690276" cy="690276"/>
          </a:xfrm>
          <a:prstGeom prst="rect">
            <a:avLst/>
          </a:prstGeom>
        </p:spPr>
      </p:pic>
      <p:pic>
        <p:nvPicPr>
          <p:cNvPr id="9" name="Graphic 8">
            <a:extLst>
              <a:ext uri="{FF2B5EF4-FFF2-40B4-BE49-F238E27FC236}">
                <a16:creationId xmlns:a16="http://schemas.microsoft.com/office/drawing/2014/main" id="{79799F7E-0C98-EF07-D5E9-182AF276B11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784505" y="2498523"/>
            <a:ext cx="690276" cy="690276"/>
          </a:xfrm>
          <a:prstGeom prst="rect">
            <a:avLst/>
          </a:prstGeom>
        </p:spPr>
      </p:pic>
      <p:pic>
        <p:nvPicPr>
          <p:cNvPr id="10" name="Graphic 9">
            <a:extLst>
              <a:ext uri="{FF2B5EF4-FFF2-40B4-BE49-F238E27FC236}">
                <a16:creationId xmlns:a16="http://schemas.microsoft.com/office/drawing/2014/main" id="{0C197F3C-4639-3A00-A778-CD5E2E1D56C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7585364" y="2488998"/>
            <a:ext cx="690276" cy="690276"/>
          </a:xfrm>
          <a:prstGeom prst="rect">
            <a:avLst/>
          </a:prstGeom>
        </p:spPr>
      </p:pic>
    </p:spTree>
    <p:extLst>
      <p:ext uri="{BB962C8B-B14F-4D97-AF65-F5344CB8AC3E}">
        <p14:creationId xmlns:p14="http://schemas.microsoft.com/office/powerpoint/2010/main" val="193444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F27EF-9687-F0EE-774F-C16C8BE90D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C6152FD-6CD8-B648-F455-88EC64DFDA28}"/>
              </a:ext>
            </a:extLst>
          </p:cNvPr>
          <p:cNvSpPr>
            <a:spLocks noGrp="1"/>
          </p:cNvSpPr>
          <p:nvPr>
            <p:ph type="title"/>
          </p:nvPr>
        </p:nvSpPr>
        <p:spPr>
          <a:xfrm>
            <a:off x="536240" y="414320"/>
            <a:ext cx="10896000" cy="1082209"/>
          </a:xfrm>
        </p:spPr>
        <p:txBody>
          <a:bodyPr>
            <a:noAutofit/>
          </a:bodyPr>
          <a:lstStyle/>
          <a:p>
            <a:r>
              <a:rPr lang="en-US" noProof="0" dirty="0"/>
              <a:t>Family-centered interventions</a:t>
            </a:r>
          </a:p>
        </p:txBody>
      </p:sp>
      <p:sp>
        <p:nvSpPr>
          <p:cNvPr id="3" name="Text Placeholder 2">
            <a:extLst>
              <a:ext uri="{FF2B5EF4-FFF2-40B4-BE49-F238E27FC236}">
                <a16:creationId xmlns:a16="http://schemas.microsoft.com/office/drawing/2014/main" id="{4A1A6DE5-CD85-58E8-BABA-70D8C88EF41F}"/>
              </a:ext>
            </a:extLst>
          </p:cNvPr>
          <p:cNvSpPr>
            <a:spLocks noGrp="1"/>
          </p:cNvSpPr>
          <p:nvPr>
            <p:ph type="body" sz="quarter" idx="13"/>
          </p:nvPr>
        </p:nvSpPr>
        <p:spPr>
          <a:xfrm>
            <a:off x="536575" y="6019800"/>
            <a:ext cx="10895013" cy="323850"/>
          </a:xfrm>
        </p:spPr>
        <p:txBody>
          <a:bodyPr/>
          <a:lstStyle/>
          <a:p>
            <a:r>
              <a:rPr lang="en-US" noProof="0" dirty="0"/>
              <a:t>AAP, American Academy of Pediatrics; ENDO, Endocrine Society.</a:t>
            </a:r>
            <a:br>
              <a:rPr lang="en-US" noProof="0" dirty="0"/>
            </a:br>
            <a:r>
              <a:rPr lang="en-US" noProof="0" dirty="0"/>
              <a:t>1. Hampl SE et al. Pediatrics 2023;151:e2022060640; 2. Styne DM et al. J Clin Endocrinol Metab 2017;102:709–757.</a:t>
            </a:r>
          </a:p>
        </p:txBody>
      </p:sp>
      <p:sp>
        <p:nvSpPr>
          <p:cNvPr id="23" name="Oval 22">
            <a:extLst>
              <a:ext uri="{FF2B5EF4-FFF2-40B4-BE49-F238E27FC236}">
                <a16:creationId xmlns:a16="http://schemas.microsoft.com/office/drawing/2014/main" id="{9E24A88C-5F7F-7828-3B5D-38241855CD5A}"/>
              </a:ext>
            </a:extLst>
          </p:cNvPr>
          <p:cNvSpPr/>
          <p:nvPr/>
        </p:nvSpPr>
        <p:spPr>
          <a:xfrm>
            <a:off x="172314" y="1996942"/>
            <a:ext cx="3240000" cy="3240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fontAlgn="base">
              <a:spcBef>
                <a:spcPct val="50000"/>
              </a:spcBef>
              <a:spcAft>
                <a:spcPct val="0"/>
              </a:spcAft>
              <a:defRPr sz="1200" b="1" i="0" u="none" strike="noStrike" kern="1200" baseline="0">
                <a:solidFill>
                  <a:srgbClr val="001965"/>
                </a:solidFill>
                <a:latin typeface="+mn-lt"/>
                <a:ea typeface="+mn-ea"/>
                <a:cs typeface="+mn-cs"/>
              </a:defRPr>
            </a:pPr>
            <a:r>
              <a:rPr lang="en-US" sz="2000" b="1" noProof="0" dirty="0">
                <a:solidFill>
                  <a:srgbClr val="FFFFFF"/>
                </a:solidFill>
              </a:rPr>
              <a:t>Parental role modeling of healthy dietary and physical activity behaviors (AAP)</a:t>
            </a:r>
            <a:r>
              <a:rPr lang="en-US" sz="2000" baseline="30000" noProof="0" dirty="0">
                <a:solidFill>
                  <a:srgbClr val="FFFFFF"/>
                </a:solidFill>
              </a:rPr>
              <a:t>1</a:t>
            </a:r>
          </a:p>
        </p:txBody>
      </p:sp>
      <p:sp>
        <p:nvSpPr>
          <p:cNvPr id="24" name="Oval 23">
            <a:extLst>
              <a:ext uri="{FF2B5EF4-FFF2-40B4-BE49-F238E27FC236}">
                <a16:creationId xmlns:a16="http://schemas.microsoft.com/office/drawing/2014/main" id="{C5E9FFDE-5292-CAC5-0FAD-AB2B5B62DE94}"/>
              </a:ext>
            </a:extLst>
          </p:cNvPr>
          <p:cNvSpPr/>
          <p:nvPr/>
        </p:nvSpPr>
        <p:spPr>
          <a:xfrm>
            <a:off x="5692948" y="1996942"/>
            <a:ext cx="3240000" cy="3240000"/>
          </a:xfrm>
          <a:prstGeom prst="ellipse">
            <a:avLst/>
          </a:prstGeom>
          <a:solidFill>
            <a:srgbClr val="005AD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fontAlgn="base">
              <a:spcBef>
                <a:spcPct val="50000"/>
              </a:spcBef>
              <a:spcAft>
                <a:spcPct val="0"/>
              </a:spcAft>
              <a:defRPr sz="1200" b="1" i="0" u="none" strike="noStrike" kern="1200" baseline="0">
                <a:solidFill>
                  <a:srgbClr val="001965"/>
                </a:solidFill>
                <a:latin typeface="+mn-lt"/>
                <a:ea typeface="+mn-ea"/>
                <a:cs typeface="+mn-cs"/>
              </a:defRPr>
            </a:pPr>
            <a:r>
              <a:rPr lang="en-US" sz="2000" b="1" noProof="0" dirty="0">
                <a:solidFill>
                  <a:srgbClr val="FFFFFF"/>
                </a:solidFill>
              </a:rPr>
              <a:t>Educate families about healthy </a:t>
            </a:r>
            <a:br>
              <a:rPr lang="en-US" sz="2000" b="1" noProof="0" dirty="0">
                <a:solidFill>
                  <a:srgbClr val="FFFFFF"/>
                </a:solidFill>
              </a:rPr>
            </a:br>
            <a:r>
              <a:rPr lang="en-US" sz="2000" b="1" noProof="0" dirty="0">
                <a:solidFill>
                  <a:srgbClr val="FFFFFF"/>
                </a:solidFill>
              </a:rPr>
              <a:t>food and exercise</a:t>
            </a:r>
            <a:br>
              <a:rPr lang="en-US" sz="2000" b="1" noProof="0" dirty="0">
                <a:solidFill>
                  <a:srgbClr val="FFFFFF"/>
                </a:solidFill>
              </a:rPr>
            </a:br>
            <a:r>
              <a:rPr lang="en-US" sz="2000" b="1" noProof="0" dirty="0">
                <a:solidFill>
                  <a:srgbClr val="FFFFFF"/>
                </a:solidFill>
              </a:rPr>
              <a:t>habits (ENDO)</a:t>
            </a:r>
            <a:r>
              <a:rPr lang="en-US" sz="2000" baseline="30000" noProof="0" dirty="0">
                <a:solidFill>
                  <a:srgbClr val="FFFFFF"/>
                </a:solidFill>
              </a:rPr>
              <a:t>2</a:t>
            </a:r>
            <a:r>
              <a:rPr lang="en-US" sz="2000" b="1" noProof="0" dirty="0">
                <a:solidFill>
                  <a:srgbClr val="FFFFFF"/>
                </a:solidFill>
              </a:rPr>
              <a:t> </a:t>
            </a:r>
          </a:p>
        </p:txBody>
      </p:sp>
      <p:sp>
        <p:nvSpPr>
          <p:cNvPr id="25" name="Oval 24">
            <a:extLst>
              <a:ext uri="{FF2B5EF4-FFF2-40B4-BE49-F238E27FC236}">
                <a16:creationId xmlns:a16="http://schemas.microsoft.com/office/drawing/2014/main" id="{9337D9F0-39E5-6FB2-D99D-51CD748A85A2}"/>
              </a:ext>
            </a:extLst>
          </p:cNvPr>
          <p:cNvSpPr/>
          <p:nvPr/>
        </p:nvSpPr>
        <p:spPr>
          <a:xfrm>
            <a:off x="2896631" y="2266942"/>
            <a:ext cx="3312000" cy="2700000"/>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spcAft>
                <a:spcPts val="600"/>
              </a:spcAft>
              <a:defRPr/>
            </a:pPr>
            <a:endParaRPr lang="en-US" sz="1600" dirty="0">
              <a:solidFill>
                <a:schemeClr val="bg1"/>
              </a:solidFill>
            </a:endParaRPr>
          </a:p>
          <a:p>
            <a:pPr lvl="0" algn="ctr" fontAlgn="base">
              <a:spcAft>
                <a:spcPts val="600"/>
              </a:spcAft>
              <a:defRPr/>
            </a:pPr>
            <a:r>
              <a:rPr lang="en-US" sz="1600" dirty="0">
                <a:solidFill>
                  <a:schemeClr val="bg1"/>
                </a:solidFill>
              </a:rPr>
              <a:t>Enlist the entire family, prescribing and supporting intensive, age-appropriate, culturally sensitive, family-centered lifestyle modifications (dietary, physical activity, behavioral) </a:t>
            </a:r>
            <a:br>
              <a:rPr lang="en-US" sz="1600" dirty="0">
                <a:solidFill>
                  <a:schemeClr val="bg1"/>
                </a:solidFill>
              </a:rPr>
            </a:br>
            <a:r>
              <a:rPr lang="en-US" sz="1600" dirty="0">
                <a:solidFill>
                  <a:schemeClr val="bg1"/>
                </a:solidFill>
              </a:rPr>
              <a:t>(ENDO)</a:t>
            </a:r>
            <a:r>
              <a:rPr lang="en-US" sz="1600" baseline="30000" dirty="0">
                <a:solidFill>
                  <a:schemeClr val="bg1"/>
                </a:solidFill>
              </a:rPr>
              <a:t>2</a:t>
            </a:r>
          </a:p>
        </p:txBody>
      </p:sp>
      <p:sp>
        <p:nvSpPr>
          <p:cNvPr id="26" name="Oval 25">
            <a:extLst>
              <a:ext uri="{FF2B5EF4-FFF2-40B4-BE49-F238E27FC236}">
                <a16:creationId xmlns:a16="http://schemas.microsoft.com/office/drawing/2014/main" id="{2E09D0CA-5C6A-3FE6-5C18-A3046E6A09BA}"/>
              </a:ext>
            </a:extLst>
          </p:cNvPr>
          <p:cNvSpPr/>
          <p:nvPr/>
        </p:nvSpPr>
        <p:spPr>
          <a:xfrm>
            <a:off x="8417264" y="2266942"/>
            <a:ext cx="3312000" cy="2700000"/>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spcAft>
                <a:spcPts val="600"/>
              </a:spcAft>
              <a:defRPr/>
            </a:pPr>
            <a:r>
              <a:rPr lang="en-US" sz="1600" noProof="0" dirty="0"/>
              <a:t>Diagnose unhealthy </a:t>
            </a:r>
            <a:br>
              <a:rPr lang="en-US" sz="1600" noProof="0" dirty="0"/>
            </a:br>
            <a:r>
              <a:rPr lang="en-US" sz="1600" noProof="0" dirty="0"/>
              <a:t>intra-family communication patterns and support rearing patterns to enhance the child’s or adolescent’s self-esteem (ENDO)</a:t>
            </a:r>
            <a:r>
              <a:rPr lang="en-US" sz="1600" baseline="30000" noProof="0" dirty="0"/>
              <a:t>2</a:t>
            </a:r>
          </a:p>
        </p:txBody>
      </p:sp>
      <p:grpSp>
        <p:nvGrpSpPr>
          <p:cNvPr id="10" name="Group 9">
            <a:extLst>
              <a:ext uri="{FF2B5EF4-FFF2-40B4-BE49-F238E27FC236}">
                <a16:creationId xmlns:a16="http://schemas.microsoft.com/office/drawing/2014/main" id="{093916D7-E861-F3ED-1A31-C36DCA9CE8A8}"/>
              </a:ext>
            </a:extLst>
          </p:cNvPr>
          <p:cNvGrpSpPr/>
          <p:nvPr/>
        </p:nvGrpSpPr>
        <p:grpSpPr>
          <a:xfrm>
            <a:off x="7995920" y="1661998"/>
            <a:ext cx="1283968" cy="1283968"/>
            <a:chOff x="8736784" y="4645477"/>
            <a:chExt cx="1283968" cy="1283968"/>
          </a:xfrm>
        </p:grpSpPr>
        <p:sp>
          <p:nvSpPr>
            <p:cNvPr id="28" name="Oval 27">
              <a:extLst>
                <a:ext uri="{FF2B5EF4-FFF2-40B4-BE49-F238E27FC236}">
                  <a16:creationId xmlns:a16="http://schemas.microsoft.com/office/drawing/2014/main" id="{2A4A8475-2661-CF4F-D6AF-9925975F9279}"/>
                </a:ext>
              </a:extLst>
            </p:cNvPr>
            <p:cNvSpPr/>
            <p:nvPr/>
          </p:nvSpPr>
          <p:spPr>
            <a:xfrm>
              <a:off x="8736784" y="4645477"/>
              <a:ext cx="1283968" cy="1283968"/>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fontAlgn="base">
                <a:spcBef>
                  <a:spcPct val="50000"/>
                </a:spcBef>
                <a:spcAft>
                  <a:spcPct val="0"/>
                </a:spcAft>
                <a:defRPr sz="1200" b="1" i="0" u="none" strike="noStrike" kern="1200" baseline="0">
                  <a:solidFill>
                    <a:srgbClr val="001965"/>
                  </a:solidFill>
                  <a:latin typeface="+mn-lt"/>
                  <a:ea typeface="+mn-ea"/>
                  <a:cs typeface="+mn-cs"/>
                </a:defRPr>
              </a:pPr>
              <a:endParaRPr lang="en-US" sz="2400" b="1" baseline="30000" noProof="0" dirty="0">
                <a:solidFill>
                  <a:srgbClr val="FFFFFF"/>
                </a:solidFill>
              </a:endParaRPr>
            </a:p>
          </p:txBody>
        </p:sp>
        <p:pic>
          <p:nvPicPr>
            <p:cNvPr id="34" name="Graphic 33">
              <a:extLst>
                <a:ext uri="{FF2B5EF4-FFF2-40B4-BE49-F238E27FC236}">
                  <a16:creationId xmlns:a16="http://schemas.microsoft.com/office/drawing/2014/main" id="{666663CA-EC3F-2878-3AF7-AE49A629FD15}"/>
                </a:ext>
              </a:extLst>
            </p:cNvPr>
            <p:cNvPicPr>
              <a:picLocks noChangeAspect="1"/>
            </p:cNvPicPr>
            <p:nvPr/>
          </p:nvPicPr>
          <p:blipFill>
            <a:blip r:embed="rId3">
              <a:extLst>
                <a:ext uri="{96DAC541-7B7A-43D3-8B79-37D633B846F1}">
                  <asvg:svgBlip xmlns:asvg="http://schemas.microsoft.com/office/drawing/2016/SVG/main" r:embed="rId4"/>
                </a:ext>
              </a:extLst>
            </a:blip>
            <a:srcRect l="19" r="19"/>
            <a:stretch/>
          </p:blipFill>
          <p:spPr>
            <a:xfrm>
              <a:off x="8829731" y="4676775"/>
              <a:ext cx="1142554" cy="1143000"/>
            </a:xfrm>
            <a:prstGeom prst="rect">
              <a:avLst/>
            </a:prstGeom>
          </p:spPr>
        </p:pic>
      </p:grpSp>
      <p:grpSp>
        <p:nvGrpSpPr>
          <p:cNvPr id="6" name="Group 5">
            <a:extLst>
              <a:ext uri="{FF2B5EF4-FFF2-40B4-BE49-F238E27FC236}">
                <a16:creationId xmlns:a16="http://schemas.microsoft.com/office/drawing/2014/main" id="{607F5862-484B-8856-3CBC-FE556FC7AB06}"/>
              </a:ext>
            </a:extLst>
          </p:cNvPr>
          <p:cNvGrpSpPr/>
          <p:nvPr/>
        </p:nvGrpSpPr>
        <p:grpSpPr>
          <a:xfrm>
            <a:off x="2350584" y="1661998"/>
            <a:ext cx="1283968" cy="1283968"/>
            <a:chOff x="2964634" y="4569277"/>
            <a:chExt cx="1283968" cy="1283968"/>
          </a:xfrm>
        </p:grpSpPr>
        <p:sp>
          <p:nvSpPr>
            <p:cNvPr id="32" name="Oval 31">
              <a:extLst>
                <a:ext uri="{FF2B5EF4-FFF2-40B4-BE49-F238E27FC236}">
                  <a16:creationId xmlns:a16="http://schemas.microsoft.com/office/drawing/2014/main" id="{E09EDD25-43A3-6763-DBC6-AE0C3E3074AC}"/>
                </a:ext>
              </a:extLst>
            </p:cNvPr>
            <p:cNvSpPr/>
            <p:nvPr/>
          </p:nvSpPr>
          <p:spPr>
            <a:xfrm>
              <a:off x="2964634" y="4569277"/>
              <a:ext cx="1283968" cy="1283968"/>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fontAlgn="base">
                <a:spcBef>
                  <a:spcPct val="50000"/>
                </a:spcBef>
                <a:spcAft>
                  <a:spcPct val="0"/>
                </a:spcAft>
                <a:defRPr sz="1200" b="1" i="0" u="none" strike="noStrike" kern="1200" baseline="0">
                  <a:solidFill>
                    <a:srgbClr val="001965"/>
                  </a:solidFill>
                  <a:latin typeface="+mn-lt"/>
                  <a:ea typeface="+mn-ea"/>
                  <a:cs typeface="+mn-cs"/>
                </a:defRPr>
              </a:pPr>
              <a:endParaRPr lang="en-US" sz="2400" b="1" baseline="30000" noProof="0" dirty="0">
                <a:solidFill>
                  <a:srgbClr val="FFFFFF"/>
                </a:solidFill>
              </a:endParaRPr>
            </a:p>
          </p:txBody>
        </p:sp>
        <p:pic>
          <p:nvPicPr>
            <p:cNvPr id="31" name="Graphic 30">
              <a:extLst>
                <a:ext uri="{FF2B5EF4-FFF2-40B4-BE49-F238E27FC236}">
                  <a16:creationId xmlns:a16="http://schemas.microsoft.com/office/drawing/2014/main" id="{AEC9FD8F-81B5-B756-6B4D-9C7982732A0E}"/>
                </a:ext>
              </a:extLst>
            </p:cNvPr>
            <p:cNvPicPr>
              <a:picLocks noChangeAspect="1"/>
            </p:cNvPicPr>
            <p:nvPr/>
          </p:nvPicPr>
          <p:blipFill>
            <a:blip r:embed="rId5">
              <a:extLst>
                <a:ext uri="{96DAC541-7B7A-43D3-8B79-37D633B846F1}">
                  <asvg:svgBlip xmlns:asvg="http://schemas.microsoft.com/office/drawing/2016/SVG/main" r:embed="rId6"/>
                </a:ext>
              </a:extLst>
            </a:blip>
            <a:srcRect l="13" r="13"/>
            <a:stretch/>
          </p:blipFill>
          <p:spPr>
            <a:xfrm>
              <a:off x="3109638" y="4722841"/>
              <a:ext cx="976588" cy="976840"/>
            </a:xfrm>
            <a:prstGeom prst="rect">
              <a:avLst/>
            </a:prstGeom>
          </p:spPr>
        </p:pic>
      </p:grpSp>
      <p:grpSp>
        <p:nvGrpSpPr>
          <p:cNvPr id="9" name="Group 8">
            <a:extLst>
              <a:ext uri="{FF2B5EF4-FFF2-40B4-BE49-F238E27FC236}">
                <a16:creationId xmlns:a16="http://schemas.microsoft.com/office/drawing/2014/main" id="{D80B27FA-6F1D-7069-3F09-0454C6099A10}"/>
              </a:ext>
            </a:extLst>
          </p:cNvPr>
          <p:cNvGrpSpPr/>
          <p:nvPr/>
        </p:nvGrpSpPr>
        <p:grpSpPr>
          <a:xfrm>
            <a:off x="5237912" y="4359436"/>
            <a:ext cx="1283968" cy="1283968"/>
            <a:chOff x="5564959" y="1930852"/>
            <a:chExt cx="1283968" cy="1283968"/>
          </a:xfrm>
        </p:grpSpPr>
        <p:sp>
          <p:nvSpPr>
            <p:cNvPr id="35" name="Oval 34">
              <a:extLst>
                <a:ext uri="{FF2B5EF4-FFF2-40B4-BE49-F238E27FC236}">
                  <a16:creationId xmlns:a16="http://schemas.microsoft.com/office/drawing/2014/main" id="{9C503528-F717-5709-0880-535AB637082F}"/>
                </a:ext>
              </a:extLst>
            </p:cNvPr>
            <p:cNvSpPr/>
            <p:nvPr/>
          </p:nvSpPr>
          <p:spPr>
            <a:xfrm>
              <a:off x="5564959" y="1930852"/>
              <a:ext cx="1283968" cy="1283968"/>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fontAlgn="base">
                <a:spcBef>
                  <a:spcPct val="50000"/>
                </a:spcBef>
                <a:spcAft>
                  <a:spcPct val="0"/>
                </a:spcAft>
                <a:defRPr sz="1200" b="1" i="0" u="none" strike="noStrike" kern="1200" baseline="0">
                  <a:solidFill>
                    <a:srgbClr val="001965"/>
                  </a:solidFill>
                  <a:latin typeface="+mn-lt"/>
                  <a:ea typeface="+mn-ea"/>
                  <a:cs typeface="+mn-cs"/>
                </a:defRPr>
              </a:pPr>
              <a:endParaRPr lang="en-US" sz="2400" b="1" baseline="30000" noProof="0" dirty="0">
                <a:solidFill>
                  <a:srgbClr val="FFFFFF"/>
                </a:solidFill>
              </a:endParaRPr>
            </a:p>
          </p:txBody>
        </p:sp>
        <p:pic>
          <p:nvPicPr>
            <p:cNvPr id="36" name="Graphic 35">
              <a:extLst>
                <a:ext uri="{FF2B5EF4-FFF2-40B4-BE49-F238E27FC236}">
                  <a16:creationId xmlns:a16="http://schemas.microsoft.com/office/drawing/2014/main" id="{037448F0-35BD-EFE2-DD25-77B31D2C4EA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72150" y="2133600"/>
              <a:ext cx="857250" cy="857250"/>
            </a:xfrm>
            <a:prstGeom prst="rect">
              <a:avLst/>
            </a:prstGeom>
          </p:spPr>
        </p:pic>
      </p:grpSp>
      <p:sp>
        <p:nvSpPr>
          <p:cNvPr id="5" name="TextBox 4">
            <a:extLst>
              <a:ext uri="{FF2B5EF4-FFF2-40B4-BE49-F238E27FC236}">
                <a16:creationId xmlns:a16="http://schemas.microsoft.com/office/drawing/2014/main" id="{89CAA410-4323-0F23-9E31-0E97627696F8}"/>
              </a:ext>
            </a:extLst>
          </p:cNvPr>
          <p:cNvSpPr txBox="1"/>
          <p:nvPr/>
        </p:nvSpPr>
        <p:spPr>
          <a:xfrm>
            <a:off x="8750206" y="4971852"/>
            <a:ext cx="2996830" cy="1341656"/>
          </a:xfrm>
          <a:prstGeom prst="ellipse">
            <a:avLst/>
          </a:prstGeom>
          <a:solidFill>
            <a:schemeClr val="accent6">
              <a:lumMod val="75000"/>
            </a:schemeClr>
          </a:solidFill>
          <a:ln>
            <a:solidFill>
              <a:schemeClr val="bg1"/>
            </a:solidFill>
          </a:ln>
        </p:spPr>
        <p:txBody>
          <a:bodyPr wrap="square">
            <a:spAutoFit/>
          </a:bodyPr>
          <a:lstStyle/>
          <a:p>
            <a:pPr algn="ctr"/>
            <a:r>
              <a:rPr lang="en-US" sz="1400" noProof="0" dirty="0">
                <a:solidFill>
                  <a:schemeClr val="bg1"/>
                </a:solidFill>
                <a:ea typeface="Apis For Office" panose="020B0504010101010104" pitchFamily="34" charset="0"/>
                <a:cs typeface="Apis For Office" panose="020B0504010101010104" pitchFamily="34" charset="0"/>
              </a:rPr>
              <a:t>Discourage fat-shaming by family members or using shame to motivate the child to lose weight</a:t>
            </a:r>
            <a:endParaRPr lang="en-GB" sz="1400" dirty="0"/>
          </a:p>
        </p:txBody>
      </p:sp>
    </p:spTree>
    <p:extLst>
      <p:ext uri="{BB962C8B-B14F-4D97-AF65-F5344CB8AC3E}">
        <p14:creationId xmlns:p14="http://schemas.microsoft.com/office/powerpoint/2010/main" val="2853640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C097E-CDAE-D3EF-FBF9-5AA4F4303D6E}"/>
              </a:ext>
            </a:extLst>
          </p:cNvPr>
          <p:cNvSpPr>
            <a:spLocks noGrp="1"/>
          </p:cNvSpPr>
          <p:nvPr>
            <p:ph type="title"/>
          </p:nvPr>
        </p:nvSpPr>
        <p:spPr/>
        <p:txBody>
          <a:bodyPr>
            <a:noAutofit/>
          </a:bodyPr>
          <a:lstStyle/>
          <a:p>
            <a:r>
              <a:rPr lang="en-US" noProof="0" dirty="0"/>
              <a:t>Other guideline recommendations</a:t>
            </a:r>
          </a:p>
        </p:txBody>
      </p:sp>
      <p:sp>
        <p:nvSpPr>
          <p:cNvPr id="3" name="Text Placeholder 2">
            <a:extLst>
              <a:ext uri="{FF2B5EF4-FFF2-40B4-BE49-F238E27FC236}">
                <a16:creationId xmlns:a16="http://schemas.microsoft.com/office/drawing/2014/main" id="{BC5D0DEB-EFE8-4A65-FB27-5DDD6D5882FE}"/>
              </a:ext>
            </a:extLst>
          </p:cNvPr>
          <p:cNvSpPr>
            <a:spLocks noGrp="1"/>
          </p:cNvSpPr>
          <p:nvPr>
            <p:ph type="body" sz="quarter" idx="13"/>
          </p:nvPr>
        </p:nvSpPr>
        <p:spPr/>
        <p:txBody>
          <a:bodyPr/>
          <a:lstStyle/>
          <a:p>
            <a:r>
              <a:rPr lang="en-US" noProof="0" dirty="0"/>
              <a:t>AAP, American Academy of Pediatrics; ENDO, Endocrine Society.</a:t>
            </a:r>
            <a:br>
              <a:rPr lang="en-US" noProof="0" dirty="0"/>
            </a:br>
            <a:r>
              <a:rPr lang="en-US" noProof="0" dirty="0"/>
              <a:t>1. Styne DM et al. J Clin Endocrinol Metab 2017;102:709–757; 2. Hampl SE et al. Pediatrics 2023;151:e2022060640.</a:t>
            </a:r>
          </a:p>
        </p:txBody>
      </p:sp>
      <p:sp>
        <p:nvSpPr>
          <p:cNvPr id="5" name="Rectangle 4">
            <a:extLst>
              <a:ext uri="{FF2B5EF4-FFF2-40B4-BE49-F238E27FC236}">
                <a16:creationId xmlns:a16="http://schemas.microsoft.com/office/drawing/2014/main" id="{223CCFC6-70C2-4E74-4FC0-6461EC76BAEB}"/>
              </a:ext>
            </a:extLst>
          </p:cNvPr>
          <p:cNvSpPr/>
          <p:nvPr/>
        </p:nvSpPr>
        <p:spPr>
          <a:xfrm>
            <a:off x="6153371" y="1183612"/>
            <a:ext cx="5133754" cy="784830"/>
          </a:xfrm>
          <a:prstGeom prst="rect">
            <a:avLst/>
          </a:prstGeom>
          <a:no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232817" marR="0" lvl="0" indent="0" algn="ctr" defTabSz="1219139" rtl="0" eaLnBrk="1" fontAlgn="base" latinLnBrk="0" hangingPunct="1">
              <a:lnSpc>
                <a:spcPct val="100000"/>
              </a:lnSpc>
              <a:spcBef>
                <a:spcPct val="0"/>
              </a:spcBef>
              <a:spcAft>
                <a:spcPts val="300"/>
              </a:spcAft>
              <a:buClrTx/>
              <a:buSzTx/>
              <a:buFontTx/>
              <a:buNone/>
              <a:tabLst/>
              <a:defRPr/>
            </a:pPr>
            <a:r>
              <a:rPr kumimoji="0" lang="en-US" sz="1700" b="0" i="0" u="none" strike="noStrike" kern="1200" cap="none" spc="0" normalizeH="0" baseline="0" noProof="0" dirty="0">
                <a:ln>
                  <a:noFill/>
                </a:ln>
                <a:solidFill>
                  <a:schemeClr val="tx1"/>
                </a:solidFill>
                <a:effectLst/>
                <a:uLnTx/>
                <a:uFillTx/>
                <a:ea typeface="+mn-ea"/>
                <a:cs typeface="+mn-cs"/>
              </a:rPr>
              <a:t>Use school- and community-based programs </a:t>
            </a:r>
            <a:br>
              <a:rPr kumimoji="0" lang="en-US" sz="1700" b="0" i="0" u="none" strike="noStrike" kern="1200" cap="none" spc="0" normalizeH="0" baseline="0" noProof="0" dirty="0">
                <a:ln>
                  <a:noFill/>
                </a:ln>
                <a:solidFill>
                  <a:schemeClr val="tx1"/>
                </a:solidFill>
                <a:effectLst/>
                <a:uLnTx/>
                <a:uFillTx/>
                <a:ea typeface="+mn-ea"/>
                <a:cs typeface="+mn-cs"/>
              </a:rPr>
            </a:br>
            <a:r>
              <a:rPr kumimoji="0" lang="en-US" sz="1700" b="0" i="0" u="none" strike="noStrike" kern="1200" cap="none" spc="0" normalizeH="0" baseline="0" noProof="0" dirty="0">
                <a:ln>
                  <a:noFill/>
                </a:ln>
                <a:solidFill>
                  <a:schemeClr val="tx1"/>
                </a:solidFill>
                <a:effectLst/>
                <a:uLnTx/>
                <a:uFillTx/>
                <a:ea typeface="+mn-ea"/>
                <a:cs typeface="+mn-cs"/>
              </a:rPr>
              <a:t>to deliver </a:t>
            </a:r>
            <a:r>
              <a:rPr kumimoji="0" lang="en-US" sz="1700" b="1" i="0" u="none" strike="noStrike" kern="1200" cap="none" spc="0" normalizeH="0" baseline="0" noProof="0" dirty="0">
                <a:ln>
                  <a:noFill/>
                </a:ln>
                <a:solidFill>
                  <a:schemeClr val="tx1"/>
                </a:solidFill>
                <a:effectLst/>
                <a:uLnTx/>
                <a:uFillTx/>
                <a:ea typeface="+mn-ea"/>
                <a:cs typeface="+mn-cs"/>
              </a:rPr>
              <a:t>comprehensive behavior </a:t>
            </a:r>
            <a:br>
              <a:rPr kumimoji="0" lang="en-US" sz="1700" b="0" i="0" u="none" strike="noStrike" kern="1200" cap="none" spc="0" normalizeH="0" baseline="0" noProof="0" dirty="0">
                <a:ln>
                  <a:noFill/>
                </a:ln>
                <a:solidFill>
                  <a:schemeClr val="tx1"/>
                </a:solidFill>
                <a:effectLst/>
                <a:uLnTx/>
                <a:uFillTx/>
                <a:ea typeface="+mn-ea"/>
                <a:cs typeface="+mn-cs"/>
              </a:rPr>
            </a:br>
            <a:r>
              <a:rPr kumimoji="0" lang="en-US" sz="1700" b="1" i="0" u="none" strike="noStrike" kern="1200" cap="none" spc="0" normalizeH="0" baseline="0" noProof="0" dirty="0">
                <a:ln>
                  <a:noFill/>
                </a:ln>
                <a:solidFill>
                  <a:schemeClr val="tx1"/>
                </a:solidFill>
                <a:effectLst/>
                <a:uLnTx/>
                <a:uFillTx/>
                <a:ea typeface="+mn-ea"/>
                <a:cs typeface="+mn-cs"/>
              </a:rPr>
              <a:t>changing interventions </a:t>
            </a:r>
            <a:r>
              <a:rPr kumimoji="0" lang="en-US" sz="1700" b="0" i="0" u="none" strike="noStrike" kern="1200" cap="none" spc="0" normalizeH="0" baseline="0" noProof="0" dirty="0">
                <a:ln>
                  <a:noFill/>
                </a:ln>
                <a:solidFill>
                  <a:schemeClr val="tx1"/>
                </a:solidFill>
                <a:effectLst/>
                <a:uLnTx/>
                <a:uFillTx/>
                <a:ea typeface="+mn-ea"/>
                <a:cs typeface="+mn-cs"/>
              </a:rPr>
              <a:t>(ENDO)</a:t>
            </a:r>
            <a:r>
              <a:rPr kumimoji="0" lang="en-US" sz="1700" b="0" i="0" u="none" strike="noStrike" kern="1200" cap="none" spc="0" normalizeH="0" baseline="30000" noProof="0" dirty="0">
                <a:ln>
                  <a:noFill/>
                </a:ln>
                <a:solidFill>
                  <a:schemeClr val="tx1"/>
                </a:solidFill>
                <a:effectLst/>
                <a:uLnTx/>
                <a:uFillTx/>
                <a:ea typeface="+mn-ea"/>
                <a:cs typeface="+mn-cs"/>
              </a:rPr>
              <a:t>1</a:t>
            </a:r>
            <a:r>
              <a:rPr kumimoji="0" lang="en-US" sz="1700" b="0" i="0" u="none" strike="noStrike" kern="1200" cap="none" spc="0" normalizeH="0" baseline="0" noProof="0" dirty="0">
                <a:ln>
                  <a:noFill/>
                </a:ln>
                <a:solidFill>
                  <a:schemeClr val="tx1"/>
                </a:solidFill>
                <a:effectLst/>
                <a:uLnTx/>
                <a:uFillTx/>
                <a:ea typeface="+mn-ea"/>
                <a:cs typeface="+mn-cs"/>
              </a:rPr>
              <a:t> </a:t>
            </a:r>
          </a:p>
        </p:txBody>
      </p:sp>
      <p:sp>
        <p:nvSpPr>
          <p:cNvPr id="6" name="Rectangle 5">
            <a:extLst>
              <a:ext uri="{FF2B5EF4-FFF2-40B4-BE49-F238E27FC236}">
                <a16:creationId xmlns:a16="http://schemas.microsoft.com/office/drawing/2014/main" id="{80CA124D-AE4F-4A22-6D9D-014830D58500}"/>
              </a:ext>
            </a:extLst>
          </p:cNvPr>
          <p:cNvSpPr/>
          <p:nvPr/>
        </p:nvSpPr>
        <p:spPr>
          <a:xfrm>
            <a:off x="6153371" y="762410"/>
            <a:ext cx="5133754" cy="261610"/>
          </a:xfrm>
          <a:prstGeom prst="rect">
            <a:avLst/>
          </a:prstGeom>
          <a:no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232817" marR="0" lvl="0" indent="0" algn="ctr" defTabSz="1219139" rtl="0" eaLnBrk="1" fontAlgn="base" latinLnBrk="0" hangingPunct="1">
              <a:lnSpc>
                <a:spcPct val="100000"/>
              </a:lnSpc>
              <a:spcBef>
                <a:spcPct val="0"/>
              </a:spcBef>
              <a:spcAft>
                <a:spcPts val="300"/>
              </a:spcAft>
              <a:buClrTx/>
              <a:buSzTx/>
              <a:buFontTx/>
              <a:buNone/>
              <a:tabLst/>
              <a:defRPr/>
            </a:pPr>
            <a:r>
              <a:rPr kumimoji="0" lang="en-US" sz="1700" b="0" i="0" u="none" strike="noStrike" kern="1200" cap="none" spc="0" normalizeH="0" baseline="0" noProof="0" dirty="0">
                <a:ln>
                  <a:noFill/>
                </a:ln>
                <a:solidFill>
                  <a:schemeClr val="tx1"/>
                </a:solidFill>
                <a:effectLst/>
                <a:uLnTx/>
                <a:uFillTx/>
                <a:ea typeface="+mn-ea"/>
                <a:cs typeface="+mn-cs"/>
              </a:rPr>
              <a:t>Foster </a:t>
            </a:r>
            <a:r>
              <a:rPr kumimoji="0" lang="en-US" sz="1700" b="1" i="0" u="none" strike="noStrike" kern="1200" cap="none" spc="0" normalizeH="0" baseline="0" noProof="0" dirty="0">
                <a:ln>
                  <a:noFill/>
                </a:ln>
                <a:solidFill>
                  <a:schemeClr val="tx1"/>
                </a:solidFill>
                <a:effectLst/>
                <a:uLnTx/>
                <a:uFillTx/>
                <a:ea typeface="+mn-ea"/>
                <a:cs typeface="+mn-cs"/>
              </a:rPr>
              <a:t>healthy sleep patterns </a:t>
            </a:r>
            <a:r>
              <a:rPr kumimoji="0" lang="en-US" sz="1700" b="0" i="0" u="none" strike="noStrike" kern="1200" cap="none" spc="0" normalizeH="0" baseline="0" noProof="0" dirty="0">
                <a:ln>
                  <a:noFill/>
                </a:ln>
                <a:solidFill>
                  <a:schemeClr val="tx1"/>
                </a:solidFill>
                <a:effectLst/>
                <a:uLnTx/>
                <a:uFillTx/>
                <a:ea typeface="+mn-ea"/>
                <a:cs typeface="+mn-cs"/>
              </a:rPr>
              <a:t>(ENDO)</a:t>
            </a:r>
            <a:r>
              <a:rPr kumimoji="0" lang="en-US" sz="1700" b="0" i="0" u="none" strike="noStrike" kern="1200" cap="none" spc="0" normalizeH="0" baseline="30000" noProof="0" dirty="0">
                <a:ln>
                  <a:noFill/>
                </a:ln>
                <a:solidFill>
                  <a:schemeClr val="tx1"/>
                </a:solidFill>
                <a:effectLst/>
                <a:uLnTx/>
                <a:uFillTx/>
                <a:ea typeface="+mn-ea"/>
                <a:cs typeface="+mn-cs"/>
              </a:rPr>
              <a:t>1</a:t>
            </a:r>
          </a:p>
        </p:txBody>
      </p:sp>
      <p:sp>
        <p:nvSpPr>
          <p:cNvPr id="7" name="Rectangle 6">
            <a:extLst>
              <a:ext uri="{FF2B5EF4-FFF2-40B4-BE49-F238E27FC236}">
                <a16:creationId xmlns:a16="http://schemas.microsoft.com/office/drawing/2014/main" id="{37122FEA-961E-06C2-A7AB-425BFE0434D3}"/>
              </a:ext>
            </a:extLst>
          </p:cNvPr>
          <p:cNvSpPr/>
          <p:nvPr/>
        </p:nvSpPr>
        <p:spPr>
          <a:xfrm>
            <a:off x="6153371" y="4718886"/>
            <a:ext cx="5133754" cy="1308050"/>
          </a:xfrm>
          <a:prstGeom prst="rect">
            <a:avLst/>
          </a:prstGeom>
          <a:no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232817" marR="0" lvl="0" indent="0" algn="ctr" defTabSz="1219139" rtl="0" eaLnBrk="1" fontAlgn="base" latinLnBrk="0" hangingPunct="1">
              <a:lnSpc>
                <a:spcPct val="100000"/>
              </a:lnSpc>
              <a:spcBef>
                <a:spcPct val="0"/>
              </a:spcBef>
              <a:spcAft>
                <a:spcPts val="300"/>
              </a:spcAft>
              <a:buClrTx/>
              <a:buSzTx/>
              <a:buFontTx/>
              <a:buNone/>
              <a:tabLst/>
              <a:defRPr/>
            </a:pPr>
            <a:r>
              <a:rPr kumimoji="0" lang="en-US" sz="1700" b="0" i="0" u="none" strike="noStrike" kern="1200" cap="none" spc="0" normalizeH="0" baseline="0" noProof="0" dirty="0">
                <a:ln>
                  <a:noFill/>
                </a:ln>
                <a:solidFill>
                  <a:schemeClr val="tx1"/>
                </a:solidFill>
                <a:effectLst/>
                <a:uLnTx/>
                <a:uFillTx/>
                <a:ea typeface="+mn-ea"/>
                <a:cs typeface="+mn-cs"/>
              </a:rPr>
              <a:t>Although the prevention messages are similar for all pediatric patients, </a:t>
            </a:r>
            <a:r>
              <a:rPr kumimoji="0" lang="en-US" sz="1700" b="1" i="0" u="none" strike="noStrike" kern="1200" cap="none" spc="0" normalizeH="0" baseline="0" noProof="0" dirty="0">
                <a:ln>
                  <a:noFill/>
                </a:ln>
                <a:solidFill>
                  <a:schemeClr val="tx1"/>
                </a:solidFill>
                <a:effectLst/>
                <a:uLnTx/>
                <a:uFillTx/>
                <a:ea typeface="+mn-ea"/>
                <a:cs typeface="+mn-cs"/>
              </a:rPr>
              <a:t>counseling should be tailored </a:t>
            </a:r>
            <a:r>
              <a:rPr kumimoji="0" lang="en-US" sz="1700" b="0" i="0" u="none" strike="noStrike" kern="1200" cap="none" spc="0" normalizeH="0" baseline="0" noProof="0" dirty="0">
                <a:ln>
                  <a:noFill/>
                </a:ln>
                <a:solidFill>
                  <a:schemeClr val="tx1"/>
                </a:solidFill>
                <a:effectLst/>
                <a:uLnTx/>
                <a:uFillTx/>
                <a:ea typeface="+mn-ea"/>
                <a:cs typeface="+mn-cs"/>
              </a:rPr>
              <a:t>to the child’s developmental stage, and the </a:t>
            </a:r>
            <a:r>
              <a:rPr kumimoji="0" lang="en-US" sz="1700" b="1" i="0" u="none" strike="noStrike" kern="1200" cap="none" spc="0" normalizeH="0" baseline="0" noProof="0" dirty="0">
                <a:ln>
                  <a:noFill/>
                </a:ln>
                <a:solidFill>
                  <a:schemeClr val="tx1"/>
                </a:solidFill>
                <a:effectLst/>
                <a:uLnTx/>
                <a:uFillTx/>
                <a:ea typeface="+mn-ea"/>
                <a:cs typeface="+mn-cs"/>
              </a:rPr>
              <a:t>socioeconomic</a:t>
            </a:r>
            <a:r>
              <a:rPr kumimoji="0" lang="en-US" sz="1700" b="0" i="0" u="none" strike="noStrike" kern="1200" cap="none" spc="0" normalizeH="0" baseline="0" noProof="0" dirty="0">
                <a:ln>
                  <a:noFill/>
                </a:ln>
                <a:solidFill>
                  <a:schemeClr val="tx1"/>
                </a:solidFill>
                <a:effectLst/>
                <a:uLnTx/>
                <a:uFillTx/>
                <a:ea typeface="+mn-ea"/>
                <a:cs typeface="+mn-cs"/>
              </a:rPr>
              <a:t>, </a:t>
            </a:r>
            <a:r>
              <a:rPr kumimoji="0" lang="en-US" sz="1700" b="1" i="0" u="none" strike="noStrike" kern="1200" cap="none" spc="0" normalizeH="0" baseline="0" noProof="0" dirty="0">
                <a:ln>
                  <a:noFill/>
                </a:ln>
                <a:solidFill>
                  <a:schemeClr val="tx1"/>
                </a:solidFill>
                <a:effectLst/>
                <a:uLnTx/>
                <a:uFillTx/>
                <a:ea typeface="+mn-ea"/>
                <a:cs typeface="+mn-cs"/>
              </a:rPr>
              <a:t>cultural</a:t>
            </a:r>
            <a:r>
              <a:rPr kumimoji="0" lang="en-US" sz="1700" b="0" i="0" u="none" strike="noStrike" kern="1200" cap="none" spc="0" normalizeH="0" baseline="0" noProof="0" dirty="0">
                <a:ln>
                  <a:noFill/>
                </a:ln>
                <a:solidFill>
                  <a:schemeClr val="tx1"/>
                </a:solidFill>
                <a:effectLst/>
                <a:uLnTx/>
                <a:uFillTx/>
                <a:ea typeface="+mn-ea"/>
                <a:cs typeface="+mn-cs"/>
              </a:rPr>
              <a:t>, and </a:t>
            </a:r>
            <a:r>
              <a:rPr kumimoji="0" lang="en-US" sz="1700" b="1" i="0" u="none" strike="noStrike" kern="1200" cap="none" spc="0" normalizeH="0" baseline="0" noProof="0" dirty="0">
                <a:ln>
                  <a:noFill/>
                </a:ln>
                <a:solidFill>
                  <a:schemeClr val="tx1"/>
                </a:solidFill>
                <a:effectLst/>
                <a:uLnTx/>
                <a:uFillTx/>
                <a:ea typeface="+mn-ea"/>
                <a:cs typeface="+mn-cs"/>
              </a:rPr>
              <a:t>psychological</a:t>
            </a:r>
            <a:r>
              <a:rPr kumimoji="0" lang="en-US" sz="1700" b="0" i="0" u="none" strike="noStrike" kern="1200" cap="none" spc="0" normalizeH="0" baseline="0" noProof="0" dirty="0">
                <a:ln>
                  <a:noFill/>
                </a:ln>
                <a:solidFill>
                  <a:schemeClr val="tx1"/>
                </a:solidFill>
                <a:effectLst/>
                <a:uLnTx/>
                <a:uFillTx/>
                <a:ea typeface="+mn-ea"/>
                <a:cs typeface="+mn-cs"/>
              </a:rPr>
              <a:t> characteristics of families (AAP)</a:t>
            </a:r>
            <a:r>
              <a:rPr kumimoji="0" lang="en-US" sz="1700" b="0" i="0" u="none" strike="noStrike" kern="1200" cap="none" spc="0" normalizeH="0" baseline="30000" noProof="0" dirty="0">
                <a:ln>
                  <a:noFill/>
                </a:ln>
                <a:solidFill>
                  <a:schemeClr val="tx1"/>
                </a:solidFill>
                <a:effectLst/>
                <a:uLnTx/>
                <a:uFillTx/>
                <a:ea typeface="+mn-ea"/>
                <a:cs typeface="+mn-cs"/>
              </a:rPr>
              <a:t>2</a:t>
            </a:r>
            <a:endParaRPr kumimoji="0" lang="en-US" sz="1700" b="0" i="0" u="none" strike="noStrike" kern="1200" cap="none" spc="0" normalizeH="0" baseline="0" noProof="0" dirty="0">
              <a:ln>
                <a:noFill/>
              </a:ln>
              <a:solidFill>
                <a:schemeClr val="tx1"/>
              </a:solidFill>
              <a:effectLst/>
              <a:uLnTx/>
              <a:uFillTx/>
              <a:ea typeface="+mn-ea"/>
              <a:cs typeface="+mn-cs"/>
            </a:endParaRPr>
          </a:p>
        </p:txBody>
      </p:sp>
      <p:sp>
        <p:nvSpPr>
          <p:cNvPr id="8" name="Rectangle 7">
            <a:extLst>
              <a:ext uri="{FF2B5EF4-FFF2-40B4-BE49-F238E27FC236}">
                <a16:creationId xmlns:a16="http://schemas.microsoft.com/office/drawing/2014/main" id="{21A95AAB-263D-61A7-9181-5C79954B1B8C}"/>
              </a:ext>
            </a:extLst>
          </p:cNvPr>
          <p:cNvSpPr/>
          <p:nvPr/>
        </p:nvSpPr>
        <p:spPr>
          <a:xfrm>
            <a:off x="6153371" y="3905269"/>
            <a:ext cx="5133754" cy="523220"/>
          </a:xfrm>
          <a:prstGeom prst="rect">
            <a:avLst/>
          </a:prstGeom>
          <a:no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232817" marR="0" lvl="0" indent="0" algn="ctr" defTabSz="1219139" rtl="0" eaLnBrk="1" fontAlgn="base" latinLnBrk="0" hangingPunct="1">
              <a:lnSpc>
                <a:spcPct val="100000"/>
              </a:lnSpc>
              <a:spcBef>
                <a:spcPct val="0"/>
              </a:spcBef>
              <a:spcAft>
                <a:spcPts val="300"/>
              </a:spcAft>
              <a:buClrTx/>
              <a:buSzTx/>
              <a:buFontTx/>
              <a:buNone/>
              <a:tabLst/>
              <a:defRPr/>
            </a:pPr>
            <a:r>
              <a:rPr kumimoji="0" lang="en-US" sz="1700" b="1" i="0" u="none" strike="noStrike" kern="1200" cap="none" spc="0" normalizeH="0" baseline="0" noProof="0" dirty="0">
                <a:ln>
                  <a:noFill/>
                </a:ln>
                <a:solidFill>
                  <a:schemeClr val="tx1"/>
                </a:solidFill>
                <a:effectLst/>
                <a:uLnTx/>
                <a:uFillTx/>
                <a:ea typeface="+mn-ea"/>
                <a:cs typeface="+mn-cs"/>
              </a:rPr>
              <a:t>Evaluate psychosocial comorbidities </a:t>
            </a:r>
            <a:r>
              <a:rPr kumimoji="0" lang="en-US" sz="1700" b="0" i="0" u="none" strike="noStrike" kern="1200" cap="none" spc="0" normalizeH="0" baseline="0" noProof="0" dirty="0">
                <a:ln>
                  <a:noFill/>
                </a:ln>
                <a:solidFill>
                  <a:schemeClr val="tx1"/>
                </a:solidFill>
                <a:effectLst/>
                <a:uLnTx/>
                <a:uFillTx/>
                <a:ea typeface="+mn-ea"/>
                <a:cs typeface="+mn-cs"/>
              </a:rPr>
              <a:t>and </a:t>
            </a:r>
            <a:r>
              <a:rPr kumimoji="0" lang="en-US" sz="1700" b="1" i="0" u="none" strike="noStrike" kern="1200" cap="none" spc="0" normalizeH="0" baseline="0" noProof="0" dirty="0">
                <a:ln>
                  <a:noFill/>
                </a:ln>
                <a:solidFill>
                  <a:schemeClr val="tx1"/>
                </a:solidFill>
                <a:effectLst/>
                <a:uLnTx/>
                <a:uFillTx/>
                <a:ea typeface="+mn-ea"/>
                <a:cs typeface="+mn-cs"/>
              </a:rPr>
              <a:t>prescribe counseling</a:t>
            </a:r>
            <a:r>
              <a:rPr kumimoji="0" lang="en-US" sz="1700" b="0" i="0" u="none" strike="noStrike" kern="1200" cap="none" spc="0" normalizeH="0" baseline="0" noProof="0" dirty="0">
                <a:ln>
                  <a:noFill/>
                </a:ln>
                <a:solidFill>
                  <a:schemeClr val="tx1"/>
                </a:solidFill>
                <a:effectLst/>
                <a:uLnTx/>
                <a:uFillTx/>
                <a:ea typeface="+mn-ea"/>
                <a:cs typeface="+mn-cs"/>
              </a:rPr>
              <a:t> if needed (ENDO)</a:t>
            </a:r>
            <a:r>
              <a:rPr kumimoji="0" lang="en-US" sz="1700" b="0" i="0" u="none" strike="noStrike" kern="1200" cap="none" spc="0" normalizeH="0" baseline="30000" noProof="0" dirty="0">
                <a:ln>
                  <a:noFill/>
                </a:ln>
                <a:solidFill>
                  <a:schemeClr val="tx1"/>
                </a:solidFill>
                <a:effectLst/>
                <a:uLnTx/>
                <a:uFillTx/>
                <a:ea typeface="+mn-ea"/>
                <a:cs typeface="+mn-cs"/>
              </a:rPr>
              <a:t>1</a:t>
            </a:r>
            <a:endParaRPr kumimoji="0" lang="en-US" sz="1700" b="0" i="0" u="none" strike="noStrike" kern="1200" cap="none" spc="0" normalizeH="0" baseline="0" noProof="0" dirty="0">
              <a:ln>
                <a:noFill/>
              </a:ln>
              <a:solidFill>
                <a:schemeClr val="tx1"/>
              </a:solidFill>
              <a:effectLst/>
              <a:uLnTx/>
              <a:uFillTx/>
              <a:ea typeface="+mn-ea"/>
              <a:cs typeface="+mn-cs"/>
            </a:endParaRPr>
          </a:p>
        </p:txBody>
      </p:sp>
      <p:sp>
        <p:nvSpPr>
          <p:cNvPr id="17" name="Oval 16">
            <a:extLst>
              <a:ext uri="{FF2B5EF4-FFF2-40B4-BE49-F238E27FC236}">
                <a16:creationId xmlns:a16="http://schemas.microsoft.com/office/drawing/2014/main" id="{ABEB70DC-C802-A42B-03CF-911AAE203C89}"/>
              </a:ext>
            </a:extLst>
          </p:cNvPr>
          <p:cNvSpPr/>
          <p:nvPr/>
        </p:nvSpPr>
        <p:spPr>
          <a:xfrm>
            <a:off x="7976830" y="2128035"/>
            <a:ext cx="1486836" cy="1486836"/>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8" name="Graphic 17">
            <a:extLst>
              <a:ext uri="{FF2B5EF4-FFF2-40B4-BE49-F238E27FC236}">
                <a16:creationId xmlns:a16="http://schemas.microsoft.com/office/drawing/2014/main" id="{9ECFC87E-4398-6535-A5D3-3D2F8A0475EE}"/>
              </a:ext>
            </a:extLst>
          </p:cNvPr>
          <p:cNvPicPr>
            <a:picLocks noChangeAspect="1"/>
          </p:cNvPicPr>
          <p:nvPr/>
        </p:nvPicPr>
        <p:blipFill>
          <a:blip r:embed="rId3">
            <a:extLst>
              <a:ext uri="{96DAC541-7B7A-43D3-8B79-37D633B846F1}">
                <asvg:svgBlip xmlns:asvg="http://schemas.microsoft.com/office/drawing/2016/SVG/main" r:embed="rId4"/>
              </a:ext>
            </a:extLst>
          </a:blip>
          <a:srcRect l="13" r="13"/>
          <a:stretch/>
        </p:blipFill>
        <p:spPr>
          <a:xfrm>
            <a:off x="8302630" y="2453727"/>
            <a:ext cx="835236" cy="835452"/>
          </a:xfrm>
          <a:prstGeom prst="rect">
            <a:avLst/>
          </a:prstGeom>
        </p:spPr>
      </p:pic>
    </p:spTree>
    <p:extLst>
      <p:ext uri="{BB962C8B-B14F-4D97-AF65-F5344CB8AC3E}">
        <p14:creationId xmlns:p14="http://schemas.microsoft.com/office/powerpoint/2010/main" val="310148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AA6B68-53B4-B524-E9BA-BEB8FCF018E5}"/>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EF045C63-4F6F-5BCE-7E38-5B449DB43E39}"/>
              </a:ext>
            </a:extLst>
          </p:cNvPr>
          <p:cNvSpPr/>
          <p:nvPr/>
        </p:nvSpPr>
        <p:spPr>
          <a:xfrm>
            <a:off x="0" y="1430448"/>
            <a:ext cx="12192000" cy="4083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46C72252-E9D1-DACE-B3AE-72F7540F5944}"/>
              </a:ext>
            </a:extLst>
          </p:cNvPr>
          <p:cNvSpPr txBox="1"/>
          <p:nvPr/>
        </p:nvSpPr>
        <p:spPr>
          <a:xfrm>
            <a:off x="591493" y="1941247"/>
            <a:ext cx="11009014" cy="31393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Thank you for using the FORWARD: Focus on Obesity Education curriculum.</a:t>
            </a: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 </a:t>
            </a:r>
            <a:endParaRPr kumimoji="0" lang="en-US" sz="18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Welcome to the FORWARD: Focus on Obesity Education curriculum. FORWARD was funded by Novo Nordisk Inc. A third-party provider developed the curriculum’s content in consultation with Novo Nordisk Inc. and leading obesity clinician experts. </a:t>
            </a:r>
            <a:br>
              <a:rPr kumimoji="0" lang="en-US" sz="1400" b="0" i="0" u="none" strike="noStrike" kern="1200" cap="none" spc="0" normalizeH="0" baseline="0" noProof="0" dirty="0">
                <a:ln>
                  <a:noFill/>
                </a:ln>
                <a:solidFill>
                  <a:schemeClr val="tx2"/>
                </a:solidFill>
                <a:effectLst/>
                <a:uLnTx/>
                <a:uFillTx/>
                <a:latin typeface="Arial"/>
                <a:ea typeface="+mn-ea"/>
                <a:cs typeface="Arial"/>
              </a:rPr>
            </a:br>
            <a:r>
              <a:rPr kumimoji="0" lang="en-US" sz="1400" b="0" i="0" u="none" strike="noStrike" kern="1200" cap="none" spc="0" normalizeH="0" baseline="0" noProof="0" dirty="0">
                <a:ln>
                  <a:noFill/>
                </a:ln>
                <a:solidFill>
                  <a:schemeClr val="tx2"/>
                </a:solidFill>
                <a:effectLst/>
                <a:uLnTx/>
                <a:uFillTx/>
                <a:latin typeface="Arial"/>
                <a:ea typeface="+mn-ea"/>
                <a:cs typeface="Arial"/>
              </a:rPr>
              <a:t>FORWARD relies exclusively on open-source materials available to the general public</a:t>
            </a:r>
            <a:r>
              <a:rPr lang="en-US" sz="1400" noProof="0" dirty="0">
                <a:solidFill>
                  <a:schemeClr val="tx2"/>
                </a:solidFill>
                <a:latin typeface="Arial"/>
                <a:cs typeface="Aria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The goal of FORWARD is to present a complete, accurate, non-promotional and fair-balanced picture of the current state of obesity. FORWARD is intended to inspire the development of obesity education in clinical professional schools, ensuring adequate training of future healthcare providers on the diagnosis and management of obesity. By choosing to access and browse this module of FORWARD, you acknowledge that you have read, understand and agreed to the FORWARD Terms of Use. If you do not agree with the FORWARD Terms of Use, you are not permitted to further access this module and should immediately discontinue your use.</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schemeClr val="tx2"/>
                </a:solidFill>
                <a:effectLst/>
                <a:uLnTx/>
                <a:uFillTx/>
                <a:latin typeface="Arial" panose="020B0604020202020204" pitchFamily="34" charset="0"/>
                <a:ea typeface="+mn-ea"/>
                <a:cs typeface="+mn-cs"/>
              </a:rPr>
            </a:br>
            <a:endParaRPr kumimoji="0" lang="en-US" sz="1800" b="1" i="0" u="none" strike="noStrike" kern="1200" cap="none" spc="0" normalizeH="0" baseline="0" noProof="0" dirty="0">
              <a:ln>
                <a:noFill/>
              </a:ln>
              <a:solidFill>
                <a:schemeClr val="tx2"/>
              </a:solidFill>
              <a:effectLst/>
              <a:uLnTx/>
              <a:uFillTx/>
              <a:latin typeface="Arial"/>
              <a:ea typeface="+mn-ea"/>
              <a:cs typeface="Arial"/>
            </a:endParaRPr>
          </a:p>
        </p:txBody>
      </p:sp>
      <p:sp>
        <p:nvSpPr>
          <p:cNvPr id="4" name="TextBox 3">
            <a:extLst>
              <a:ext uri="{FF2B5EF4-FFF2-40B4-BE49-F238E27FC236}">
                <a16:creationId xmlns:a16="http://schemas.microsoft.com/office/drawing/2014/main" id="{14848071-3B08-1F41-AB38-5C58FAC8F783}"/>
              </a:ext>
            </a:extLst>
          </p:cNvPr>
          <p:cNvSpPr txBox="1"/>
          <p:nvPr/>
        </p:nvSpPr>
        <p:spPr>
          <a:xfrm>
            <a:off x="3788485" y="6422315"/>
            <a:ext cx="4615031" cy="276999"/>
          </a:xfrm>
          <a:prstGeom prst="rect">
            <a:avLst/>
          </a:prstGeom>
          <a:noFill/>
        </p:spPr>
        <p:txBody>
          <a:bodyPr wrap="square" rtlCol="0">
            <a:spAutoFit/>
          </a:bodyPr>
          <a:lstStyle/>
          <a:p>
            <a:pPr algn="ctr"/>
            <a:r>
              <a:rPr lang="en-US" sz="1200" noProof="0" dirty="0">
                <a:latin typeface="Arial" panose="020B0604020202020204" pitchFamily="34" charset="0"/>
                <a:cs typeface="Arial" panose="020B0604020202020204" pitchFamily="34" charset="0"/>
              </a:rPr>
              <a:t>Content current as of January 2025</a:t>
            </a:r>
          </a:p>
        </p:txBody>
      </p:sp>
      <p:grpSp>
        <p:nvGrpSpPr>
          <p:cNvPr id="14" name="Group 13">
            <a:extLst>
              <a:ext uri="{FF2B5EF4-FFF2-40B4-BE49-F238E27FC236}">
                <a16:creationId xmlns:a16="http://schemas.microsoft.com/office/drawing/2014/main" id="{82318A8D-3FD9-59EC-068C-05294C2A05F8}"/>
              </a:ext>
            </a:extLst>
          </p:cNvPr>
          <p:cNvGrpSpPr/>
          <p:nvPr/>
        </p:nvGrpSpPr>
        <p:grpSpPr>
          <a:xfrm>
            <a:off x="4523650" y="4602787"/>
            <a:ext cx="3144701" cy="873068"/>
            <a:chOff x="4523650" y="4602787"/>
            <a:chExt cx="3144701" cy="873068"/>
          </a:xfrm>
        </p:grpSpPr>
        <p:grpSp>
          <p:nvGrpSpPr>
            <p:cNvPr id="15" name="Group 14">
              <a:extLst>
                <a:ext uri="{FF2B5EF4-FFF2-40B4-BE49-F238E27FC236}">
                  <a16:creationId xmlns:a16="http://schemas.microsoft.com/office/drawing/2014/main" id="{22B50A82-2BAE-02DD-24D2-37C1D8420FC5}"/>
                </a:ext>
              </a:extLst>
            </p:cNvPr>
            <p:cNvGrpSpPr/>
            <p:nvPr/>
          </p:nvGrpSpPr>
          <p:grpSpPr>
            <a:xfrm>
              <a:off x="4523650" y="4602787"/>
              <a:ext cx="3144701" cy="853112"/>
              <a:chOff x="4712365" y="4738255"/>
              <a:chExt cx="3144701" cy="853112"/>
            </a:xfrm>
          </p:grpSpPr>
          <p:sp>
            <p:nvSpPr>
              <p:cNvPr id="17" name="TextBox 16">
                <a:extLst>
                  <a:ext uri="{FF2B5EF4-FFF2-40B4-BE49-F238E27FC236}">
                    <a16:creationId xmlns:a16="http://schemas.microsoft.com/office/drawing/2014/main" id="{3AA1F0C1-D5A3-A2E2-997F-94E46BE7E4A7}"/>
                  </a:ext>
                </a:extLst>
              </p:cNvPr>
              <p:cNvSpPr txBox="1"/>
              <p:nvPr/>
            </p:nvSpPr>
            <p:spPr>
              <a:xfrm>
                <a:off x="4752976" y="5010923"/>
                <a:ext cx="19780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Double click </a:t>
                </a:r>
                <a:r>
                  <a:rPr kumimoji="0" lang="en-US" sz="14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to view: </a:t>
                </a:r>
              </a:p>
            </p:txBody>
          </p:sp>
          <p:sp>
            <p:nvSpPr>
              <p:cNvPr id="18" name="Rectangle: Rounded Corners 17">
                <a:extLst>
                  <a:ext uri="{FF2B5EF4-FFF2-40B4-BE49-F238E27FC236}">
                    <a16:creationId xmlns:a16="http://schemas.microsoft.com/office/drawing/2014/main" id="{F1630EE8-C36C-168F-08F8-4F8EBC4D6F2D}"/>
                  </a:ext>
                </a:extLst>
              </p:cNvPr>
              <p:cNvSpPr/>
              <p:nvPr/>
            </p:nvSpPr>
            <p:spPr>
              <a:xfrm>
                <a:off x="4712365" y="4738255"/>
                <a:ext cx="3144701" cy="853112"/>
              </a:xfrm>
              <a:prstGeom prst="roundRect">
                <a:avLst>
                  <a:gd name="adj" fmla="val 50000"/>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aphicFrame>
          <p:nvGraphicFramePr>
            <p:cNvPr id="16" name="Object 15">
              <a:extLst>
                <a:ext uri="{FF2B5EF4-FFF2-40B4-BE49-F238E27FC236}">
                  <a16:creationId xmlns:a16="http://schemas.microsoft.com/office/drawing/2014/main" id="{1C72B71B-36F1-C299-03E6-7D1D0DBD1F30}"/>
                </a:ext>
              </a:extLst>
            </p:cNvPr>
            <p:cNvGraphicFramePr>
              <a:graphicFrameLocks noChangeAspect="1"/>
            </p:cNvGraphicFramePr>
            <p:nvPr>
              <p:extLst>
                <p:ext uri="{D42A27DB-BD31-4B8C-83A1-F6EECF244321}">
                  <p14:modId xmlns:p14="http://schemas.microsoft.com/office/powerpoint/2010/main" val="1709849460"/>
                </p:ext>
              </p:extLst>
            </p:nvPr>
          </p:nvGraphicFramePr>
          <p:xfrm>
            <a:off x="6542285" y="4685280"/>
            <a:ext cx="938212" cy="790575"/>
          </p:xfrm>
          <a:graphic>
            <a:graphicData uri="http://schemas.openxmlformats.org/presentationml/2006/ole">
              <mc:AlternateContent xmlns:mc="http://schemas.openxmlformats.org/markup-compatibility/2006">
                <mc:Choice xmlns:v="urn:schemas-microsoft-com:vml" Requires="v">
                  <p:oleObj name="Acrobat Document" showAsIcon="1" r:id="rId3" imgW="937800" imgH="791280" progId="AcroExch.Document.7">
                    <p:embed/>
                  </p:oleObj>
                </mc:Choice>
                <mc:Fallback>
                  <p:oleObj name="Acrobat Document" showAsIcon="1" r:id="rId3" imgW="937800" imgH="791280" progId="AcroExch.Document.7">
                    <p:embed/>
                    <p:pic>
                      <p:nvPicPr>
                        <p:cNvPr id="16" name="Object 15">
                          <a:extLst>
                            <a:ext uri="{FF2B5EF4-FFF2-40B4-BE49-F238E27FC236}">
                              <a16:creationId xmlns:a16="http://schemas.microsoft.com/office/drawing/2014/main" id="{1C72B71B-36F1-C299-03E6-7D1D0DBD1F30}"/>
                            </a:ext>
                          </a:extLst>
                        </p:cNvPr>
                        <p:cNvPicPr/>
                        <p:nvPr/>
                      </p:nvPicPr>
                      <p:blipFill>
                        <a:blip r:embed="rId4"/>
                        <a:stretch>
                          <a:fillRect/>
                        </a:stretch>
                      </p:blipFill>
                      <p:spPr>
                        <a:xfrm>
                          <a:off x="6542285" y="4685280"/>
                          <a:ext cx="938212" cy="790575"/>
                        </a:xfrm>
                        <a:prstGeom prst="rect">
                          <a:avLst/>
                        </a:prstGeom>
                      </p:spPr>
                    </p:pic>
                  </p:oleObj>
                </mc:Fallback>
              </mc:AlternateContent>
            </a:graphicData>
          </a:graphic>
        </p:graphicFrame>
      </p:grpSp>
      <p:sp>
        <p:nvSpPr>
          <p:cNvPr id="19" name="TextBox 18">
            <a:extLst>
              <a:ext uri="{FF2B5EF4-FFF2-40B4-BE49-F238E27FC236}">
                <a16:creationId xmlns:a16="http://schemas.microsoft.com/office/drawing/2014/main" id="{863155C4-8117-E441-2211-A610618D46EE}"/>
              </a:ext>
            </a:extLst>
          </p:cNvPr>
          <p:cNvSpPr txBox="1"/>
          <p:nvPr/>
        </p:nvSpPr>
        <p:spPr>
          <a:xfrm>
            <a:off x="3788485" y="6145316"/>
            <a:ext cx="4615031"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Content current as of October 2025</a:t>
            </a:r>
          </a:p>
        </p:txBody>
      </p:sp>
    </p:spTree>
    <p:extLst>
      <p:ext uri="{BB962C8B-B14F-4D97-AF65-F5344CB8AC3E}">
        <p14:creationId xmlns:p14="http://schemas.microsoft.com/office/powerpoint/2010/main" val="130549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682B10-E6B4-B0C2-E00C-A2D2F81F49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E13E47-AB11-3898-6C66-CBBE879A4382}"/>
              </a:ext>
            </a:extLst>
          </p:cNvPr>
          <p:cNvSpPr>
            <a:spLocks noGrp="1"/>
          </p:cNvSpPr>
          <p:nvPr>
            <p:ph type="title"/>
          </p:nvPr>
        </p:nvSpPr>
        <p:spPr>
          <a:xfrm>
            <a:off x="536240" y="414320"/>
            <a:ext cx="10896000" cy="1082209"/>
          </a:xfrm>
        </p:spPr>
        <p:txBody>
          <a:bodyPr/>
          <a:lstStyle/>
          <a:p>
            <a:r>
              <a:rPr lang="en-US" noProof="0" dirty="0"/>
              <a:t>Recommendations for pharmacotherapy </a:t>
            </a:r>
            <a:br>
              <a:rPr lang="en-US" noProof="0" dirty="0"/>
            </a:br>
            <a:r>
              <a:rPr lang="en-US" noProof="0" dirty="0"/>
              <a:t>in children with obesity</a:t>
            </a:r>
          </a:p>
        </p:txBody>
      </p:sp>
      <p:sp>
        <p:nvSpPr>
          <p:cNvPr id="3" name="Text Placeholder 2">
            <a:extLst>
              <a:ext uri="{FF2B5EF4-FFF2-40B4-BE49-F238E27FC236}">
                <a16:creationId xmlns:a16="http://schemas.microsoft.com/office/drawing/2014/main" id="{84088611-1C20-5067-6C0B-84A4FBCB84D1}"/>
              </a:ext>
            </a:extLst>
          </p:cNvPr>
          <p:cNvSpPr>
            <a:spLocks noGrp="1"/>
          </p:cNvSpPr>
          <p:nvPr>
            <p:ph type="body" sz="quarter" idx="13"/>
          </p:nvPr>
        </p:nvSpPr>
        <p:spPr>
          <a:xfrm>
            <a:off x="536240" y="5660965"/>
            <a:ext cx="10896000" cy="683095"/>
          </a:xfrm>
        </p:spPr>
        <p:txBody>
          <a:bodyPr/>
          <a:lstStyle/>
          <a:p>
            <a:br>
              <a:rPr lang="en-US" dirty="0"/>
            </a:br>
            <a:r>
              <a:rPr lang="en-US" noProof="0" dirty="0"/>
              <a:t>AAP, American Academy of Pediatrics; ER, extended-release; FDA, Food and Drug Administration; HCP, healthcare professional; OD, once daily; QW, once weekly.</a:t>
            </a:r>
            <a:br>
              <a:rPr lang="en-US" noProof="0" dirty="0"/>
            </a:br>
            <a:r>
              <a:rPr lang="en-US" noProof="0" dirty="0"/>
              <a:t>1. </a:t>
            </a:r>
            <a:r>
              <a:rPr lang="en-US" dirty="0"/>
              <a:t>Chung</a:t>
            </a:r>
            <a:r>
              <a:rPr lang="en-US" noProof="0" dirty="0"/>
              <a:t> YL. </a:t>
            </a:r>
            <a:r>
              <a:rPr lang="en-GB" dirty="0"/>
              <a:t>J Yeungnam Med Sci 2024;41:158</a:t>
            </a:r>
            <a:r>
              <a:rPr lang="en-US" dirty="0"/>
              <a:t>–</a:t>
            </a:r>
            <a:r>
              <a:rPr lang="en-GB" dirty="0"/>
              <a:t>165</a:t>
            </a:r>
            <a:r>
              <a:rPr lang="en-US" noProof="0" dirty="0"/>
              <a:t>; 2. Hampl SE et al. Pediatrics 2023;151:e2022060640;</a:t>
            </a:r>
            <a:r>
              <a:rPr lang="en-US" dirty="0"/>
              <a:t> 3. Armstrong SC et al. Pediatrics 2024;154:e2024067858; 4. Singhal V et al. Curr Opin Endocrinol Diabetes Obes 2021;28:55–63; 5. </a:t>
            </a:r>
            <a:r>
              <a:rPr lang="en-CA" dirty="0"/>
              <a:t>Xenical</a:t>
            </a:r>
            <a:r>
              <a:rPr lang="en-CA" baseline="30000" dirty="0"/>
              <a:t>®</a:t>
            </a:r>
            <a:r>
              <a:rPr lang="en-CA" dirty="0"/>
              <a:t> (Orlistat). Prescribing information. </a:t>
            </a:r>
            <a:r>
              <a:rPr lang="en-CA" dirty="0">
                <a:hlinkClick r:id="rId3"/>
              </a:rPr>
              <a:t>https://www.accessdata.fda.gov/drugsatfda_docs/label/2015/020766s035lbl.pdf</a:t>
            </a:r>
            <a:r>
              <a:rPr lang="en-CA" dirty="0"/>
              <a:t>. Accessed October 2025</a:t>
            </a:r>
            <a:r>
              <a:rPr lang="en-US" dirty="0"/>
              <a:t>; 6. </a:t>
            </a:r>
            <a:r>
              <a:rPr lang="en-CA" dirty="0"/>
              <a:t>Qsymia™ (phentermine and topiramate extended-release). Prescribing information. </a:t>
            </a:r>
            <a:r>
              <a:rPr lang="en-CA" dirty="0">
                <a:hlinkClick r:id="rId4">
                  <a:extLst>
                    <a:ext uri="{A12FA001-AC4F-418D-AE19-62706E023703}">
                      <ahyp:hlinkClr xmlns:ahyp="http://schemas.microsoft.com/office/drawing/2018/hyperlinkcolor" val="tx"/>
                    </a:ext>
                  </a:extLst>
                </a:hlinkClick>
              </a:rPr>
              <a:t>https://www.accessdata.fda.gov/drugsatfda_docs/label/2012/022580s000lbl.pdf</a:t>
            </a:r>
            <a:r>
              <a:rPr lang="en-CA" dirty="0"/>
              <a:t>. Accessed October 2025; 7. Wegovy</a:t>
            </a:r>
            <a:r>
              <a:rPr lang="en-CA" baseline="30000" dirty="0"/>
              <a:t>®</a:t>
            </a:r>
            <a:r>
              <a:rPr lang="en-CA" dirty="0"/>
              <a:t> (semaglutide 2.4 mg). Prescribing information. </a:t>
            </a:r>
            <a:r>
              <a:rPr lang="en-CA" dirty="0">
                <a:hlinkClick r:id="rId5">
                  <a:extLst>
                    <a:ext uri="{A12FA001-AC4F-418D-AE19-62706E023703}">
                      <ahyp:hlinkClr xmlns:ahyp="http://schemas.microsoft.com/office/drawing/2018/hyperlinkcolor" val="tx"/>
                    </a:ext>
                  </a:extLst>
                </a:hlinkClick>
              </a:rPr>
              <a:t>https://www.novo-pi.com/wegovy.pdf</a:t>
            </a:r>
            <a:r>
              <a:rPr lang="en-CA" dirty="0"/>
              <a:t>. Accessed October 2025;                   8. Saxenda</a:t>
            </a:r>
            <a:r>
              <a:rPr lang="en-CA" baseline="30000" dirty="0"/>
              <a:t>®</a:t>
            </a:r>
            <a:r>
              <a:rPr lang="en-CA" dirty="0"/>
              <a:t> (liraglutide 3 mg). Prescribing information. </a:t>
            </a:r>
            <a:r>
              <a:rPr lang="en-CA" dirty="0">
                <a:hlinkClick r:id="rId6">
                  <a:extLst>
                    <a:ext uri="{A12FA001-AC4F-418D-AE19-62706E023703}">
                      <ahyp:hlinkClr xmlns:ahyp="http://schemas.microsoft.com/office/drawing/2018/hyperlinkcolor" val="tx"/>
                    </a:ext>
                  </a:extLst>
                </a:hlinkClick>
              </a:rPr>
              <a:t>https://www.novo-pi.com/saxenda.pdf</a:t>
            </a:r>
            <a:r>
              <a:rPr lang="en-CA" dirty="0"/>
              <a:t>. Accessed October 2025.</a:t>
            </a:r>
          </a:p>
        </p:txBody>
      </p:sp>
      <p:sp>
        <p:nvSpPr>
          <p:cNvPr id="4" name="Rectangle 3">
            <a:extLst>
              <a:ext uri="{FF2B5EF4-FFF2-40B4-BE49-F238E27FC236}">
                <a16:creationId xmlns:a16="http://schemas.microsoft.com/office/drawing/2014/main" id="{7AB320A0-AAF3-EF9A-CF27-3A9C90CFA10D}"/>
              </a:ext>
            </a:extLst>
          </p:cNvPr>
          <p:cNvSpPr/>
          <p:nvPr/>
        </p:nvSpPr>
        <p:spPr>
          <a:xfrm>
            <a:off x="3859937" y="3257670"/>
            <a:ext cx="8114349" cy="178286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a:spcAft>
                <a:spcPts val="600"/>
              </a:spcAft>
            </a:pPr>
            <a:r>
              <a:rPr lang="en-US" sz="1600" b="1" noProof="0" dirty="0">
                <a:solidFill>
                  <a:schemeClr val="tx1"/>
                </a:solidFill>
              </a:rPr>
              <a:t>The current medications approved by the FDA for long-term weight </a:t>
            </a:r>
            <a:br>
              <a:rPr lang="en-US" sz="1600" b="1" noProof="0" dirty="0">
                <a:solidFill>
                  <a:schemeClr val="tx1"/>
                </a:solidFill>
              </a:rPr>
            </a:br>
            <a:r>
              <a:rPr lang="en-US" sz="1600" b="1" noProof="0" dirty="0">
                <a:solidFill>
                  <a:schemeClr val="tx1"/>
                </a:solidFill>
              </a:rPr>
              <a:t>management are</a:t>
            </a:r>
            <a:r>
              <a:rPr lang="en-US" sz="1600" noProof="0" dirty="0">
                <a:solidFill>
                  <a:schemeClr val="tx1"/>
                </a:solidFill>
              </a:rPr>
              <a:t>:</a:t>
            </a:r>
            <a:r>
              <a:rPr lang="en-US" sz="1600" baseline="30000" dirty="0">
                <a:solidFill>
                  <a:schemeClr val="tx1"/>
                </a:solidFill>
              </a:rPr>
              <a:t>2-8</a:t>
            </a:r>
            <a:r>
              <a:rPr lang="en-US" sz="1600" noProof="0" dirty="0">
                <a:solidFill>
                  <a:schemeClr val="tx1"/>
                </a:solidFill>
              </a:rPr>
              <a:t> </a:t>
            </a:r>
          </a:p>
          <a:p>
            <a:pPr marL="198120" indent="-198120">
              <a:spcAft>
                <a:spcPts val="300"/>
              </a:spcAft>
              <a:buFont typeface="Arial" panose="020B0604020202020204" pitchFamily="34" charset="0"/>
              <a:buChar char="•"/>
            </a:pPr>
            <a:r>
              <a:rPr lang="en-US" sz="1400" b="1" noProof="0" dirty="0">
                <a:solidFill>
                  <a:schemeClr val="accent1"/>
                </a:solidFill>
              </a:rPr>
              <a:t>Orlistat</a:t>
            </a:r>
            <a:r>
              <a:rPr lang="en-US" sz="1400" noProof="0" dirty="0">
                <a:solidFill>
                  <a:schemeClr val="accent1"/>
                </a:solidFill>
              </a:rPr>
              <a:t>: Adolescents ≥12 years with obesity</a:t>
            </a:r>
            <a:endParaRPr lang="en-US" sz="1400" noProof="0" dirty="0">
              <a:solidFill>
                <a:schemeClr val="accent1"/>
              </a:solidFill>
              <a:cs typeface="Arial" panose="020B0604020202020204"/>
            </a:endParaRPr>
          </a:p>
          <a:p>
            <a:pPr marL="198120" indent="-198120">
              <a:spcAft>
                <a:spcPts val="300"/>
              </a:spcAft>
              <a:buFont typeface="Arial" panose="020B0604020202020204" pitchFamily="34" charset="0"/>
              <a:buChar char="•"/>
            </a:pPr>
            <a:r>
              <a:rPr lang="en-GB" sz="1400" b="1" dirty="0">
                <a:solidFill>
                  <a:schemeClr val="accent1"/>
                </a:solidFill>
              </a:rPr>
              <a:t>P</a:t>
            </a:r>
            <a:r>
              <a:rPr lang="en-GB" sz="1400" b="1" noProof="0" dirty="0">
                <a:solidFill>
                  <a:schemeClr val="accent1"/>
                </a:solidFill>
              </a:rPr>
              <a:t>hentermine/topiramate ER</a:t>
            </a:r>
            <a:r>
              <a:rPr lang="en-GB" sz="1400" noProof="0" dirty="0">
                <a:solidFill>
                  <a:schemeClr val="accent1"/>
                </a:solidFill>
              </a:rPr>
              <a:t>: A</a:t>
            </a:r>
            <a:r>
              <a:rPr lang="en-US" sz="1400" dirty="0">
                <a:solidFill>
                  <a:schemeClr val="accent1"/>
                </a:solidFill>
              </a:rPr>
              <a:t>dolescents </a:t>
            </a:r>
            <a:r>
              <a:rPr lang="en-GB" sz="1400" noProof="0" dirty="0">
                <a:solidFill>
                  <a:schemeClr val="accent1"/>
                </a:solidFill>
              </a:rPr>
              <a:t>aged </a:t>
            </a:r>
            <a:r>
              <a:rPr lang="en-US" sz="1400" dirty="0">
                <a:solidFill>
                  <a:schemeClr val="accent1"/>
                </a:solidFill>
              </a:rPr>
              <a:t>≥12 years with obesity</a:t>
            </a:r>
            <a:endParaRPr lang="en-US" sz="1400" dirty="0">
              <a:solidFill>
                <a:schemeClr val="accent1"/>
              </a:solidFill>
              <a:cs typeface="Arial" panose="020B0604020202020204"/>
            </a:endParaRPr>
          </a:p>
          <a:p>
            <a:pPr marL="198120" indent="-198120">
              <a:spcAft>
                <a:spcPts val="300"/>
              </a:spcAft>
              <a:buFont typeface="Arial" panose="020B0604020202020204" pitchFamily="34" charset="0"/>
              <a:buChar char="•"/>
            </a:pPr>
            <a:r>
              <a:rPr lang="en-US" sz="1400" b="1" noProof="0" dirty="0">
                <a:solidFill>
                  <a:schemeClr val="accent1"/>
                </a:solidFill>
              </a:rPr>
              <a:t>Semaglutide (1.7 mg QW or 2.4 mg QW maintenance dose)</a:t>
            </a:r>
            <a:r>
              <a:rPr lang="en-US" sz="1400" noProof="0" dirty="0">
                <a:solidFill>
                  <a:schemeClr val="accent1"/>
                </a:solidFill>
              </a:rPr>
              <a:t>: Adolescents ≥12 years with obesity</a:t>
            </a:r>
            <a:endParaRPr lang="en-US" sz="1400" noProof="0" dirty="0">
              <a:solidFill>
                <a:schemeClr val="accent1"/>
              </a:solidFill>
              <a:cs typeface="Arial" panose="020B0604020202020204"/>
            </a:endParaRPr>
          </a:p>
          <a:p>
            <a:pPr marL="198120" indent="-198120">
              <a:spcAft>
                <a:spcPts val="300"/>
              </a:spcAft>
              <a:buFont typeface="Arial" panose="020B0604020202020204" pitchFamily="34" charset="0"/>
              <a:buChar char="•"/>
            </a:pPr>
            <a:r>
              <a:rPr lang="en-US" sz="1400" b="1" noProof="0" dirty="0">
                <a:solidFill>
                  <a:schemeClr val="accent1"/>
                </a:solidFill>
              </a:rPr>
              <a:t>Liraglutide (2.4 </a:t>
            </a:r>
            <a:r>
              <a:rPr lang="en-US" sz="1400" b="1" dirty="0">
                <a:solidFill>
                  <a:schemeClr val="accent1"/>
                </a:solidFill>
              </a:rPr>
              <a:t>mg OD</a:t>
            </a:r>
            <a:r>
              <a:rPr lang="en-US" sz="1400" b="1" noProof="0" dirty="0">
                <a:solidFill>
                  <a:schemeClr val="accent1"/>
                </a:solidFill>
              </a:rPr>
              <a:t> or 3.0 mg </a:t>
            </a:r>
            <a:r>
              <a:rPr lang="en-US" sz="1400" b="1" dirty="0">
                <a:solidFill>
                  <a:schemeClr val="accent1"/>
                </a:solidFill>
              </a:rPr>
              <a:t>OD maintenance dose)</a:t>
            </a:r>
            <a:r>
              <a:rPr lang="en-US" sz="1400" noProof="0" dirty="0">
                <a:solidFill>
                  <a:schemeClr val="accent1"/>
                </a:solidFill>
              </a:rPr>
              <a:t>: Adolescents ≥12 years with </a:t>
            </a:r>
            <a:br>
              <a:rPr lang="en-US" sz="1400" noProof="0" dirty="0">
                <a:solidFill>
                  <a:schemeClr val="accent1"/>
                </a:solidFill>
              </a:rPr>
            </a:br>
            <a:r>
              <a:rPr lang="en-US" sz="1400" dirty="0">
                <a:solidFill>
                  <a:schemeClr val="accent1"/>
                </a:solidFill>
              </a:rPr>
              <a:t>body weight &gt;60 kg and obesity</a:t>
            </a:r>
            <a:endParaRPr lang="en-US" sz="1400" dirty="0">
              <a:solidFill>
                <a:schemeClr val="accent1"/>
              </a:solidFill>
              <a:cs typeface="Arial"/>
            </a:endParaRPr>
          </a:p>
          <a:p>
            <a:pPr marL="198120" indent="-198120">
              <a:spcAft>
                <a:spcPts val="600"/>
              </a:spcAft>
              <a:buFont typeface="Arial" panose="020B0604020202020204" pitchFamily="34" charset="0"/>
              <a:buChar char="•"/>
            </a:pPr>
            <a:endParaRPr lang="en-US" sz="1400" noProof="0" dirty="0">
              <a:solidFill>
                <a:schemeClr val="accent1"/>
              </a:solidFill>
              <a:cs typeface="Arial" panose="020B0604020202020204"/>
            </a:endParaRPr>
          </a:p>
        </p:txBody>
      </p:sp>
      <p:sp>
        <p:nvSpPr>
          <p:cNvPr id="31" name="Rounded Rectangle 39">
            <a:extLst>
              <a:ext uri="{FF2B5EF4-FFF2-40B4-BE49-F238E27FC236}">
                <a16:creationId xmlns:a16="http://schemas.microsoft.com/office/drawing/2014/main" id="{86871F38-32D8-6763-E670-5099DE149C65}"/>
              </a:ext>
            </a:extLst>
          </p:cNvPr>
          <p:cNvSpPr/>
          <p:nvPr/>
        </p:nvSpPr>
        <p:spPr bwMode="gray">
          <a:xfrm>
            <a:off x="536240" y="5098926"/>
            <a:ext cx="11117354" cy="562039"/>
          </a:xfrm>
          <a:prstGeom prst="roundRect">
            <a:avLst>
              <a:gd name="adj" fmla="val 50000"/>
            </a:avLst>
          </a:prstGeom>
          <a:solidFill>
            <a:schemeClr val="accent2">
              <a:lumMod val="75000"/>
            </a:schemeClr>
          </a:solidFill>
          <a:ln w="12700" algn="ctr">
            <a:noFill/>
            <a:miter lim="800000"/>
            <a:headEnd/>
            <a:tailEnd/>
          </a:ln>
        </p:spPr>
        <p:txBody>
          <a:bodyPr wrap="square" lIns="0" tIns="0" rIns="0" bIns="0" rtlCol="0" anchor="ctr"/>
          <a:lstStyle/>
          <a:p>
            <a:pPr algn="ctr"/>
            <a:r>
              <a:rPr lang="en-US" sz="1600" noProof="0" dirty="0">
                <a:solidFill>
                  <a:schemeClr val="bg1"/>
                </a:solidFill>
              </a:rPr>
              <a:t>Review </a:t>
            </a:r>
            <a:r>
              <a:rPr lang="en-US" sz="1600" b="1" noProof="0" dirty="0">
                <a:solidFill>
                  <a:schemeClr val="bg1"/>
                </a:solidFill>
              </a:rPr>
              <a:t>Module 9</a:t>
            </a:r>
            <a:r>
              <a:rPr lang="en-US" sz="1600" noProof="0" dirty="0">
                <a:solidFill>
                  <a:schemeClr val="bg1"/>
                </a:solidFill>
              </a:rPr>
              <a:t> for further information on FDA-approved anti-obesity </a:t>
            </a:r>
            <a:br>
              <a:rPr lang="en-US" sz="1600" noProof="0" dirty="0">
                <a:solidFill>
                  <a:schemeClr val="bg1"/>
                </a:solidFill>
              </a:rPr>
            </a:br>
            <a:r>
              <a:rPr lang="en-US" sz="1600" noProof="0" dirty="0">
                <a:solidFill>
                  <a:schemeClr val="bg1"/>
                </a:solidFill>
              </a:rPr>
              <a:t>medications for chronic weight management </a:t>
            </a:r>
          </a:p>
        </p:txBody>
      </p:sp>
      <p:sp>
        <p:nvSpPr>
          <p:cNvPr id="32" name="Oval 31">
            <a:extLst>
              <a:ext uri="{FF2B5EF4-FFF2-40B4-BE49-F238E27FC236}">
                <a16:creationId xmlns:a16="http://schemas.microsoft.com/office/drawing/2014/main" id="{2AFBE3DC-B57B-4EE4-7693-CD5E537D1E59}"/>
              </a:ext>
            </a:extLst>
          </p:cNvPr>
          <p:cNvSpPr/>
          <p:nvPr/>
        </p:nvSpPr>
        <p:spPr>
          <a:xfrm>
            <a:off x="502920" y="1776055"/>
            <a:ext cx="2880000" cy="2880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fontAlgn="base">
              <a:spcAft>
                <a:spcPts val="600"/>
              </a:spcAft>
              <a:defRPr/>
            </a:pPr>
            <a:r>
              <a:rPr lang="en-GB" sz="1600" noProof="0" dirty="0"/>
              <a:t>Pharmacotherapy may be considered for patients who have not achieved successful outcomes with lifestyle modification alone</a:t>
            </a:r>
            <a:r>
              <a:rPr lang="en-US" sz="1600" baseline="30000" noProof="0" dirty="0"/>
              <a:t>1</a:t>
            </a:r>
            <a:r>
              <a:rPr lang="en-US" sz="1600" noProof="0" dirty="0"/>
              <a:t> </a:t>
            </a:r>
          </a:p>
          <a:p>
            <a:pPr lvl="0" fontAlgn="base">
              <a:spcAft>
                <a:spcPts val="600"/>
              </a:spcAft>
              <a:defRPr/>
            </a:pPr>
            <a:endParaRPr lang="en-US" sz="1600" noProof="0" dirty="0"/>
          </a:p>
        </p:txBody>
      </p:sp>
      <p:grpSp>
        <p:nvGrpSpPr>
          <p:cNvPr id="5" name="Group 4">
            <a:extLst>
              <a:ext uri="{FF2B5EF4-FFF2-40B4-BE49-F238E27FC236}">
                <a16:creationId xmlns:a16="http://schemas.microsoft.com/office/drawing/2014/main" id="{19D641B7-C1A2-C996-09B5-7A2E3DCCD241}"/>
              </a:ext>
            </a:extLst>
          </p:cNvPr>
          <p:cNvGrpSpPr/>
          <p:nvPr/>
        </p:nvGrpSpPr>
        <p:grpSpPr>
          <a:xfrm>
            <a:off x="2495522" y="3781556"/>
            <a:ext cx="1135380" cy="1135380"/>
            <a:chOff x="2400300" y="3785720"/>
            <a:chExt cx="1135380" cy="1135380"/>
          </a:xfrm>
        </p:grpSpPr>
        <p:sp>
          <p:nvSpPr>
            <p:cNvPr id="33" name="Oval 32">
              <a:extLst>
                <a:ext uri="{FF2B5EF4-FFF2-40B4-BE49-F238E27FC236}">
                  <a16:creationId xmlns:a16="http://schemas.microsoft.com/office/drawing/2014/main" id="{8EF9776F-C0C2-730F-49F6-A93636F1FB0D}"/>
                </a:ext>
              </a:extLst>
            </p:cNvPr>
            <p:cNvSpPr/>
            <p:nvPr/>
          </p:nvSpPr>
          <p:spPr>
            <a:xfrm>
              <a:off x="2400300" y="3785720"/>
              <a:ext cx="1135380" cy="1135380"/>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fontAlgn="base">
                <a:spcAft>
                  <a:spcPts val="600"/>
                </a:spcAft>
                <a:defRPr/>
              </a:pPr>
              <a:endParaRPr lang="en-US" sz="1600" noProof="0" dirty="0"/>
            </a:p>
          </p:txBody>
        </p:sp>
        <p:pic>
          <p:nvPicPr>
            <p:cNvPr id="35" name="Graphic 34">
              <a:extLst>
                <a:ext uri="{FF2B5EF4-FFF2-40B4-BE49-F238E27FC236}">
                  <a16:creationId xmlns:a16="http://schemas.microsoft.com/office/drawing/2014/main" id="{5D6F0B59-20BF-3B57-79D1-8CAEF0F26BB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05100" y="4025901"/>
              <a:ext cx="701040" cy="701040"/>
            </a:xfrm>
            <a:prstGeom prst="rect">
              <a:avLst/>
            </a:prstGeom>
          </p:spPr>
        </p:pic>
      </p:grpSp>
      <p:sp>
        <p:nvSpPr>
          <p:cNvPr id="7" name="Rectangle: Rounded Corners 6">
            <a:extLst>
              <a:ext uri="{FF2B5EF4-FFF2-40B4-BE49-F238E27FC236}">
                <a16:creationId xmlns:a16="http://schemas.microsoft.com/office/drawing/2014/main" id="{0B7593E5-B982-6467-1683-57990BDADB91}"/>
              </a:ext>
            </a:extLst>
          </p:cNvPr>
          <p:cNvSpPr/>
          <p:nvPr/>
        </p:nvSpPr>
        <p:spPr>
          <a:xfrm>
            <a:off x="3630902" y="1681962"/>
            <a:ext cx="8129483" cy="1448356"/>
          </a:xfrm>
          <a:prstGeom prst="roundRect">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TextBox 10">
            <a:extLst>
              <a:ext uri="{FF2B5EF4-FFF2-40B4-BE49-F238E27FC236}">
                <a16:creationId xmlns:a16="http://schemas.microsoft.com/office/drawing/2014/main" id="{68FEDBC3-461D-5057-7206-E8CDEA70C715}"/>
              </a:ext>
            </a:extLst>
          </p:cNvPr>
          <p:cNvSpPr txBox="1"/>
          <p:nvPr/>
        </p:nvSpPr>
        <p:spPr>
          <a:xfrm>
            <a:off x="3859935" y="1762432"/>
            <a:ext cx="7793659" cy="1308050"/>
          </a:xfrm>
          <a:prstGeom prst="rect">
            <a:avLst/>
          </a:prstGeom>
          <a:noFill/>
        </p:spPr>
        <p:txBody>
          <a:bodyPr wrap="square" lIns="0" tIns="0" rIns="0" bIns="0" rtlCol="0" anchor="t">
            <a:spAutoFit/>
          </a:bodyPr>
          <a:lstStyle/>
          <a:p>
            <a:pPr>
              <a:spcBef>
                <a:spcPts val="600"/>
              </a:spcBef>
            </a:pPr>
            <a:r>
              <a:rPr lang="en-US" sz="1600" b="1" noProof="0" dirty="0">
                <a:solidFill>
                  <a:schemeClr val="bg1"/>
                </a:solidFill>
              </a:rPr>
              <a:t>Consensus recommendation (AAP)</a:t>
            </a:r>
            <a:r>
              <a:rPr lang="en-US" sz="1600" baseline="30000" noProof="0" dirty="0">
                <a:solidFill>
                  <a:schemeClr val="bg1"/>
                </a:solidFill>
              </a:rPr>
              <a:t>2</a:t>
            </a:r>
          </a:p>
          <a:p>
            <a:pPr>
              <a:spcBef>
                <a:spcPts val="300"/>
              </a:spcBef>
            </a:pPr>
            <a:r>
              <a:rPr lang="en-GB" sz="1600" dirty="0">
                <a:solidFill>
                  <a:schemeClr val="bg1"/>
                </a:solidFill>
              </a:rPr>
              <a:t>“i</a:t>
            </a:r>
            <a:r>
              <a:rPr lang="en-GB" sz="1600" noProof="0" dirty="0">
                <a:solidFill>
                  <a:schemeClr val="bg1"/>
                </a:solidFill>
              </a:rPr>
              <a:t>t is important to consider the use of pharmacotherapy for children and adolescents who require an additional treatment option to manage their obesity. In particular, children with more immediate and life-threatening comorbidities, those who are older, and those affected by more severe obesity may require additional therapeutic options.”</a:t>
            </a:r>
            <a:endParaRPr lang="en-US" sz="1600" noProof="0" dirty="0">
              <a:solidFill>
                <a:schemeClr val="bg1"/>
              </a:solidFill>
            </a:endParaRPr>
          </a:p>
        </p:txBody>
      </p:sp>
    </p:spTree>
    <p:extLst>
      <p:ext uri="{BB962C8B-B14F-4D97-AF65-F5344CB8AC3E}">
        <p14:creationId xmlns:p14="http://schemas.microsoft.com/office/powerpoint/2010/main" val="330104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4AE37999-1486-77BF-3E10-69B3096E82F0}"/>
              </a:ext>
            </a:extLst>
          </p:cNvPr>
          <p:cNvSpPr/>
          <p:nvPr/>
        </p:nvSpPr>
        <p:spPr>
          <a:xfrm>
            <a:off x="-1" y="2335202"/>
            <a:ext cx="12192000" cy="30290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D7EF530D-702C-9C9E-624D-0914A9017EF1}"/>
              </a:ext>
            </a:extLst>
          </p:cNvPr>
          <p:cNvSpPr>
            <a:spLocks noGrp="1"/>
          </p:cNvSpPr>
          <p:nvPr>
            <p:ph type="title"/>
          </p:nvPr>
        </p:nvSpPr>
        <p:spPr>
          <a:xfrm>
            <a:off x="536240" y="414320"/>
            <a:ext cx="10896000" cy="1082209"/>
          </a:xfrm>
        </p:spPr>
        <p:txBody>
          <a:bodyPr/>
          <a:lstStyle/>
          <a:p>
            <a:r>
              <a:rPr lang="en-US" noProof="0" dirty="0"/>
              <a:t>Recommendations for bariatric surgery in children</a:t>
            </a:r>
          </a:p>
        </p:txBody>
      </p:sp>
      <p:sp>
        <p:nvSpPr>
          <p:cNvPr id="3" name="Text Placeholder 2">
            <a:extLst>
              <a:ext uri="{FF2B5EF4-FFF2-40B4-BE49-F238E27FC236}">
                <a16:creationId xmlns:a16="http://schemas.microsoft.com/office/drawing/2014/main" id="{899650C5-12E7-EA82-66B5-F4BE2A127824}"/>
              </a:ext>
            </a:extLst>
          </p:cNvPr>
          <p:cNvSpPr>
            <a:spLocks noGrp="1"/>
          </p:cNvSpPr>
          <p:nvPr>
            <p:ph type="body" sz="quarter" idx="13"/>
          </p:nvPr>
        </p:nvSpPr>
        <p:spPr>
          <a:xfrm>
            <a:off x="536240" y="6020060"/>
            <a:ext cx="10896000" cy="324000"/>
          </a:xfrm>
        </p:spPr>
        <p:txBody>
          <a:bodyPr/>
          <a:lstStyle/>
          <a:p>
            <a:r>
              <a:rPr lang="en-US" noProof="0" dirty="0"/>
              <a:t>AAP, American Academy of Pediatrics; ASMBS, American Society for Metabolic and Bariatric Surgery; BMI, body mass index; RYGB, Roux-en-Y gastric bypass; VSG, vertical gastric sleeve.</a:t>
            </a:r>
            <a:br>
              <a:rPr lang="en-US" noProof="0" dirty="0"/>
            </a:br>
            <a:r>
              <a:rPr lang="en-US" noProof="0" dirty="0"/>
              <a:t>1. Pratt JSA et al. Surg Obes Relat Dis 2018;14:882–901; 2. Hampl SE et al. Pediatrics 2023;151:e2022060640.</a:t>
            </a:r>
          </a:p>
        </p:txBody>
      </p:sp>
      <p:sp>
        <p:nvSpPr>
          <p:cNvPr id="27" name="Oval 26">
            <a:extLst>
              <a:ext uri="{FF2B5EF4-FFF2-40B4-BE49-F238E27FC236}">
                <a16:creationId xmlns:a16="http://schemas.microsoft.com/office/drawing/2014/main" id="{6D4AD656-739E-405A-CA0C-A4604811109B}"/>
              </a:ext>
            </a:extLst>
          </p:cNvPr>
          <p:cNvSpPr/>
          <p:nvPr/>
        </p:nvSpPr>
        <p:spPr>
          <a:xfrm>
            <a:off x="4181475" y="1843512"/>
            <a:ext cx="3829050" cy="3829050"/>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1219170" fontAlgn="base">
              <a:spcBef>
                <a:spcPct val="50000"/>
              </a:spcBef>
              <a:spcAft>
                <a:spcPct val="0"/>
              </a:spcAft>
              <a:defRPr sz="1200" b="1" i="0" u="none" strike="noStrike" kern="1200" baseline="0">
                <a:solidFill>
                  <a:srgbClr val="001965"/>
                </a:solidFill>
                <a:latin typeface="+mn-lt"/>
                <a:ea typeface="+mn-ea"/>
                <a:cs typeface="+mn-cs"/>
              </a:defRPr>
            </a:pPr>
            <a:endParaRPr lang="en-US" sz="2400" b="1" noProof="0" dirty="0">
              <a:solidFill>
                <a:srgbClr val="FFFFFF"/>
              </a:solidFill>
            </a:endParaRPr>
          </a:p>
        </p:txBody>
      </p:sp>
      <p:sp>
        <p:nvSpPr>
          <p:cNvPr id="28" name="Rounded Rectangle 48">
            <a:extLst>
              <a:ext uri="{FF2B5EF4-FFF2-40B4-BE49-F238E27FC236}">
                <a16:creationId xmlns:a16="http://schemas.microsoft.com/office/drawing/2014/main" id="{3EB1846C-9889-336E-CAD5-318F0F32F37B}"/>
              </a:ext>
            </a:extLst>
          </p:cNvPr>
          <p:cNvSpPr/>
          <p:nvPr/>
        </p:nvSpPr>
        <p:spPr>
          <a:xfrm>
            <a:off x="348205" y="4036487"/>
            <a:ext cx="4423926" cy="1481724"/>
          </a:xfrm>
          <a:prstGeom prst="roundRect">
            <a:avLst>
              <a:gd name="adj" fmla="val 50000"/>
            </a:avLst>
          </a:prstGeom>
          <a:solidFill>
            <a:schemeClr val="accent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AAP: </a:t>
            </a:r>
            <a:r>
              <a:rPr kumimoji="0" lang="en-GB" sz="160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Referral to a comprehensive metabolic and bariatric surgery center with experience and expertise in treatment of patients younger </a:t>
            </a:r>
            <a:br>
              <a:rPr kumimoji="0" lang="en-GB" sz="160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GB" sz="160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than 18 years</a:t>
            </a:r>
            <a:r>
              <a:rPr kumimoji="0" lang="en-US" sz="160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2</a:t>
            </a:r>
          </a:p>
        </p:txBody>
      </p:sp>
      <p:sp>
        <p:nvSpPr>
          <p:cNvPr id="29" name="Rounded Rectangle 70">
            <a:extLst>
              <a:ext uri="{FF2B5EF4-FFF2-40B4-BE49-F238E27FC236}">
                <a16:creationId xmlns:a16="http://schemas.microsoft.com/office/drawing/2014/main" id="{514315D4-F8AB-3BD7-ABA0-F248C0F6FC85}"/>
              </a:ext>
            </a:extLst>
          </p:cNvPr>
          <p:cNvSpPr/>
          <p:nvPr/>
        </p:nvSpPr>
        <p:spPr>
          <a:xfrm>
            <a:off x="7324620" y="3438127"/>
            <a:ext cx="4707119" cy="2302686"/>
          </a:xfrm>
          <a:prstGeom prst="roundRect">
            <a:avLst>
              <a:gd name="adj" fmla="val 22355"/>
            </a:avLst>
          </a:prstGeom>
          <a:solidFill>
            <a:schemeClr val="accent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1219139" fontAlgn="base">
              <a:spcBef>
                <a:spcPts val="600"/>
              </a:spcBef>
              <a:spcAft>
                <a:spcPct val="0"/>
              </a:spcAft>
              <a:defRPr/>
            </a:pPr>
            <a:r>
              <a:rPr kumimoji="0" lang="en-US" sz="14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AAP: </a:t>
            </a:r>
            <a:r>
              <a:rPr kumimoji="0" lang="en-GB" sz="14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Criteria for pediatric metabolic and bariatric surgery</a:t>
            </a:r>
            <a:r>
              <a:rPr kumimoji="0" lang="en-US" sz="14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criteria</a:t>
            </a:r>
            <a:r>
              <a:rPr kumimoji="0" lang="en-US" sz="140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2</a:t>
            </a:r>
            <a:r>
              <a:rPr kumimoji="0" lang="en-US" sz="14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a:t>
            </a:r>
          </a:p>
          <a:p>
            <a:pPr lvl="0" defTabSz="1219139" fontAlgn="base">
              <a:spcBef>
                <a:spcPts val="600"/>
              </a:spcBef>
              <a:spcAft>
                <a:spcPct val="0"/>
              </a:spcAft>
              <a:defRPr/>
            </a:pPr>
            <a:r>
              <a:rPr kumimoji="0" lang="en-GB" sz="140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Class 2 obesity, BMI ≥35 kg/m</a:t>
            </a:r>
            <a:r>
              <a:rPr kumimoji="0" lang="en-GB" sz="140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2</a:t>
            </a:r>
            <a:r>
              <a:rPr kumimoji="0" lang="en-GB" sz="140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or 120% of the 95th percentile for age and sex, whichever is lower WITH a co-morbid condition</a:t>
            </a:r>
          </a:p>
          <a:p>
            <a:pPr lvl="0" defTabSz="1219139" fontAlgn="base">
              <a:spcBef>
                <a:spcPts val="600"/>
              </a:spcBef>
              <a:spcAft>
                <a:spcPct val="0"/>
              </a:spcAft>
              <a:defRPr/>
            </a:pPr>
            <a:r>
              <a:rPr kumimoji="0" lang="en-GB" sz="140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Class 3 obesity, BMI ≥40 kg/m</a:t>
            </a:r>
            <a:r>
              <a:rPr kumimoji="0" lang="en-GB" sz="140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2</a:t>
            </a:r>
            <a:r>
              <a:rPr kumimoji="0" lang="en-GB" sz="140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or 140% of the 95th percentile for age and sex, whichever is lower</a:t>
            </a:r>
          </a:p>
        </p:txBody>
      </p:sp>
      <p:sp>
        <p:nvSpPr>
          <p:cNvPr id="30" name="Rounded Rectangle 48">
            <a:extLst>
              <a:ext uri="{FF2B5EF4-FFF2-40B4-BE49-F238E27FC236}">
                <a16:creationId xmlns:a16="http://schemas.microsoft.com/office/drawing/2014/main" id="{E5231DF3-5C8C-5E20-B4F5-7628A4AB5806}"/>
              </a:ext>
            </a:extLst>
          </p:cNvPr>
          <p:cNvSpPr/>
          <p:nvPr/>
        </p:nvSpPr>
        <p:spPr>
          <a:xfrm>
            <a:off x="348205" y="2152378"/>
            <a:ext cx="4423926" cy="1481724"/>
          </a:xfrm>
          <a:prstGeom prst="roundRect">
            <a:avLst>
              <a:gd name="adj" fmla="val 50000"/>
            </a:avLst>
          </a:prstGeom>
          <a:solidFill>
            <a:schemeClr val="tx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ASMBS </a:t>
            </a:r>
            <a:r>
              <a:rPr kumimoji="0" lang="en-US" sz="160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recommends the use of either </a:t>
            </a:r>
            <a:br>
              <a:rPr kumimoji="0" lang="en-US" sz="160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b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RYGB or VSG</a:t>
            </a:r>
            <a:r>
              <a:rPr kumimoji="0" lang="en-US" sz="1600"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in adolescents</a:t>
            </a:r>
            <a:r>
              <a:rPr kumimoji="0" lang="en-US" sz="1600" i="0" u="none" strike="noStrike" kern="1200" cap="none" spc="0" normalizeH="0" baseline="30000" noProof="0" dirty="0">
                <a:ln>
                  <a:noFill/>
                </a:ln>
                <a:solidFill>
                  <a:schemeClr val="bg1"/>
                </a:solidFill>
                <a:effectLst/>
                <a:uLnTx/>
                <a:uFillTx/>
                <a:ea typeface="Apis For Office" panose="020B0504010101010104" pitchFamily="34" charset="0"/>
                <a:cs typeface="Apis For Office" panose="020B0504010101010104" pitchFamily="34" charset="0"/>
              </a:rPr>
              <a:t>1</a:t>
            </a:r>
            <a:r>
              <a:rPr kumimoji="0" lang="en-US" sz="1600" b="1" i="0" u="none" strike="noStrike" kern="1200" cap="none" spc="0" normalizeH="0" baseline="0" noProof="0" dirty="0">
                <a:ln>
                  <a:noFill/>
                </a:ln>
                <a:solidFill>
                  <a:schemeClr val="bg1"/>
                </a:solidFill>
                <a:effectLst/>
                <a:uLnTx/>
                <a:uFillTx/>
                <a:ea typeface="Apis For Office" panose="020B0504010101010104" pitchFamily="34" charset="0"/>
                <a:cs typeface="Apis For Office" panose="020B0504010101010104" pitchFamily="34" charset="0"/>
              </a:rPr>
              <a:t> </a:t>
            </a:r>
          </a:p>
        </p:txBody>
      </p:sp>
      <p:grpSp>
        <p:nvGrpSpPr>
          <p:cNvPr id="32" name="Group 109">
            <a:extLst>
              <a:ext uri="{FF2B5EF4-FFF2-40B4-BE49-F238E27FC236}">
                <a16:creationId xmlns:a16="http://schemas.microsoft.com/office/drawing/2014/main" id="{4628056A-FC8D-CE44-C159-15D2AB83FC7F}"/>
              </a:ext>
            </a:extLst>
          </p:cNvPr>
          <p:cNvGrpSpPr>
            <a:grpSpLocks noChangeAspect="1"/>
          </p:cNvGrpSpPr>
          <p:nvPr/>
        </p:nvGrpSpPr>
        <p:grpSpPr bwMode="auto">
          <a:xfrm>
            <a:off x="5321462" y="2266951"/>
            <a:ext cx="1598150" cy="2907686"/>
            <a:chOff x="2287" y="548"/>
            <a:chExt cx="1185" cy="2156"/>
          </a:xfrm>
          <a:noFill/>
        </p:grpSpPr>
        <p:sp>
          <p:nvSpPr>
            <p:cNvPr id="33" name="Freeform 110">
              <a:extLst>
                <a:ext uri="{FF2B5EF4-FFF2-40B4-BE49-F238E27FC236}">
                  <a16:creationId xmlns:a16="http://schemas.microsoft.com/office/drawing/2014/main" id="{2B7826B1-1C5D-4A62-C882-13127AF3F17A}"/>
                </a:ext>
              </a:extLst>
            </p:cNvPr>
            <p:cNvSpPr>
              <a:spLocks noEditPoints="1"/>
            </p:cNvSpPr>
            <p:nvPr/>
          </p:nvSpPr>
          <p:spPr bwMode="auto">
            <a:xfrm>
              <a:off x="2287" y="1002"/>
              <a:ext cx="1185" cy="1702"/>
            </a:xfrm>
            <a:custGeom>
              <a:avLst/>
              <a:gdLst>
                <a:gd name="T0" fmla="*/ 406 w 787"/>
                <a:gd name="T1" fmla="*/ 659 h 1134"/>
                <a:gd name="T2" fmla="*/ 381 w 787"/>
                <a:gd name="T3" fmla="*/ 659 h 1134"/>
                <a:gd name="T4" fmla="*/ 381 w 787"/>
                <a:gd name="T5" fmla="*/ 677 h 1134"/>
                <a:gd name="T6" fmla="*/ 381 w 787"/>
                <a:gd name="T7" fmla="*/ 1049 h 1134"/>
                <a:gd name="T8" fmla="*/ 292 w 787"/>
                <a:gd name="T9" fmla="*/ 1124 h 1134"/>
                <a:gd name="T10" fmla="*/ 230 w 787"/>
                <a:gd name="T11" fmla="*/ 1061 h 1134"/>
                <a:gd name="T12" fmla="*/ 169 w 787"/>
                <a:gd name="T13" fmla="*/ 734 h 1134"/>
                <a:gd name="T14" fmla="*/ 130 w 787"/>
                <a:gd name="T15" fmla="*/ 526 h 1134"/>
                <a:gd name="T16" fmla="*/ 125 w 787"/>
                <a:gd name="T17" fmla="*/ 519 h 1134"/>
                <a:gd name="T18" fmla="*/ 125 w 787"/>
                <a:gd name="T19" fmla="*/ 558 h 1134"/>
                <a:gd name="T20" fmla="*/ 86 w 787"/>
                <a:gd name="T21" fmla="*/ 614 h 1134"/>
                <a:gd name="T22" fmla="*/ 1 w 787"/>
                <a:gd name="T23" fmla="*/ 563 h 1134"/>
                <a:gd name="T24" fmla="*/ 58 w 787"/>
                <a:gd name="T25" fmla="*/ 196 h 1134"/>
                <a:gd name="T26" fmla="*/ 158 w 787"/>
                <a:gd name="T27" fmla="*/ 52 h 1134"/>
                <a:gd name="T28" fmla="*/ 296 w 787"/>
                <a:gd name="T29" fmla="*/ 5 h 1134"/>
                <a:gd name="T30" fmla="*/ 313 w 787"/>
                <a:gd name="T31" fmla="*/ 11 h 1134"/>
                <a:gd name="T32" fmla="*/ 463 w 787"/>
                <a:gd name="T33" fmla="*/ 15 h 1134"/>
                <a:gd name="T34" fmla="*/ 559 w 787"/>
                <a:gd name="T35" fmla="*/ 13 h 1134"/>
                <a:gd name="T36" fmla="*/ 695 w 787"/>
                <a:gd name="T37" fmla="*/ 128 h 1134"/>
                <a:gd name="T38" fmla="*/ 769 w 787"/>
                <a:gd name="T39" fmla="*/ 338 h 1134"/>
                <a:gd name="T40" fmla="*/ 787 w 787"/>
                <a:gd name="T41" fmla="*/ 556 h 1134"/>
                <a:gd name="T42" fmla="*/ 734 w 787"/>
                <a:gd name="T43" fmla="*/ 618 h 1134"/>
                <a:gd name="T44" fmla="*/ 665 w 787"/>
                <a:gd name="T45" fmla="*/ 574 h 1134"/>
                <a:gd name="T46" fmla="*/ 662 w 787"/>
                <a:gd name="T47" fmla="*/ 529 h 1134"/>
                <a:gd name="T48" fmla="*/ 659 w 787"/>
                <a:gd name="T49" fmla="*/ 516 h 1134"/>
                <a:gd name="T50" fmla="*/ 646 w 787"/>
                <a:gd name="T51" fmla="*/ 588 h 1134"/>
                <a:gd name="T52" fmla="*/ 592 w 787"/>
                <a:gd name="T53" fmla="*/ 875 h 1134"/>
                <a:gd name="T54" fmla="*/ 556 w 787"/>
                <a:gd name="T55" fmla="*/ 1072 h 1134"/>
                <a:gd name="T56" fmla="*/ 539 w 787"/>
                <a:gd name="T57" fmla="*/ 1103 h 1134"/>
                <a:gd name="T58" fmla="*/ 422 w 787"/>
                <a:gd name="T59" fmla="*/ 1101 h 1134"/>
                <a:gd name="T60" fmla="*/ 406 w 787"/>
                <a:gd name="T61" fmla="*/ 1060 h 1134"/>
                <a:gd name="T62" fmla="*/ 406 w 787"/>
                <a:gd name="T63" fmla="*/ 677 h 1134"/>
                <a:gd name="T64" fmla="*/ 406 w 787"/>
                <a:gd name="T65" fmla="*/ 659 h 1134"/>
                <a:gd name="T66" fmla="*/ 616 w 787"/>
                <a:gd name="T67" fmla="*/ 557 h 1134"/>
                <a:gd name="T68" fmla="*/ 637 w 787"/>
                <a:gd name="T69" fmla="*/ 311 h 1134"/>
                <a:gd name="T70" fmla="*/ 616 w 787"/>
                <a:gd name="T71" fmla="*/ 557 h 1134"/>
                <a:gd name="T72" fmla="*/ 167 w 787"/>
                <a:gd name="T73" fmla="*/ 554 h 1134"/>
                <a:gd name="T74" fmla="*/ 124 w 787"/>
                <a:gd name="T75" fmla="*/ 441 h 1134"/>
                <a:gd name="T76" fmla="*/ 144 w 787"/>
                <a:gd name="T77" fmla="*/ 321 h 1134"/>
                <a:gd name="T78" fmla="*/ 167 w 787"/>
                <a:gd name="T79" fmla="*/ 554 h 1134"/>
                <a:gd name="T80" fmla="*/ 627 w 787"/>
                <a:gd name="T81" fmla="*/ 300 h 1134"/>
                <a:gd name="T82" fmla="*/ 633 w 787"/>
                <a:gd name="T83" fmla="*/ 298 h 1134"/>
                <a:gd name="T84" fmla="*/ 603 w 787"/>
                <a:gd name="T85" fmla="*/ 218 h 1134"/>
                <a:gd name="T86" fmla="*/ 600 w 787"/>
                <a:gd name="T87" fmla="*/ 219 h 1134"/>
                <a:gd name="T88" fmla="*/ 611 w 787"/>
                <a:gd name="T89" fmla="*/ 260 h 1134"/>
                <a:gd name="T90" fmla="*/ 627 w 787"/>
                <a:gd name="T91" fmla="*/ 300 h 1134"/>
                <a:gd name="T92" fmla="*/ 186 w 787"/>
                <a:gd name="T93" fmla="*/ 226 h 1134"/>
                <a:gd name="T94" fmla="*/ 182 w 787"/>
                <a:gd name="T95" fmla="*/ 224 h 1134"/>
                <a:gd name="T96" fmla="*/ 154 w 787"/>
                <a:gd name="T97" fmla="*/ 298 h 1134"/>
                <a:gd name="T98" fmla="*/ 186 w 787"/>
                <a:gd name="T99" fmla="*/ 226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7" h="1134">
                  <a:moveTo>
                    <a:pt x="406" y="659"/>
                  </a:moveTo>
                  <a:cubicBezTo>
                    <a:pt x="397" y="659"/>
                    <a:pt x="390" y="659"/>
                    <a:pt x="381" y="659"/>
                  </a:cubicBezTo>
                  <a:cubicBezTo>
                    <a:pt x="381" y="665"/>
                    <a:pt x="381" y="671"/>
                    <a:pt x="381" y="677"/>
                  </a:cubicBezTo>
                  <a:cubicBezTo>
                    <a:pt x="381" y="801"/>
                    <a:pt x="381" y="925"/>
                    <a:pt x="381" y="1049"/>
                  </a:cubicBezTo>
                  <a:cubicBezTo>
                    <a:pt x="381" y="1102"/>
                    <a:pt x="343" y="1133"/>
                    <a:pt x="292" y="1124"/>
                  </a:cubicBezTo>
                  <a:cubicBezTo>
                    <a:pt x="255" y="1118"/>
                    <a:pt x="238" y="1099"/>
                    <a:pt x="230" y="1061"/>
                  </a:cubicBezTo>
                  <a:cubicBezTo>
                    <a:pt x="210" y="952"/>
                    <a:pt x="189" y="843"/>
                    <a:pt x="169" y="734"/>
                  </a:cubicBezTo>
                  <a:cubicBezTo>
                    <a:pt x="156" y="664"/>
                    <a:pt x="143" y="595"/>
                    <a:pt x="130" y="526"/>
                  </a:cubicBezTo>
                  <a:cubicBezTo>
                    <a:pt x="130" y="524"/>
                    <a:pt x="129" y="522"/>
                    <a:pt x="125" y="519"/>
                  </a:cubicBezTo>
                  <a:cubicBezTo>
                    <a:pt x="125" y="532"/>
                    <a:pt x="125" y="545"/>
                    <a:pt x="125" y="558"/>
                  </a:cubicBezTo>
                  <a:cubicBezTo>
                    <a:pt x="124" y="585"/>
                    <a:pt x="110" y="604"/>
                    <a:pt x="86" y="614"/>
                  </a:cubicBezTo>
                  <a:cubicBezTo>
                    <a:pt x="48" y="630"/>
                    <a:pt x="1" y="603"/>
                    <a:pt x="1" y="563"/>
                  </a:cubicBezTo>
                  <a:cubicBezTo>
                    <a:pt x="0" y="437"/>
                    <a:pt x="12" y="314"/>
                    <a:pt x="58" y="196"/>
                  </a:cubicBezTo>
                  <a:cubicBezTo>
                    <a:pt x="81" y="141"/>
                    <a:pt x="111" y="91"/>
                    <a:pt x="158" y="52"/>
                  </a:cubicBezTo>
                  <a:cubicBezTo>
                    <a:pt x="198" y="19"/>
                    <a:pt x="243" y="1"/>
                    <a:pt x="296" y="5"/>
                  </a:cubicBezTo>
                  <a:cubicBezTo>
                    <a:pt x="302" y="6"/>
                    <a:pt x="308" y="8"/>
                    <a:pt x="313" y="11"/>
                  </a:cubicBezTo>
                  <a:cubicBezTo>
                    <a:pt x="362" y="35"/>
                    <a:pt x="413" y="39"/>
                    <a:pt x="463" y="15"/>
                  </a:cubicBezTo>
                  <a:cubicBezTo>
                    <a:pt x="495" y="0"/>
                    <a:pt x="527" y="2"/>
                    <a:pt x="559" y="13"/>
                  </a:cubicBezTo>
                  <a:cubicBezTo>
                    <a:pt x="619" y="33"/>
                    <a:pt x="662" y="76"/>
                    <a:pt x="695" y="128"/>
                  </a:cubicBezTo>
                  <a:cubicBezTo>
                    <a:pt x="735" y="193"/>
                    <a:pt x="756" y="264"/>
                    <a:pt x="769" y="338"/>
                  </a:cubicBezTo>
                  <a:cubicBezTo>
                    <a:pt x="782" y="410"/>
                    <a:pt x="787" y="483"/>
                    <a:pt x="787" y="556"/>
                  </a:cubicBezTo>
                  <a:cubicBezTo>
                    <a:pt x="787" y="587"/>
                    <a:pt x="764" y="614"/>
                    <a:pt x="734" y="618"/>
                  </a:cubicBezTo>
                  <a:cubicBezTo>
                    <a:pt x="703" y="622"/>
                    <a:pt x="673" y="605"/>
                    <a:pt x="665" y="574"/>
                  </a:cubicBezTo>
                  <a:cubicBezTo>
                    <a:pt x="661" y="560"/>
                    <a:pt x="663" y="544"/>
                    <a:pt x="662" y="529"/>
                  </a:cubicBezTo>
                  <a:cubicBezTo>
                    <a:pt x="661" y="524"/>
                    <a:pt x="662" y="520"/>
                    <a:pt x="659" y="516"/>
                  </a:cubicBezTo>
                  <a:cubicBezTo>
                    <a:pt x="655" y="540"/>
                    <a:pt x="650" y="564"/>
                    <a:pt x="646" y="588"/>
                  </a:cubicBezTo>
                  <a:cubicBezTo>
                    <a:pt x="628" y="684"/>
                    <a:pt x="610" y="779"/>
                    <a:pt x="592" y="875"/>
                  </a:cubicBezTo>
                  <a:cubicBezTo>
                    <a:pt x="580" y="940"/>
                    <a:pt x="569" y="1006"/>
                    <a:pt x="556" y="1072"/>
                  </a:cubicBezTo>
                  <a:cubicBezTo>
                    <a:pt x="553" y="1083"/>
                    <a:pt x="547" y="1095"/>
                    <a:pt x="539" y="1103"/>
                  </a:cubicBezTo>
                  <a:cubicBezTo>
                    <a:pt x="508" y="1134"/>
                    <a:pt x="452" y="1132"/>
                    <a:pt x="422" y="1101"/>
                  </a:cubicBezTo>
                  <a:cubicBezTo>
                    <a:pt x="410" y="1090"/>
                    <a:pt x="406" y="1076"/>
                    <a:pt x="406" y="1060"/>
                  </a:cubicBezTo>
                  <a:cubicBezTo>
                    <a:pt x="406" y="932"/>
                    <a:pt x="406" y="804"/>
                    <a:pt x="406" y="677"/>
                  </a:cubicBezTo>
                  <a:cubicBezTo>
                    <a:pt x="406" y="671"/>
                    <a:pt x="406" y="665"/>
                    <a:pt x="406" y="659"/>
                  </a:cubicBezTo>
                  <a:close/>
                  <a:moveTo>
                    <a:pt x="616" y="557"/>
                  </a:moveTo>
                  <a:cubicBezTo>
                    <a:pt x="689" y="506"/>
                    <a:pt x="689" y="379"/>
                    <a:pt x="637" y="311"/>
                  </a:cubicBezTo>
                  <a:cubicBezTo>
                    <a:pt x="680" y="398"/>
                    <a:pt x="673" y="479"/>
                    <a:pt x="616" y="557"/>
                  </a:cubicBezTo>
                  <a:close/>
                  <a:moveTo>
                    <a:pt x="167" y="554"/>
                  </a:moveTo>
                  <a:cubicBezTo>
                    <a:pt x="144" y="519"/>
                    <a:pt x="128" y="483"/>
                    <a:pt x="124" y="441"/>
                  </a:cubicBezTo>
                  <a:cubicBezTo>
                    <a:pt x="120" y="399"/>
                    <a:pt x="128" y="360"/>
                    <a:pt x="144" y="321"/>
                  </a:cubicBezTo>
                  <a:cubicBezTo>
                    <a:pt x="102" y="381"/>
                    <a:pt x="98" y="501"/>
                    <a:pt x="167" y="554"/>
                  </a:cubicBezTo>
                  <a:close/>
                  <a:moveTo>
                    <a:pt x="627" y="300"/>
                  </a:moveTo>
                  <a:cubicBezTo>
                    <a:pt x="629" y="300"/>
                    <a:pt x="631" y="299"/>
                    <a:pt x="633" y="298"/>
                  </a:cubicBezTo>
                  <a:cubicBezTo>
                    <a:pt x="623" y="272"/>
                    <a:pt x="613" y="245"/>
                    <a:pt x="603" y="218"/>
                  </a:cubicBezTo>
                  <a:cubicBezTo>
                    <a:pt x="602" y="219"/>
                    <a:pt x="601" y="219"/>
                    <a:pt x="600" y="219"/>
                  </a:cubicBezTo>
                  <a:cubicBezTo>
                    <a:pt x="603" y="233"/>
                    <a:pt x="607" y="247"/>
                    <a:pt x="611" y="260"/>
                  </a:cubicBezTo>
                  <a:cubicBezTo>
                    <a:pt x="616" y="274"/>
                    <a:pt x="621" y="287"/>
                    <a:pt x="627" y="300"/>
                  </a:cubicBezTo>
                  <a:close/>
                  <a:moveTo>
                    <a:pt x="186" y="226"/>
                  </a:moveTo>
                  <a:cubicBezTo>
                    <a:pt x="185" y="225"/>
                    <a:pt x="183" y="224"/>
                    <a:pt x="182" y="224"/>
                  </a:cubicBezTo>
                  <a:cubicBezTo>
                    <a:pt x="172" y="249"/>
                    <a:pt x="163" y="273"/>
                    <a:pt x="154" y="298"/>
                  </a:cubicBezTo>
                  <a:cubicBezTo>
                    <a:pt x="177" y="278"/>
                    <a:pt x="177" y="250"/>
                    <a:pt x="186" y="226"/>
                  </a:cubicBez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111">
              <a:extLst>
                <a:ext uri="{FF2B5EF4-FFF2-40B4-BE49-F238E27FC236}">
                  <a16:creationId xmlns:a16="http://schemas.microsoft.com/office/drawing/2014/main" id="{31B19F9D-2418-D157-1512-4A47CA56291F}"/>
                </a:ext>
              </a:extLst>
            </p:cNvPr>
            <p:cNvSpPr>
              <a:spLocks/>
            </p:cNvSpPr>
            <p:nvPr/>
          </p:nvSpPr>
          <p:spPr bwMode="auto">
            <a:xfrm>
              <a:off x="2640" y="548"/>
              <a:ext cx="478" cy="478"/>
            </a:xfrm>
            <a:custGeom>
              <a:avLst/>
              <a:gdLst>
                <a:gd name="T0" fmla="*/ 317 w 317"/>
                <a:gd name="T1" fmla="*/ 159 h 318"/>
                <a:gd name="T2" fmla="*/ 159 w 317"/>
                <a:gd name="T3" fmla="*/ 318 h 318"/>
                <a:gd name="T4" fmla="*/ 0 w 317"/>
                <a:gd name="T5" fmla="*/ 159 h 318"/>
                <a:gd name="T6" fmla="*/ 159 w 317"/>
                <a:gd name="T7" fmla="*/ 0 h 318"/>
                <a:gd name="T8" fmla="*/ 317 w 317"/>
                <a:gd name="T9" fmla="*/ 159 h 318"/>
              </a:gdLst>
              <a:ahLst/>
              <a:cxnLst>
                <a:cxn ang="0">
                  <a:pos x="T0" y="T1"/>
                </a:cxn>
                <a:cxn ang="0">
                  <a:pos x="T2" y="T3"/>
                </a:cxn>
                <a:cxn ang="0">
                  <a:pos x="T4" y="T5"/>
                </a:cxn>
                <a:cxn ang="0">
                  <a:pos x="T6" y="T7"/>
                </a:cxn>
                <a:cxn ang="0">
                  <a:pos x="T8" y="T9"/>
                </a:cxn>
              </a:cxnLst>
              <a:rect l="0" t="0" r="r" b="b"/>
              <a:pathLst>
                <a:path w="317" h="318">
                  <a:moveTo>
                    <a:pt x="317" y="159"/>
                  </a:moveTo>
                  <a:cubicBezTo>
                    <a:pt x="317" y="246"/>
                    <a:pt x="246" y="318"/>
                    <a:pt x="159" y="318"/>
                  </a:cubicBezTo>
                  <a:cubicBezTo>
                    <a:pt x="71" y="317"/>
                    <a:pt x="0" y="250"/>
                    <a:pt x="0" y="159"/>
                  </a:cubicBezTo>
                  <a:cubicBezTo>
                    <a:pt x="0" y="66"/>
                    <a:pt x="74" y="0"/>
                    <a:pt x="159" y="0"/>
                  </a:cubicBezTo>
                  <a:cubicBezTo>
                    <a:pt x="247" y="0"/>
                    <a:pt x="317" y="72"/>
                    <a:pt x="317" y="159"/>
                  </a:cubicBez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112">
              <a:extLst>
                <a:ext uri="{FF2B5EF4-FFF2-40B4-BE49-F238E27FC236}">
                  <a16:creationId xmlns:a16="http://schemas.microsoft.com/office/drawing/2014/main" id="{9BA8795E-4ED4-37EE-27F1-1BA854E330D2}"/>
                </a:ext>
              </a:extLst>
            </p:cNvPr>
            <p:cNvSpPr>
              <a:spLocks/>
            </p:cNvSpPr>
            <p:nvPr/>
          </p:nvSpPr>
          <p:spPr bwMode="auto">
            <a:xfrm>
              <a:off x="3214" y="1469"/>
              <a:ext cx="110" cy="369"/>
            </a:xfrm>
            <a:custGeom>
              <a:avLst/>
              <a:gdLst>
                <a:gd name="T0" fmla="*/ 0 w 73"/>
                <a:gd name="T1" fmla="*/ 246 h 246"/>
                <a:gd name="T2" fmla="*/ 21 w 73"/>
                <a:gd name="T3" fmla="*/ 0 h 246"/>
                <a:gd name="T4" fmla="*/ 0 w 73"/>
                <a:gd name="T5" fmla="*/ 246 h 246"/>
              </a:gdLst>
              <a:ahLst/>
              <a:cxnLst>
                <a:cxn ang="0">
                  <a:pos x="T0" y="T1"/>
                </a:cxn>
                <a:cxn ang="0">
                  <a:pos x="T2" y="T3"/>
                </a:cxn>
                <a:cxn ang="0">
                  <a:pos x="T4" y="T5"/>
                </a:cxn>
              </a:cxnLst>
              <a:rect l="0" t="0" r="r" b="b"/>
              <a:pathLst>
                <a:path w="73" h="246">
                  <a:moveTo>
                    <a:pt x="0" y="246"/>
                  </a:moveTo>
                  <a:cubicBezTo>
                    <a:pt x="57" y="168"/>
                    <a:pt x="64" y="87"/>
                    <a:pt x="21" y="0"/>
                  </a:cubicBezTo>
                  <a:cubicBezTo>
                    <a:pt x="73" y="68"/>
                    <a:pt x="73" y="195"/>
                    <a:pt x="0" y="246"/>
                  </a:cubicBez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113">
              <a:extLst>
                <a:ext uri="{FF2B5EF4-FFF2-40B4-BE49-F238E27FC236}">
                  <a16:creationId xmlns:a16="http://schemas.microsoft.com/office/drawing/2014/main" id="{776059BF-527A-FF6D-A1A6-24920C0E09A7}"/>
                </a:ext>
              </a:extLst>
            </p:cNvPr>
            <p:cNvSpPr>
              <a:spLocks/>
            </p:cNvSpPr>
            <p:nvPr/>
          </p:nvSpPr>
          <p:spPr bwMode="auto">
            <a:xfrm>
              <a:off x="2434" y="1484"/>
              <a:ext cx="104" cy="349"/>
            </a:xfrm>
            <a:custGeom>
              <a:avLst/>
              <a:gdLst>
                <a:gd name="T0" fmla="*/ 69 w 69"/>
                <a:gd name="T1" fmla="*/ 233 h 233"/>
                <a:gd name="T2" fmla="*/ 46 w 69"/>
                <a:gd name="T3" fmla="*/ 0 h 233"/>
                <a:gd name="T4" fmla="*/ 26 w 69"/>
                <a:gd name="T5" fmla="*/ 120 h 233"/>
                <a:gd name="T6" fmla="*/ 69 w 69"/>
                <a:gd name="T7" fmla="*/ 233 h 233"/>
              </a:gdLst>
              <a:ahLst/>
              <a:cxnLst>
                <a:cxn ang="0">
                  <a:pos x="T0" y="T1"/>
                </a:cxn>
                <a:cxn ang="0">
                  <a:pos x="T2" y="T3"/>
                </a:cxn>
                <a:cxn ang="0">
                  <a:pos x="T4" y="T5"/>
                </a:cxn>
                <a:cxn ang="0">
                  <a:pos x="T6" y="T7"/>
                </a:cxn>
              </a:cxnLst>
              <a:rect l="0" t="0" r="r" b="b"/>
              <a:pathLst>
                <a:path w="69" h="233">
                  <a:moveTo>
                    <a:pt x="69" y="233"/>
                  </a:moveTo>
                  <a:cubicBezTo>
                    <a:pt x="0" y="180"/>
                    <a:pt x="4" y="60"/>
                    <a:pt x="46" y="0"/>
                  </a:cubicBezTo>
                  <a:cubicBezTo>
                    <a:pt x="30" y="39"/>
                    <a:pt x="22" y="78"/>
                    <a:pt x="26" y="120"/>
                  </a:cubicBezTo>
                  <a:cubicBezTo>
                    <a:pt x="30" y="162"/>
                    <a:pt x="46" y="198"/>
                    <a:pt x="69" y="233"/>
                  </a:cubicBez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114">
              <a:extLst>
                <a:ext uri="{FF2B5EF4-FFF2-40B4-BE49-F238E27FC236}">
                  <a16:creationId xmlns:a16="http://schemas.microsoft.com/office/drawing/2014/main" id="{83E8564F-DAA7-5149-56BB-ED7D663053A4}"/>
                </a:ext>
              </a:extLst>
            </p:cNvPr>
            <p:cNvSpPr>
              <a:spLocks/>
            </p:cNvSpPr>
            <p:nvPr/>
          </p:nvSpPr>
          <p:spPr bwMode="auto">
            <a:xfrm>
              <a:off x="3190" y="1329"/>
              <a:ext cx="50" cy="123"/>
            </a:xfrm>
            <a:custGeom>
              <a:avLst/>
              <a:gdLst>
                <a:gd name="T0" fmla="*/ 27 w 33"/>
                <a:gd name="T1" fmla="*/ 82 h 82"/>
                <a:gd name="T2" fmla="*/ 11 w 33"/>
                <a:gd name="T3" fmla="*/ 42 h 82"/>
                <a:gd name="T4" fmla="*/ 0 w 33"/>
                <a:gd name="T5" fmla="*/ 1 h 82"/>
                <a:gd name="T6" fmla="*/ 3 w 33"/>
                <a:gd name="T7" fmla="*/ 0 h 82"/>
                <a:gd name="T8" fmla="*/ 33 w 33"/>
                <a:gd name="T9" fmla="*/ 80 h 82"/>
                <a:gd name="T10" fmla="*/ 27 w 33"/>
                <a:gd name="T11" fmla="*/ 82 h 82"/>
              </a:gdLst>
              <a:ahLst/>
              <a:cxnLst>
                <a:cxn ang="0">
                  <a:pos x="T0" y="T1"/>
                </a:cxn>
                <a:cxn ang="0">
                  <a:pos x="T2" y="T3"/>
                </a:cxn>
                <a:cxn ang="0">
                  <a:pos x="T4" y="T5"/>
                </a:cxn>
                <a:cxn ang="0">
                  <a:pos x="T6" y="T7"/>
                </a:cxn>
                <a:cxn ang="0">
                  <a:pos x="T8" y="T9"/>
                </a:cxn>
                <a:cxn ang="0">
                  <a:pos x="T10" y="T11"/>
                </a:cxn>
              </a:cxnLst>
              <a:rect l="0" t="0" r="r" b="b"/>
              <a:pathLst>
                <a:path w="33" h="82">
                  <a:moveTo>
                    <a:pt x="27" y="82"/>
                  </a:moveTo>
                  <a:cubicBezTo>
                    <a:pt x="21" y="69"/>
                    <a:pt x="16" y="56"/>
                    <a:pt x="11" y="42"/>
                  </a:cubicBezTo>
                  <a:cubicBezTo>
                    <a:pt x="7" y="29"/>
                    <a:pt x="3" y="15"/>
                    <a:pt x="0" y="1"/>
                  </a:cubicBezTo>
                  <a:cubicBezTo>
                    <a:pt x="1" y="1"/>
                    <a:pt x="2" y="1"/>
                    <a:pt x="3" y="0"/>
                  </a:cubicBezTo>
                  <a:cubicBezTo>
                    <a:pt x="13" y="27"/>
                    <a:pt x="23" y="54"/>
                    <a:pt x="33" y="80"/>
                  </a:cubicBezTo>
                  <a:cubicBezTo>
                    <a:pt x="31" y="81"/>
                    <a:pt x="29" y="82"/>
                    <a:pt x="27" y="82"/>
                  </a:cubicBez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115">
              <a:extLst>
                <a:ext uri="{FF2B5EF4-FFF2-40B4-BE49-F238E27FC236}">
                  <a16:creationId xmlns:a16="http://schemas.microsoft.com/office/drawing/2014/main" id="{20CEFC2E-6073-E414-5515-1BD13423D247}"/>
                </a:ext>
              </a:extLst>
            </p:cNvPr>
            <p:cNvSpPr>
              <a:spLocks/>
            </p:cNvSpPr>
            <p:nvPr/>
          </p:nvSpPr>
          <p:spPr bwMode="auto">
            <a:xfrm>
              <a:off x="2518" y="1338"/>
              <a:ext cx="49" cy="111"/>
            </a:xfrm>
            <a:custGeom>
              <a:avLst/>
              <a:gdLst>
                <a:gd name="T0" fmla="*/ 32 w 32"/>
                <a:gd name="T1" fmla="*/ 2 h 74"/>
                <a:gd name="T2" fmla="*/ 0 w 32"/>
                <a:gd name="T3" fmla="*/ 74 h 74"/>
                <a:gd name="T4" fmla="*/ 28 w 32"/>
                <a:gd name="T5" fmla="*/ 0 h 74"/>
                <a:gd name="T6" fmla="*/ 32 w 32"/>
                <a:gd name="T7" fmla="*/ 2 h 74"/>
              </a:gdLst>
              <a:ahLst/>
              <a:cxnLst>
                <a:cxn ang="0">
                  <a:pos x="T0" y="T1"/>
                </a:cxn>
                <a:cxn ang="0">
                  <a:pos x="T2" y="T3"/>
                </a:cxn>
                <a:cxn ang="0">
                  <a:pos x="T4" y="T5"/>
                </a:cxn>
                <a:cxn ang="0">
                  <a:pos x="T6" y="T7"/>
                </a:cxn>
              </a:cxnLst>
              <a:rect l="0" t="0" r="r" b="b"/>
              <a:pathLst>
                <a:path w="32" h="74">
                  <a:moveTo>
                    <a:pt x="32" y="2"/>
                  </a:moveTo>
                  <a:cubicBezTo>
                    <a:pt x="23" y="26"/>
                    <a:pt x="23" y="54"/>
                    <a:pt x="0" y="74"/>
                  </a:cubicBezTo>
                  <a:cubicBezTo>
                    <a:pt x="9" y="49"/>
                    <a:pt x="18" y="25"/>
                    <a:pt x="28" y="0"/>
                  </a:cubicBezTo>
                  <a:cubicBezTo>
                    <a:pt x="29" y="0"/>
                    <a:pt x="31" y="1"/>
                    <a:pt x="32" y="2"/>
                  </a:cubicBez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26494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0869681-86AD-277F-9045-9B503EAE3AC3}"/>
              </a:ext>
            </a:extLst>
          </p:cNvPr>
          <p:cNvSpPr/>
          <p:nvPr/>
        </p:nvSpPr>
        <p:spPr>
          <a:xfrm>
            <a:off x="0" y="2076450"/>
            <a:ext cx="12192000" cy="22970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E65BB6D7-4F10-76BC-678F-AD25A5D112FA}"/>
              </a:ext>
            </a:extLst>
          </p:cNvPr>
          <p:cNvSpPr>
            <a:spLocks noGrp="1"/>
          </p:cNvSpPr>
          <p:nvPr>
            <p:ph type="title"/>
          </p:nvPr>
        </p:nvSpPr>
        <p:spPr>
          <a:xfrm>
            <a:off x="536240" y="414320"/>
            <a:ext cx="10896000" cy="1082209"/>
          </a:xfrm>
        </p:spPr>
        <p:txBody>
          <a:bodyPr/>
          <a:lstStyle/>
          <a:p>
            <a:r>
              <a:rPr lang="en-US" noProof="0" dirty="0"/>
              <a:t>Communicating with caregivers</a:t>
            </a:r>
          </a:p>
        </p:txBody>
      </p:sp>
      <p:sp>
        <p:nvSpPr>
          <p:cNvPr id="3" name="Text Placeholder 2">
            <a:extLst>
              <a:ext uri="{FF2B5EF4-FFF2-40B4-BE49-F238E27FC236}">
                <a16:creationId xmlns:a16="http://schemas.microsoft.com/office/drawing/2014/main" id="{B5623189-1F9E-86CA-FB80-C83A7D124444}"/>
              </a:ext>
            </a:extLst>
          </p:cNvPr>
          <p:cNvSpPr>
            <a:spLocks noGrp="1"/>
          </p:cNvSpPr>
          <p:nvPr>
            <p:ph type="body" sz="quarter" idx="13"/>
          </p:nvPr>
        </p:nvSpPr>
        <p:spPr>
          <a:xfrm>
            <a:off x="536575" y="6019800"/>
            <a:ext cx="10895013" cy="323850"/>
          </a:xfrm>
        </p:spPr>
        <p:txBody>
          <a:bodyPr/>
          <a:lstStyle/>
          <a:p>
            <a:r>
              <a:rPr lang="en-US" noProof="0" dirty="0"/>
              <a:t>1. Carcone AI et al. Pediatr Clin North Am 2016;63:525–538; 2. Ames H et al. BMC Public Health 2020;20:574. </a:t>
            </a:r>
          </a:p>
        </p:txBody>
      </p:sp>
      <p:sp>
        <p:nvSpPr>
          <p:cNvPr id="9" name="Rounded Rectangle 39">
            <a:extLst>
              <a:ext uri="{FF2B5EF4-FFF2-40B4-BE49-F238E27FC236}">
                <a16:creationId xmlns:a16="http://schemas.microsoft.com/office/drawing/2014/main" id="{4EB3E8BF-25AB-8963-EE86-BAEF37ACED15}"/>
              </a:ext>
            </a:extLst>
          </p:cNvPr>
          <p:cNvSpPr/>
          <p:nvPr/>
        </p:nvSpPr>
        <p:spPr bwMode="gray">
          <a:xfrm>
            <a:off x="384594" y="1742957"/>
            <a:ext cx="11411166" cy="741502"/>
          </a:xfrm>
          <a:prstGeom prst="roundRect">
            <a:avLst>
              <a:gd name="adj" fmla="val 50000"/>
            </a:avLst>
          </a:prstGeom>
          <a:solidFill>
            <a:schemeClr val="accent1"/>
          </a:solidFill>
          <a:ln w="3175" algn="ctr">
            <a:noFill/>
            <a:miter lim="800000"/>
            <a:headEnd/>
            <a:tailEnd/>
          </a:ln>
        </p:spPr>
        <p:txBody>
          <a:bodyPr wrap="square" lIns="0" tIns="0" rIns="0" bIns="0" rtlCol="0" anchor="ctr"/>
          <a:lstStyle/>
          <a:p>
            <a:pPr algn="ctr"/>
            <a:r>
              <a:rPr lang="en-US" sz="1600" noProof="0" dirty="0">
                <a:solidFill>
                  <a:schemeClr val="bg1"/>
                </a:solidFill>
              </a:rPr>
              <a:t>Direct communication with pediatric patients builds trust and rapport, helps socialize children into the patient role, and, in the adult literature, has been identified as a primary mechanism for patient adherence to behavioral recommendations</a:t>
            </a:r>
            <a:r>
              <a:rPr lang="en-US" sz="1600" baseline="30000" noProof="0" dirty="0">
                <a:solidFill>
                  <a:schemeClr val="bg1"/>
                </a:solidFill>
              </a:rPr>
              <a:t>1</a:t>
            </a:r>
          </a:p>
        </p:txBody>
      </p:sp>
      <p:grpSp>
        <p:nvGrpSpPr>
          <p:cNvPr id="4" name="Group 3">
            <a:extLst>
              <a:ext uri="{FF2B5EF4-FFF2-40B4-BE49-F238E27FC236}">
                <a16:creationId xmlns:a16="http://schemas.microsoft.com/office/drawing/2014/main" id="{E7DD15C8-B46A-E832-7D53-8C136A9532FD}"/>
              </a:ext>
            </a:extLst>
          </p:cNvPr>
          <p:cNvGrpSpPr/>
          <p:nvPr/>
        </p:nvGrpSpPr>
        <p:grpSpPr>
          <a:xfrm>
            <a:off x="801830" y="2505914"/>
            <a:ext cx="10588341" cy="3761536"/>
            <a:chOff x="316635" y="2505914"/>
            <a:chExt cx="10588341" cy="3761536"/>
          </a:xfrm>
        </p:grpSpPr>
        <p:sp>
          <p:nvSpPr>
            <p:cNvPr id="42" name="TextBox 41">
              <a:extLst>
                <a:ext uri="{FF2B5EF4-FFF2-40B4-BE49-F238E27FC236}">
                  <a16:creationId xmlns:a16="http://schemas.microsoft.com/office/drawing/2014/main" id="{1F958E7A-D3A3-945B-1237-155E1DDF1349}"/>
                </a:ext>
              </a:extLst>
            </p:cNvPr>
            <p:cNvSpPr txBox="1">
              <a:spLocks/>
            </p:cNvSpPr>
            <p:nvPr/>
          </p:nvSpPr>
          <p:spPr>
            <a:xfrm>
              <a:off x="6872234" y="2505914"/>
              <a:ext cx="1784484" cy="1784484"/>
            </a:xfrm>
            <a:prstGeom prst="ellipse">
              <a:avLst/>
            </a:prstGeom>
            <a:solidFill>
              <a:schemeClr val="accent4">
                <a:lumMod val="75000"/>
              </a:schemeClr>
            </a:solidFill>
            <a:ln>
              <a:solidFill>
                <a:schemeClr val="bg1"/>
              </a:solidFill>
            </a:ln>
          </p:spPr>
          <p:txBody>
            <a:bodyPr wrap="square" rtlCol="0" anchor="ctr">
              <a:noAutofit/>
            </a:bodyPr>
            <a:lstStyle/>
            <a:p>
              <a:pPr algn="ctr"/>
              <a:r>
                <a:rPr lang="en-US" sz="1200" noProof="0" dirty="0">
                  <a:solidFill>
                    <a:schemeClr val="bg1"/>
                  </a:solidFill>
                </a:rPr>
                <a:t>Be direct and initiate conversations about weight to help take the pressure off caregivers</a:t>
              </a:r>
              <a:r>
                <a:rPr lang="en-US" sz="1200" baseline="30000" noProof="0" dirty="0">
                  <a:solidFill>
                    <a:schemeClr val="bg1"/>
                  </a:solidFill>
                </a:rPr>
                <a:t>2</a:t>
              </a:r>
              <a:endParaRPr lang="en-US" sz="1200" noProof="0" dirty="0">
                <a:solidFill>
                  <a:schemeClr val="bg1"/>
                </a:solidFill>
              </a:endParaRPr>
            </a:p>
          </p:txBody>
        </p:sp>
        <p:sp>
          <p:nvSpPr>
            <p:cNvPr id="6" name="Oval 5">
              <a:extLst>
                <a:ext uri="{FF2B5EF4-FFF2-40B4-BE49-F238E27FC236}">
                  <a16:creationId xmlns:a16="http://schemas.microsoft.com/office/drawing/2014/main" id="{6946A3AC-E015-3475-9B97-2B7F00891482}"/>
                </a:ext>
              </a:extLst>
            </p:cNvPr>
            <p:cNvSpPr/>
            <p:nvPr/>
          </p:nvSpPr>
          <p:spPr>
            <a:xfrm>
              <a:off x="5531343" y="2750628"/>
              <a:ext cx="1135380" cy="113538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fontAlgn="base">
                <a:spcAft>
                  <a:spcPts val="600"/>
                </a:spcAft>
                <a:defRPr/>
              </a:pPr>
              <a:endParaRPr lang="en-US" sz="1600" noProof="0" dirty="0"/>
            </a:p>
          </p:txBody>
        </p:sp>
        <p:sp>
          <p:nvSpPr>
            <p:cNvPr id="39" name="TextBox 38">
              <a:extLst>
                <a:ext uri="{FF2B5EF4-FFF2-40B4-BE49-F238E27FC236}">
                  <a16:creationId xmlns:a16="http://schemas.microsoft.com/office/drawing/2014/main" id="{067F2F91-8F3C-A63C-B519-36DE5D13E92E}"/>
                </a:ext>
              </a:extLst>
            </p:cNvPr>
            <p:cNvSpPr txBox="1">
              <a:spLocks/>
            </p:cNvSpPr>
            <p:nvPr/>
          </p:nvSpPr>
          <p:spPr>
            <a:xfrm>
              <a:off x="4781317" y="3738558"/>
              <a:ext cx="2534510" cy="2528892"/>
            </a:xfrm>
            <a:prstGeom prst="ellipse">
              <a:avLst/>
            </a:prstGeom>
            <a:solidFill>
              <a:schemeClr val="tx1"/>
            </a:solidFill>
            <a:ln>
              <a:solidFill>
                <a:schemeClr val="bg1">
                  <a:lumMod val="65000"/>
                </a:schemeClr>
              </a:solidFill>
            </a:ln>
          </p:spPr>
          <p:txBody>
            <a:bodyPr wrap="square" rtlCol="0" anchor="ctr">
              <a:noAutofit/>
            </a:bodyPr>
            <a:lstStyle/>
            <a:p>
              <a:pPr algn="ctr"/>
              <a:r>
                <a:rPr lang="en-US" sz="1400" noProof="0" dirty="0">
                  <a:solidFill>
                    <a:schemeClr val="bg1"/>
                  </a:solidFill>
                </a:rPr>
                <a:t>Speak directly </a:t>
              </a:r>
              <a:br>
                <a:rPr lang="en-US" sz="1400" noProof="0" dirty="0">
                  <a:solidFill>
                    <a:schemeClr val="bg1"/>
                  </a:solidFill>
                </a:rPr>
              </a:br>
              <a:r>
                <a:rPr lang="en-US" sz="1400" noProof="0" dirty="0">
                  <a:solidFill>
                    <a:schemeClr val="bg1"/>
                  </a:solidFill>
                </a:rPr>
                <a:t>to the child/adolescent in a caring, positive manner, sending a clear message regarding the health risks associated with overweight/ obesity</a:t>
              </a:r>
              <a:r>
                <a:rPr lang="en-US" sz="1400" baseline="30000" noProof="0" dirty="0">
                  <a:solidFill>
                    <a:schemeClr val="bg1"/>
                  </a:solidFill>
                </a:rPr>
                <a:t>2</a:t>
              </a:r>
              <a:endParaRPr lang="en-US" sz="1400" noProof="0" dirty="0">
                <a:solidFill>
                  <a:schemeClr val="bg1"/>
                </a:solidFill>
              </a:endParaRPr>
            </a:p>
          </p:txBody>
        </p:sp>
        <p:pic>
          <p:nvPicPr>
            <p:cNvPr id="46" name="Graphic 45">
              <a:extLst>
                <a:ext uri="{FF2B5EF4-FFF2-40B4-BE49-F238E27FC236}">
                  <a16:creationId xmlns:a16="http://schemas.microsoft.com/office/drawing/2014/main" id="{52034DEC-184B-5B7A-A874-2C2FDA3F6E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34049" y="2926078"/>
              <a:ext cx="741048" cy="741048"/>
            </a:xfrm>
            <a:prstGeom prst="rect">
              <a:avLst/>
            </a:prstGeom>
          </p:spPr>
        </p:pic>
        <p:sp>
          <p:nvSpPr>
            <p:cNvPr id="32" name="TextBox 31">
              <a:extLst>
                <a:ext uri="{FF2B5EF4-FFF2-40B4-BE49-F238E27FC236}">
                  <a16:creationId xmlns:a16="http://schemas.microsoft.com/office/drawing/2014/main" id="{3CB426F2-6E10-FD40-49C4-BAA180C549A3}"/>
                </a:ext>
              </a:extLst>
            </p:cNvPr>
            <p:cNvSpPr txBox="1">
              <a:spLocks/>
            </p:cNvSpPr>
            <p:nvPr/>
          </p:nvSpPr>
          <p:spPr>
            <a:xfrm>
              <a:off x="1748183" y="2505914"/>
              <a:ext cx="1784484" cy="1784484"/>
            </a:xfrm>
            <a:prstGeom prst="ellipse">
              <a:avLst/>
            </a:prstGeom>
            <a:solidFill>
              <a:schemeClr val="accent5">
                <a:lumMod val="75000"/>
              </a:schemeClr>
            </a:solidFill>
            <a:ln>
              <a:solidFill>
                <a:schemeClr val="bg1"/>
              </a:solidFill>
            </a:ln>
          </p:spPr>
          <p:txBody>
            <a:bodyPr wrap="square" rtlCol="0" anchor="ctr">
              <a:noAutofit/>
            </a:bodyPr>
            <a:lstStyle/>
            <a:p>
              <a:pPr algn="ctr"/>
              <a:r>
                <a:rPr lang="en-US" sz="1200" noProof="0" dirty="0">
                  <a:solidFill>
                    <a:schemeClr val="bg1"/>
                  </a:solidFill>
                </a:rPr>
                <a:t>Recognize the child’s/</a:t>
              </a:r>
              <a:br>
                <a:rPr lang="en-US" sz="1200" noProof="0" dirty="0">
                  <a:solidFill>
                    <a:schemeClr val="bg1"/>
                  </a:solidFill>
                </a:rPr>
              </a:br>
              <a:r>
                <a:rPr lang="en-US" sz="1200" noProof="0" dirty="0">
                  <a:solidFill>
                    <a:schemeClr val="bg1"/>
                  </a:solidFill>
                </a:rPr>
                <a:t>adolescent’s overweight or obesity</a:t>
              </a:r>
              <a:r>
                <a:rPr lang="en-US" sz="1200" baseline="30000" noProof="0" dirty="0">
                  <a:solidFill>
                    <a:schemeClr val="bg1"/>
                  </a:solidFill>
                </a:rPr>
                <a:t>2</a:t>
              </a:r>
            </a:p>
          </p:txBody>
        </p:sp>
        <p:sp>
          <p:nvSpPr>
            <p:cNvPr id="33" name="TextBox 32">
              <a:extLst>
                <a:ext uri="{FF2B5EF4-FFF2-40B4-BE49-F238E27FC236}">
                  <a16:creationId xmlns:a16="http://schemas.microsoft.com/office/drawing/2014/main" id="{32E36892-41B4-CDA9-754A-4EE97F49417D}"/>
                </a:ext>
              </a:extLst>
            </p:cNvPr>
            <p:cNvSpPr txBox="1">
              <a:spLocks/>
            </p:cNvSpPr>
            <p:nvPr/>
          </p:nvSpPr>
          <p:spPr>
            <a:xfrm>
              <a:off x="1156923" y="4173369"/>
              <a:ext cx="1892064" cy="1887870"/>
            </a:xfrm>
            <a:prstGeom prst="ellipse">
              <a:avLst/>
            </a:prstGeom>
            <a:solidFill>
              <a:schemeClr val="accent5">
                <a:lumMod val="75000"/>
              </a:schemeClr>
            </a:solidFill>
            <a:ln>
              <a:solidFill>
                <a:schemeClr val="bg1"/>
              </a:solidFill>
            </a:ln>
          </p:spPr>
          <p:txBody>
            <a:bodyPr wrap="square" rtlCol="0" anchor="ctr">
              <a:noAutofit/>
            </a:bodyPr>
            <a:lstStyle/>
            <a:p>
              <a:pPr algn="ctr"/>
              <a:r>
                <a:rPr lang="en-US" sz="1200" noProof="0" dirty="0">
                  <a:solidFill>
                    <a:schemeClr val="bg1"/>
                  </a:solidFill>
                </a:rPr>
                <a:t>Use </a:t>
              </a:r>
              <a:br>
                <a:rPr lang="en-US" sz="1200" noProof="0" dirty="0">
                  <a:solidFill>
                    <a:schemeClr val="bg1"/>
                  </a:solidFill>
                </a:rPr>
              </a:br>
              <a:r>
                <a:rPr lang="en-US" sz="1200" noProof="0" dirty="0">
                  <a:solidFill>
                    <a:schemeClr val="bg1"/>
                  </a:solidFill>
                </a:rPr>
                <a:t>open-ended questions motivated by concern for the child/</a:t>
              </a:r>
              <a:br>
                <a:rPr lang="en-US" sz="1200" noProof="0" dirty="0">
                  <a:solidFill>
                    <a:schemeClr val="bg1"/>
                  </a:solidFill>
                </a:rPr>
              </a:br>
              <a:r>
                <a:rPr lang="en-US" sz="1200" noProof="0" dirty="0">
                  <a:solidFill>
                    <a:schemeClr val="bg1"/>
                  </a:solidFill>
                </a:rPr>
                <a:t>adolescent</a:t>
              </a:r>
              <a:r>
                <a:rPr lang="en-US" sz="1200" baseline="30000" noProof="0" dirty="0">
                  <a:solidFill>
                    <a:schemeClr val="bg1"/>
                  </a:solidFill>
                </a:rPr>
                <a:t>2</a:t>
              </a:r>
              <a:endParaRPr lang="en-US" sz="1200" noProof="0" dirty="0">
                <a:solidFill>
                  <a:schemeClr val="bg1"/>
                </a:solidFill>
              </a:endParaRPr>
            </a:p>
          </p:txBody>
        </p:sp>
        <p:sp>
          <p:nvSpPr>
            <p:cNvPr id="34" name="TextBox 33">
              <a:extLst>
                <a:ext uri="{FF2B5EF4-FFF2-40B4-BE49-F238E27FC236}">
                  <a16:creationId xmlns:a16="http://schemas.microsoft.com/office/drawing/2014/main" id="{5785E019-E83C-2828-B18C-5E32F4E0622B}"/>
                </a:ext>
              </a:extLst>
            </p:cNvPr>
            <p:cNvSpPr txBox="1">
              <a:spLocks/>
            </p:cNvSpPr>
            <p:nvPr/>
          </p:nvSpPr>
          <p:spPr>
            <a:xfrm>
              <a:off x="3417966" y="2505914"/>
              <a:ext cx="1784484" cy="1784484"/>
            </a:xfrm>
            <a:prstGeom prst="ellipse">
              <a:avLst/>
            </a:prstGeom>
            <a:solidFill>
              <a:schemeClr val="accent3"/>
            </a:solidFill>
            <a:ln>
              <a:solidFill>
                <a:schemeClr val="bg1"/>
              </a:solidFill>
            </a:ln>
          </p:spPr>
          <p:txBody>
            <a:bodyPr wrap="square" rtlCol="0" anchor="ctr">
              <a:noAutofit/>
            </a:bodyPr>
            <a:lstStyle/>
            <a:p>
              <a:pPr algn="ctr"/>
              <a:r>
                <a:rPr lang="en-US" sz="1200" noProof="0" dirty="0">
                  <a:solidFill>
                    <a:schemeClr val="bg1"/>
                  </a:solidFill>
                </a:rPr>
                <a:t>Understand the child’s/</a:t>
              </a:r>
              <a:br>
                <a:rPr lang="en-US" sz="1200" noProof="0" dirty="0">
                  <a:solidFill>
                    <a:schemeClr val="bg1"/>
                  </a:solidFill>
                </a:rPr>
              </a:br>
              <a:r>
                <a:rPr lang="en-US" sz="1200" noProof="0" dirty="0">
                  <a:solidFill>
                    <a:schemeClr val="bg1"/>
                  </a:solidFill>
                </a:rPr>
                <a:t>adolescent’s readiness or motivation for lifestyle change</a:t>
              </a:r>
              <a:r>
                <a:rPr lang="en-US" sz="1200" baseline="30000" noProof="0" dirty="0">
                  <a:solidFill>
                    <a:schemeClr val="bg1"/>
                  </a:solidFill>
                </a:rPr>
                <a:t>2</a:t>
              </a:r>
              <a:endParaRPr lang="en-US" sz="1200" noProof="0" dirty="0">
                <a:solidFill>
                  <a:schemeClr val="bg1"/>
                </a:solidFill>
              </a:endParaRPr>
            </a:p>
          </p:txBody>
        </p:sp>
        <p:sp>
          <p:nvSpPr>
            <p:cNvPr id="35" name="TextBox 34">
              <a:extLst>
                <a:ext uri="{FF2B5EF4-FFF2-40B4-BE49-F238E27FC236}">
                  <a16:creationId xmlns:a16="http://schemas.microsoft.com/office/drawing/2014/main" id="{E3D57C2C-2F17-26CD-B61C-1E30D93AB78F}"/>
                </a:ext>
              </a:extLst>
            </p:cNvPr>
            <p:cNvSpPr txBox="1">
              <a:spLocks/>
            </p:cNvSpPr>
            <p:nvPr/>
          </p:nvSpPr>
          <p:spPr>
            <a:xfrm>
              <a:off x="2926720" y="4173369"/>
              <a:ext cx="1892064" cy="1887870"/>
            </a:xfrm>
            <a:prstGeom prst="ellipse">
              <a:avLst/>
            </a:prstGeom>
            <a:solidFill>
              <a:schemeClr val="accent3"/>
            </a:solidFill>
            <a:ln>
              <a:solidFill>
                <a:schemeClr val="bg1"/>
              </a:solidFill>
            </a:ln>
          </p:spPr>
          <p:txBody>
            <a:bodyPr wrap="square" rtlCol="0" anchor="ctr">
              <a:noAutofit/>
            </a:bodyPr>
            <a:lstStyle/>
            <a:p>
              <a:pPr algn="ctr"/>
              <a:r>
                <a:rPr lang="en-US" sz="1200" noProof="0" dirty="0">
                  <a:solidFill>
                    <a:schemeClr val="bg1"/>
                  </a:solidFill>
                </a:rPr>
                <a:t>Use motivational interviewing to increase the child’s/</a:t>
              </a:r>
              <a:br>
                <a:rPr lang="en-US" sz="1200" noProof="0" dirty="0">
                  <a:solidFill>
                    <a:schemeClr val="bg1"/>
                  </a:solidFill>
                </a:rPr>
              </a:br>
              <a:r>
                <a:rPr lang="en-US" sz="1200" noProof="0" dirty="0">
                  <a:solidFill>
                    <a:schemeClr val="bg1"/>
                  </a:solidFill>
                </a:rPr>
                <a:t>adolescent’s intrinsic motivation</a:t>
              </a:r>
              <a:r>
                <a:rPr lang="en-US" sz="1200" baseline="30000" noProof="0" dirty="0">
                  <a:solidFill>
                    <a:schemeClr val="bg1"/>
                  </a:solidFill>
                </a:rPr>
                <a:t>2</a:t>
              </a:r>
              <a:endParaRPr lang="en-US" sz="1200" noProof="0" dirty="0">
                <a:solidFill>
                  <a:schemeClr val="bg1"/>
                </a:solidFill>
              </a:endParaRPr>
            </a:p>
          </p:txBody>
        </p:sp>
        <p:sp>
          <p:nvSpPr>
            <p:cNvPr id="41" name="TextBox 40">
              <a:extLst>
                <a:ext uri="{FF2B5EF4-FFF2-40B4-BE49-F238E27FC236}">
                  <a16:creationId xmlns:a16="http://schemas.microsoft.com/office/drawing/2014/main" id="{CB59D04C-BECB-6CBB-AFC8-F3F978AC2611}"/>
                </a:ext>
              </a:extLst>
            </p:cNvPr>
            <p:cNvSpPr txBox="1">
              <a:spLocks/>
            </p:cNvSpPr>
            <p:nvPr/>
          </p:nvSpPr>
          <p:spPr>
            <a:xfrm>
              <a:off x="7243115" y="4173369"/>
              <a:ext cx="1892064" cy="1887870"/>
            </a:xfrm>
            <a:prstGeom prst="ellipse">
              <a:avLst/>
            </a:prstGeom>
            <a:solidFill>
              <a:schemeClr val="accent4">
                <a:lumMod val="75000"/>
              </a:schemeClr>
            </a:solidFill>
            <a:ln>
              <a:solidFill>
                <a:schemeClr val="bg1"/>
              </a:solidFill>
            </a:ln>
          </p:spPr>
          <p:txBody>
            <a:bodyPr wrap="square" rtlCol="0" anchor="ctr">
              <a:noAutofit/>
            </a:bodyPr>
            <a:lstStyle/>
            <a:p>
              <a:pPr algn="ctr"/>
              <a:r>
                <a:rPr lang="en-US" sz="1200" noProof="0" dirty="0">
                  <a:solidFill>
                    <a:schemeClr val="bg1"/>
                  </a:solidFill>
                </a:rPr>
                <a:t>Be flexible about when the child/adolescent should be involved in the conversation</a:t>
              </a:r>
              <a:r>
                <a:rPr lang="en-US" sz="1200" baseline="30000" noProof="0" dirty="0">
                  <a:solidFill>
                    <a:schemeClr val="bg1"/>
                  </a:solidFill>
                </a:rPr>
                <a:t>2</a:t>
              </a:r>
              <a:endParaRPr lang="en-US" sz="1200" noProof="0" dirty="0">
                <a:solidFill>
                  <a:schemeClr val="bg1"/>
                </a:solidFill>
              </a:endParaRPr>
            </a:p>
          </p:txBody>
        </p:sp>
        <p:sp>
          <p:nvSpPr>
            <p:cNvPr id="43" name="TextBox 42">
              <a:extLst>
                <a:ext uri="{FF2B5EF4-FFF2-40B4-BE49-F238E27FC236}">
                  <a16:creationId xmlns:a16="http://schemas.microsoft.com/office/drawing/2014/main" id="{31BC4D55-3CC4-C35E-87BA-7D05172B4122}"/>
                </a:ext>
              </a:extLst>
            </p:cNvPr>
            <p:cNvSpPr txBox="1"/>
            <p:nvPr/>
          </p:nvSpPr>
          <p:spPr>
            <a:xfrm>
              <a:off x="8542018" y="2505914"/>
              <a:ext cx="1784484" cy="1784484"/>
            </a:xfrm>
            <a:prstGeom prst="ellipse">
              <a:avLst/>
            </a:prstGeom>
            <a:solidFill>
              <a:schemeClr val="accent2">
                <a:lumMod val="75000"/>
              </a:schemeClr>
            </a:solidFill>
            <a:ln>
              <a:solidFill>
                <a:schemeClr val="bg1"/>
              </a:solidFill>
            </a:ln>
          </p:spPr>
          <p:txBody>
            <a:bodyPr wrap="square" rtlCol="0" anchor="ctr">
              <a:noAutofit/>
            </a:bodyPr>
            <a:lstStyle/>
            <a:p>
              <a:pPr algn="ctr"/>
              <a:r>
                <a:rPr lang="en-US" sz="1200" noProof="0" dirty="0">
                  <a:solidFill>
                    <a:schemeClr val="bg1"/>
                  </a:solidFill>
                </a:rPr>
                <a:t>Use a sensitive approach, be positive, show interest, and intervene early</a:t>
              </a:r>
              <a:r>
                <a:rPr lang="en-US" sz="1200" baseline="30000" noProof="0" dirty="0">
                  <a:solidFill>
                    <a:schemeClr val="bg1"/>
                  </a:solidFill>
                </a:rPr>
                <a:t>2</a:t>
              </a:r>
              <a:endParaRPr lang="en-US" sz="1200" noProof="0" dirty="0">
                <a:solidFill>
                  <a:schemeClr val="bg1"/>
                </a:solidFill>
              </a:endParaRPr>
            </a:p>
          </p:txBody>
        </p:sp>
        <p:sp>
          <p:nvSpPr>
            <p:cNvPr id="44" name="TextBox 43">
              <a:extLst>
                <a:ext uri="{FF2B5EF4-FFF2-40B4-BE49-F238E27FC236}">
                  <a16:creationId xmlns:a16="http://schemas.microsoft.com/office/drawing/2014/main" id="{14DB3DC4-B809-4869-5DA0-A166C113B0A1}"/>
                </a:ext>
              </a:extLst>
            </p:cNvPr>
            <p:cNvSpPr txBox="1">
              <a:spLocks/>
            </p:cNvSpPr>
            <p:nvPr/>
          </p:nvSpPr>
          <p:spPr>
            <a:xfrm>
              <a:off x="9012912" y="4173369"/>
              <a:ext cx="1892064" cy="1887870"/>
            </a:xfrm>
            <a:prstGeom prst="ellipse">
              <a:avLst/>
            </a:prstGeom>
            <a:solidFill>
              <a:schemeClr val="accent2">
                <a:lumMod val="75000"/>
              </a:schemeClr>
            </a:solidFill>
            <a:ln>
              <a:solidFill>
                <a:schemeClr val="bg1"/>
              </a:solidFill>
            </a:ln>
          </p:spPr>
          <p:txBody>
            <a:bodyPr wrap="square" rtlCol="0" anchor="ctr">
              <a:noAutofit/>
            </a:bodyPr>
            <a:lstStyle/>
            <a:p>
              <a:pPr algn="ctr"/>
              <a:r>
                <a:rPr lang="en-US" sz="1200" noProof="0" dirty="0">
                  <a:solidFill>
                    <a:schemeClr val="bg1"/>
                  </a:solidFill>
                </a:rPr>
                <a:t>Provide and explain resources to help caregivers recognize the risks of obesity</a:t>
              </a:r>
              <a:r>
                <a:rPr lang="en-US" sz="1200" baseline="30000" noProof="0" dirty="0">
                  <a:solidFill>
                    <a:schemeClr val="bg1"/>
                  </a:solidFill>
                </a:rPr>
                <a:t>2</a:t>
              </a:r>
              <a:endParaRPr lang="en-US" sz="1200" noProof="0" dirty="0">
                <a:solidFill>
                  <a:schemeClr val="bg1"/>
                </a:solidFill>
              </a:endParaRPr>
            </a:p>
          </p:txBody>
        </p:sp>
        <p:sp>
          <p:nvSpPr>
            <p:cNvPr id="8" name="TextBox 7">
              <a:extLst>
                <a:ext uri="{FF2B5EF4-FFF2-40B4-BE49-F238E27FC236}">
                  <a16:creationId xmlns:a16="http://schemas.microsoft.com/office/drawing/2014/main" id="{2443D460-782F-9294-0637-12F5BC569E02}"/>
                </a:ext>
              </a:extLst>
            </p:cNvPr>
            <p:cNvSpPr txBox="1"/>
            <p:nvPr/>
          </p:nvSpPr>
          <p:spPr>
            <a:xfrm rot="16200000">
              <a:off x="-83666" y="3061826"/>
              <a:ext cx="1270156" cy="469552"/>
            </a:xfrm>
            <a:prstGeom prst="rect">
              <a:avLst/>
            </a:prstGeom>
            <a:noFill/>
          </p:spPr>
          <p:txBody>
            <a:bodyPr wrap="none" lIns="0" tIns="0" rIns="0" bIns="0" rtlCol="0">
              <a:spAutoFit/>
            </a:bodyPr>
            <a:lstStyle/>
            <a:p>
              <a:pPr algn="ctr">
                <a:lnSpc>
                  <a:spcPct val="120000"/>
                </a:lnSpc>
              </a:pPr>
              <a:r>
                <a:rPr lang="en-US" sz="2800" b="1" noProof="0" dirty="0">
                  <a:solidFill>
                    <a:schemeClr val="tx2"/>
                  </a:solidFill>
                </a:rPr>
                <a:t>WHAT?</a:t>
              </a:r>
            </a:p>
          </p:txBody>
        </p:sp>
        <p:sp>
          <p:nvSpPr>
            <p:cNvPr id="10" name="TextBox 9">
              <a:extLst>
                <a:ext uri="{FF2B5EF4-FFF2-40B4-BE49-F238E27FC236}">
                  <a16:creationId xmlns:a16="http://schemas.microsoft.com/office/drawing/2014/main" id="{DCF27AEA-D181-D2A5-BBBE-97A98C01D56C}"/>
                </a:ext>
              </a:extLst>
            </p:cNvPr>
            <p:cNvSpPr txBox="1"/>
            <p:nvPr/>
          </p:nvSpPr>
          <p:spPr>
            <a:xfrm rot="16200000">
              <a:off x="3184" y="4882528"/>
              <a:ext cx="1096454" cy="469552"/>
            </a:xfrm>
            <a:prstGeom prst="rect">
              <a:avLst/>
            </a:prstGeom>
            <a:noFill/>
          </p:spPr>
          <p:txBody>
            <a:bodyPr wrap="none" lIns="0" tIns="0" rIns="0" bIns="0" rtlCol="0">
              <a:spAutoFit/>
            </a:bodyPr>
            <a:lstStyle/>
            <a:p>
              <a:pPr algn="ctr">
                <a:lnSpc>
                  <a:spcPct val="120000"/>
                </a:lnSpc>
              </a:pPr>
              <a:r>
                <a:rPr lang="en-US" sz="2800" b="1" noProof="0" dirty="0">
                  <a:solidFill>
                    <a:schemeClr val="tx2"/>
                  </a:solidFill>
                </a:rPr>
                <a:t>HOW?</a:t>
              </a:r>
            </a:p>
          </p:txBody>
        </p:sp>
        <p:grpSp>
          <p:nvGrpSpPr>
            <p:cNvPr id="11" name="Group 10">
              <a:extLst>
                <a:ext uri="{FF2B5EF4-FFF2-40B4-BE49-F238E27FC236}">
                  <a16:creationId xmlns:a16="http://schemas.microsoft.com/office/drawing/2014/main" id="{BF45A3ED-CCE2-20B3-CD66-01EC7B7FA272}"/>
                </a:ext>
              </a:extLst>
            </p:cNvPr>
            <p:cNvGrpSpPr/>
            <p:nvPr/>
          </p:nvGrpSpPr>
          <p:grpSpPr>
            <a:xfrm>
              <a:off x="803054" y="3206832"/>
              <a:ext cx="292322" cy="244164"/>
              <a:chOff x="7659022" y="3752888"/>
              <a:chExt cx="473093" cy="395156"/>
            </a:xfrm>
          </p:grpSpPr>
          <p:sp>
            <p:nvSpPr>
              <p:cNvPr id="12" name="Isosceles Triangle 11">
                <a:extLst>
                  <a:ext uri="{FF2B5EF4-FFF2-40B4-BE49-F238E27FC236}">
                    <a16:creationId xmlns:a16="http://schemas.microsoft.com/office/drawing/2014/main" id="{637723DA-82CF-3AC7-E5DC-9FAFD09C74A5}"/>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3" name="Isosceles Triangle 12">
                <a:extLst>
                  <a:ext uri="{FF2B5EF4-FFF2-40B4-BE49-F238E27FC236}">
                    <a16:creationId xmlns:a16="http://schemas.microsoft.com/office/drawing/2014/main" id="{FDB082A5-6C13-C8C3-BA48-1C6AC6B7D569}"/>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14" name="Group 13">
              <a:extLst>
                <a:ext uri="{FF2B5EF4-FFF2-40B4-BE49-F238E27FC236}">
                  <a16:creationId xmlns:a16="http://schemas.microsoft.com/office/drawing/2014/main" id="{21524C02-D593-C580-5E93-C851C6CA6D8D}"/>
                </a:ext>
              </a:extLst>
            </p:cNvPr>
            <p:cNvGrpSpPr/>
            <p:nvPr/>
          </p:nvGrpSpPr>
          <p:grpSpPr>
            <a:xfrm>
              <a:off x="803054" y="4995222"/>
              <a:ext cx="292322" cy="244164"/>
              <a:chOff x="7659022" y="3752888"/>
              <a:chExt cx="473093" cy="395156"/>
            </a:xfrm>
          </p:grpSpPr>
          <p:sp>
            <p:nvSpPr>
              <p:cNvPr id="15" name="Isosceles Triangle 14">
                <a:extLst>
                  <a:ext uri="{FF2B5EF4-FFF2-40B4-BE49-F238E27FC236}">
                    <a16:creationId xmlns:a16="http://schemas.microsoft.com/office/drawing/2014/main" id="{8A0C74B3-A568-EEFC-C8D0-E297EF9147CE}"/>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6" name="Isosceles Triangle 15">
                <a:extLst>
                  <a:ext uri="{FF2B5EF4-FFF2-40B4-BE49-F238E27FC236}">
                    <a16:creationId xmlns:a16="http://schemas.microsoft.com/office/drawing/2014/main" id="{911CEE50-A783-A441-BA47-71CC794AAE87}"/>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spTree>
    <p:extLst>
      <p:ext uri="{BB962C8B-B14F-4D97-AF65-F5344CB8AC3E}">
        <p14:creationId xmlns:p14="http://schemas.microsoft.com/office/powerpoint/2010/main" val="3915738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B3894-D164-48EF-8E5B-71DE923BF1BA}"/>
              </a:ext>
            </a:extLst>
          </p:cNvPr>
          <p:cNvSpPr>
            <a:spLocks noGrp="1"/>
          </p:cNvSpPr>
          <p:nvPr>
            <p:ph type="title"/>
          </p:nvPr>
        </p:nvSpPr>
        <p:spPr>
          <a:xfrm>
            <a:off x="536240" y="414320"/>
            <a:ext cx="4630120" cy="5562000"/>
          </a:xfrm>
        </p:spPr>
        <p:txBody>
          <a:bodyPr/>
          <a:lstStyle/>
          <a:p>
            <a:r>
              <a:rPr lang="en-US" noProof="0" dirty="0"/>
              <a:t>Key </a:t>
            </a:r>
            <a:br>
              <a:rPr lang="en-US" noProof="0" dirty="0"/>
            </a:br>
            <a:r>
              <a:rPr lang="en-US" noProof="0" dirty="0"/>
              <a:t>takeaways</a:t>
            </a:r>
          </a:p>
        </p:txBody>
      </p:sp>
      <p:grpSp>
        <p:nvGrpSpPr>
          <p:cNvPr id="8" name="Group 7">
            <a:extLst>
              <a:ext uri="{FF2B5EF4-FFF2-40B4-BE49-F238E27FC236}">
                <a16:creationId xmlns:a16="http://schemas.microsoft.com/office/drawing/2014/main" id="{A4ED853D-DE4C-D27E-0FCA-4BDF75BB361C}"/>
              </a:ext>
            </a:extLst>
          </p:cNvPr>
          <p:cNvGrpSpPr/>
          <p:nvPr/>
        </p:nvGrpSpPr>
        <p:grpSpPr>
          <a:xfrm>
            <a:off x="5754924" y="742992"/>
            <a:ext cx="5811554" cy="1341521"/>
            <a:chOff x="6045868" y="351790"/>
            <a:chExt cx="5811554" cy="1341521"/>
          </a:xfrm>
        </p:grpSpPr>
        <p:sp>
          <p:nvSpPr>
            <p:cNvPr id="27" name="TextBox 26">
              <a:extLst>
                <a:ext uri="{FF2B5EF4-FFF2-40B4-BE49-F238E27FC236}">
                  <a16:creationId xmlns:a16="http://schemas.microsoft.com/office/drawing/2014/main" id="{6CC146A2-1795-7DA0-FBF4-8788E3307765}"/>
                </a:ext>
              </a:extLst>
            </p:cNvPr>
            <p:cNvSpPr txBox="1"/>
            <p:nvPr/>
          </p:nvSpPr>
          <p:spPr>
            <a:xfrm>
              <a:off x="6045868" y="351790"/>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sp>
          <p:nvSpPr>
            <p:cNvPr id="31" name="TextBox 30">
              <a:extLst>
                <a:ext uri="{FF2B5EF4-FFF2-40B4-BE49-F238E27FC236}">
                  <a16:creationId xmlns:a16="http://schemas.microsoft.com/office/drawing/2014/main" id="{1BCE273C-16B5-F91D-3DE6-05DBA9E8BAE1}"/>
                </a:ext>
              </a:extLst>
            </p:cNvPr>
            <p:cNvSpPr txBox="1"/>
            <p:nvPr/>
          </p:nvSpPr>
          <p:spPr>
            <a:xfrm>
              <a:off x="6696074" y="624571"/>
              <a:ext cx="5161348" cy="923330"/>
            </a:xfrm>
            <a:prstGeom prst="rect">
              <a:avLst/>
            </a:prstGeom>
            <a:noFill/>
          </p:spPr>
          <p:txBody>
            <a:bodyPr wrap="square">
              <a:spAutoFit/>
            </a:bodyPr>
            <a:lstStyle/>
            <a:p>
              <a:r>
                <a:rPr lang="en-US" noProof="0" dirty="0">
                  <a:latin typeface="arial" panose="020B0604020202020204" pitchFamily="34" charset="0"/>
                </a:rPr>
                <a:t>Obesity is defined as a BMI at or above the 95th percentile for children and teens of the same age and sex</a:t>
              </a:r>
              <a:endParaRPr lang="en-US" noProof="0" dirty="0">
                <a:ea typeface="Apis For Office" panose="020B0504010101010104" pitchFamily="34" charset="0"/>
                <a:cs typeface="Arial" panose="020B0604020202020204" pitchFamily="34" charset="0"/>
              </a:endParaRPr>
            </a:p>
          </p:txBody>
        </p:sp>
        <p:cxnSp>
          <p:nvCxnSpPr>
            <p:cNvPr id="48" name="Straight Connector 47">
              <a:extLst>
                <a:ext uri="{FF2B5EF4-FFF2-40B4-BE49-F238E27FC236}">
                  <a16:creationId xmlns:a16="http://schemas.microsoft.com/office/drawing/2014/main" id="{F47E75C6-679E-FAF5-70D8-DEE7C61E2CAF}"/>
                </a:ext>
              </a:extLst>
            </p:cNvPr>
            <p:cNvCxnSpPr>
              <a:cxnSpLocks/>
            </p:cNvCxnSpPr>
            <p:nvPr/>
          </p:nvCxnSpPr>
          <p:spPr>
            <a:xfrm>
              <a:off x="6671129" y="70167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F6922DD5-B80D-F4E7-32B1-DE8BE1673812}"/>
              </a:ext>
            </a:extLst>
          </p:cNvPr>
          <p:cNvGrpSpPr/>
          <p:nvPr/>
        </p:nvGrpSpPr>
        <p:grpSpPr>
          <a:xfrm>
            <a:off x="5754924" y="2007632"/>
            <a:ext cx="5975327" cy="1341521"/>
            <a:chOff x="6045868" y="1358262"/>
            <a:chExt cx="5975327" cy="1341521"/>
          </a:xfrm>
        </p:grpSpPr>
        <p:sp>
          <p:nvSpPr>
            <p:cNvPr id="32" name="TextBox 31">
              <a:extLst>
                <a:ext uri="{FF2B5EF4-FFF2-40B4-BE49-F238E27FC236}">
                  <a16:creationId xmlns:a16="http://schemas.microsoft.com/office/drawing/2014/main" id="{3FE40534-E142-C5D7-03D3-3D17CBE59E2A}"/>
                </a:ext>
              </a:extLst>
            </p:cNvPr>
            <p:cNvSpPr txBox="1"/>
            <p:nvPr/>
          </p:nvSpPr>
          <p:spPr>
            <a:xfrm>
              <a:off x="6045868" y="1358262"/>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sp>
          <p:nvSpPr>
            <p:cNvPr id="33" name="TextBox 32">
              <a:extLst>
                <a:ext uri="{FF2B5EF4-FFF2-40B4-BE49-F238E27FC236}">
                  <a16:creationId xmlns:a16="http://schemas.microsoft.com/office/drawing/2014/main" id="{2FD20888-AFC5-0D13-1ED4-C91224BC2B14}"/>
                </a:ext>
              </a:extLst>
            </p:cNvPr>
            <p:cNvSpPr txBox="1"/>
            <p:nvPr/>
          </p:nvSpPr>
          <p:spPr>
            <a:xfrm>
              <a:off x="6696075" y="1622727"/>
              <a:ext cx="5325120" cy="923330"/>
            </a:xfrm>
            <a:prstGeom prst="rect">
              <a:avLst/>
            </a:prstGeom>
            <a:noFill/>
          </p:spPr>
          <p:txBody>
            <a:bodyPr wrap="square">
              <a:spAutoFit/>
            </a:bodyPr>
            <a:lstStyle/>
            <a:p>
              <a:r>
                <a:rPr lang="en-GB" dirty="0">
                  <a:latin typeface="Arial" panose="020B0604020202020204" pitchFamily="34" charset="0"/>
                </a:rPr>
                <a:t>The etiology of childhood obesity is complex and includes genetic, physiologic, socioeconomic, and environmental contributors</a:t>
              </a:r>
              <a:endParaRPr lang="en-US" noProof="0" dirty="0">
                <a:ea typeface="Apis For Office" panose="020B0504010101010104" pitchFamily="34" charset="0"/>
                <a:cs typeface="Arial" panose="020B0604020202020204" pitchFamily="34" charset="0"/>
              </a:endParaRPr>
            </a:p>
          </p:txBody>
        </p:sp>
        <p:cxnSp>
          <p:nvCxnSpPr>
            <p:cNvPr id="50" name="Straight Connector 49">
              <a:extLst>
                <a:ext uri="{FF2B5EF4-FFF2-40B4-BE49-F238E27FC236}">
                  <a16:creationId xmlns:a16="http://schemas.microsoft.com/office/drawing/2014/main" id="{90ECF2F2-353A-306F-8A80-FFBDFB6A713D}"/>
                </a:ext>
              </a:extLst>
            </p:cNvPr>
            <p:cNvCxnSpPr>
              <a:cxnSpLocks/>
            </p:cNvCxnSpPr>
            <p:nvPr/>
          </p:nvCxnSpPr>
          <p:spPr>
            <a:xfrm>
              <a:off x="6671129" y="1705780"/>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F1843E-6E6C-D36C-8FA8-BE3A33A40ED6}"/>
              </a:ext>
            </a:extLst>
          </p:cNvPr>
          <p:cNvGrpSpPr/>
          <p:nvPr/>
        </p:nvGrpSpPr>
        <p:grpSpPr>
          <a:xfrm>
            <a:off x="5754924" y="3257827"/>
            <a:ext cx="5736557" cy="1448878"/>
            <a:chOff x="6045868" y="2698109"/>
            <a:chExt cx="5736557" cy="1448878"/>
          </a:xfrm>
        </p:grpSpPr>
        <p:sp>
          <p:nvSpPr>
            <p:cNvPr id="34" name="TextBox 33">
              <a:extLst>
                <a:ext uri="{FF2B5EF4-FFF2-40B4-BE49-F238E27FC236}">
                  <a16:creationId xmlns:a16="http://schemas.microsoft.com/office/drawing/2014/main" id="{6BBED6FF-46DF-FED9-1BD8-98FF471E6053}"/>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sp>
          <p:nvSpPr>
            <p:cNvPr id="35" name="TextBox 34">
              <a:extLst>
                <a:ext uri="{FF2B5EF4-FFF2-40B4-BE49-F238E27FC236}">
                  <a16:creationId xmlns:a16="http://schemas.microsoft.com/office/drawing/2014/main" id="{D4407CA0-0148-BA29-D883-3DAB054194FB}"/>
                </a:ext>
              </a:extLst>
            </p:cNvPr>
            <p:cNvSpPr txBox="1"/>
            <p:nvPr/>
          </p:nvSpPr>
          <p:spPr>
            <a:xfrm>
              <a:off x="6696075" y="2946658"/>
              <a:ext cx="5086350" cy="1200329"/>
            </a:xfrm>
            <a:prstGeom prst="rect">
              <a:avLst/>
            </a:prstGeom>
            <a:noFill/>
          </p:spPr>
          <p:txBody>
            <a:bodyPr wrap="square">
              <a:spAutoFit/>
            </a:bodyPr>
            <a:lstStyle/>
            <a:p>
              <a:r>
                <a:rPr lang="en-US" noProof="0" dirty="0">
                  <a:latin typeface="arial" panose="020B0604020202020204" pitchFamily="34" charset="0"/>
                </a:rPr>
                <a:t>Management of childhood obesity requires one or more of dietary interventions, increased physical activity, behavioral therapy, pharmacotherapy, and bariatric surgery</a:t>
              </a:r>
              <a:endParaRPr lang="en-US" noProof="0" dirty="0"/>
            </a:p>
          </p:txBody>
        </p:sp>
        <p:cxnSp>
          <p:nvCxnSpPr>
            <p:cNvPr id="51" name="Straight Connector 50">
              <a:extLst>
                <a:ext uri="{FF2B5EF4-FFF2-40B4-BE49-F238E27FC236}">
                  <a16:creationId xmlns:a16="http://schemas.microsoft.com/office/drawing/2014/main" id="{85CCCBF1-BAFD-36D4-610C-D08A23DF77A2}"/>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509A9ACA-2343-B042-7E2B-6649D2B1216F}"/>
              </a:ext>
            </a:extLst>
          </p:cNvPr>
          <p:cNvGrpSpPr/>
          <p:nvPr/>
        </p:nvGrpSpPr>
        <p:grpSpPr>
          <a:xfrm>
            <a:off x="5754924" y="4772730"/>
            <a:ext cx="5736557" cy="1341521"/>
            <a:chOff x="6045868" y="2698109"/>
            <a:chExt cx="5736557" cy="1341521"/>
          </a:xfrm>
        </p:grpSpPr>
        <p:sp>
          <p:nvSpPr>
            <p:cNvPr id="4" name="TextBox 3">
              <a:extLst>
                <a:ext uri="{FF2B5EF4-FFF2-40B4-BE49-F238E27FC236}">
                  <a16:creationId xmlns:a16="http://schemas.microsoft.com/office/drawing/2014/main" id="{713256B1-21F3-C508-B864-ED168863F47C}"/>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4</a:t>
              </a:r>
            </a:p>
          </p:txBody>
        </p:sp>
        <p:sp>
          <p:nvSpPr>
            <p:cNvPr id="6" name="TextBox 5">
              <a:extLst>
                <a:ext uri="{FF2B5EF4-FFF2-40B4-BE49-F238E27FC236}">
                  <a16:creationId xmlns:a16="http://schemas.microsoft.com/office/drawing/2014/main" id="{A865F78A-15DE-6006-25DD-6609029DBE64}"/>
                </a:ext>
              </a:extLst>
            </p:cNvPr>
            <p:cNvSpPr txBox="1"/>
            <p:nvPr/>
          </p:nvSpPr>
          <p:spPr>
            <a:xfrm>
              <a:off x="6696075" y="2946658"/>
              <a:ext cx="5086350" cy="923330"/>
            </a:xfrm>
            <a:prstGeom prst="rect">
              <a:avLst/>
            </a:prstGeom>
            <a:noFill/>
          </p:spPr>
          <p:txBody>
            <a:bodyPr wrap="square">
              <a:spAutoFit/>
            </a:bodyPr>
            <a:lstStyle/>
            <a:p>
              <a:r>
                <a:rPr lang="en-US" noProof="0" dirty="0">
                  <a:latin typeface="arial" panose="020B0604020202020204" pitchFamily="34" charset="0"/>
                </a:rPr>
                <a:t>Patient-centered and caregiver-centered compassionate communication is crucial and linked to better outcomes for patients</a:t>
              </a:r>
              <a:endParaRPr lang="en-US" noProof="0" dirty="0"/>
            </a:p>
          </p:txBody>
        </p:sp>
        <p:cxnSp>
          <p:nvCxnSpPr>
            <p:cNvPr id="9" name="Straight Connector 8">
              <a:extLst>
                <a:ext uri="{FF2B5EF4-FFF2-40B4-BE49-F238E27FC236}">
                  <a16:creationId xmlns:a16="http://schemas.microsoft.com/office/drawing/2014/main" id="{76CAA001-6602-39BF-A410-29BC128E3BE8}"/>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104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8"/>
                                        </p:tgtEl>
                                        <p:attrNameLst>
                                          <p:attrName>ppt_x</p:attrName>
                                          <p:attrName>ppt_y</p:attrName>
                                        </p:attrNameLst>
                                      </p:cBhvr>
                                      <p:rCtr x="0" y="1736"/>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250"/>
                                        <p:tgtEl>
                                          <p:spTgt spid="7"/>
                                        </p:tgtEl>
                                      </p:cBhvr>
                                    </p:animEffect>
                                  </p:childTnLst>
                                </p:cTn>
                              </p:par>
                              <p:par>
                                <p:cTn id="15" presetID="42" presetClass="path" presetSubtype="0" decel="100000" fill="hold" nodeType="withEffect">
                                  <p:stCondLst>
                                    <p:cond delay="0"/>
                                  </p:stCondLst>
                                  <p:childTnLst>
                                    <p:animMotion origin="layout" path="M -3.75E-6 -0.03472 L -3.75E-6 1.85185E-6 " pathEditMode="relative" rAng="0" ptsTypes="AA">
                                      <p:cBhvr>
                                        <p:cTn id="16" dur="500" fill="hold"/>
                                        <p:tgtEl>
                                          <p:spTgt spid="7"/>
                                        </p:tgtEl>
                                        <p:attrNameLst>
                                          <p:attrName>ppt_x</p:attrName>
                                          <p:attrName>ppt_y</p:attrName>
                                        </p:attrNameLst>
                                      </p:cBhvr>
                                      <p:rCtr x="0" y="1736"/>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250"/>
                                        <p:tgtEl>
                                          <p:spTgt spid="5"/>
                                        </p:tgtEl>
                                      </p:cBhvr>
                                    </p:animEffect>
                                  </p:childTnLst>
                                </p:cTn>
                              </p:par>
                              <p:par>
                                <p:cTn id="22" presetID="42" presetClass="path" presetSubtype="0" decel="100000" fill="hold" nodeType="withEffect">
                                  <p:stCondLst>
                                    <p:cond delay="0"/>
                                  </p:stCondLst>
                                  <p:childTnLst>
                                    <p:animMotion origin="layout" path="M -3.75E-6 -0.03472 L -3.75E-6 1.85185E-6 " pathEditMode="relative" rAng="0" ptsTypes="AA">
                                      <p:cBhvr>
                                        <p:cTn id="23" dur="500" fill="hold"/>
                                        <p:tgtEl>
                                          <p:spTgt spid="5"/>
                                        </p:tgtEl>
                                        <p:attrNameLst>
                                          <p:attrName>ppt_x</p:attrName>
                                          <p:attrName>ppt_y</p:attrName>
                                        </p:attrNameLst>
                                      </p:cBhvr>
                                      <p:rCtr x="0" y="1736"/>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250"/>
                                        <p:tgtEl>
                                          <p:spTgt spid="3"/>
                                        </p:tgtEl>
                                      </p:cBhvr>
                                    </p:animEffect>
                                  </p:childTnLst>
                                </p:cTn>
                              </p:par>
                              <p:par>
                                <p:cTn id="29" presetID="42" presetClass="path" presetSubtype="0" decel="100000" fill="hold" nodeType="withEffect">
                                  <p:stCondLst>
                                    <p:cond delay="0"/>
                                  </p:stCondLst>
                                  <p:childTnLst>
                                    <p:animMotion origin="layout" path="M -3.75E-6 -0.03472 L -3.75E-6 1.85185E-6 " pathEditMode="relative" rAng="0" ptsTypes="AA">
                                      <p:cBhvr>
                                        <p:cTn id="30" dur="500" fill="hold"/>
                                        <p:tgtEl>
                                          <p:spTgt spid="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C03C32D3-D36E-5D3D-5FF8-D0E696F69245}"/>
              </a:ext>
            </a:extLst>
          </p:cNvPr>
          <p:cNvSpPr/>
          <p:nvPr/>
        </p:nvSpPr>
        <p:spPr>
          <a:xfrm>
            <a:off x="6443146" y="6485213"/>
            <a:ext cx="502920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9" name="Rectangle: Rounded Corners 18">
            <a:extLst>
              <a:ext uri="{FF2B5EF4-FFF2-40B4-BE49-F238E27FC236}">
                <a16:creationId xmlns:a16="http://schemas.microsoft.com/office/drawing/2014/main" id="{E68D4055-20AA-1601-C867-F3072314657E}"/>
              </a:ext>
            </a:extLst>
          </p:cNvPr>
          <p:cNvSpPr/>
          <p:nvPr/>
        </p:nvSpPr>
        <p:spPr>
          <a:xfrm>
            <a:off x="6443146" y="4308083"/>
            <a:ext cx="2103120" cy="56692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7" name="Rectangle: Rounded Corners 16">
            <a:extLst>
              <a:ext uri="{FF2B5EF4-FFF2-40B4-BE49-F238E27FC236}">
                <a16:creationId xmlns:a16="http://schemas.microsoft.com/office/drawing/2014/main" id="{87A0B767-31C3-B365-0057-7DAE4B803272}"/>
              </a:ext>
            </a:extLst>
          </p:cNvPr>
          <p:cNvSpPr/>
          <p:nvPr/>
        </p:nvSpPr>
        <p:spPr>
          <a:xfrm>
            <a:off x="6443146" y="2693581"/>
            <a:ext cx="164592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6" name="Rectangle: Rounded Corners 15">
            <a:extLst>
              <a:ext uri="{FF2B5EF4-FFF2-40B4-BE49-F238E27FC236}">
                <a16:creationId xmlns:a16="http://schemas.microsoft.com/office/drawing/2014/main" id="{1D26BB50-6D5A-F166-A020-AA236A4B965A}"/>
              </a:ext>
            </a:extLst>
          </p:cNvPr>
          <p:cNvSpPr/>
          <p:nvPr/>
        </p:nvSpPr>
        <p:spPr>
          <a:xfrm>
            <a:off x="6443146" y="1560465"/>
            <a:ext cx="338328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3" name="Group 2">
            <a:extLst>
              <a:ext uri="{FF2B5EF4-FFF2-40B4-BE49-F238E27FC236}">
                <a16:creationId xmlns:a16="http://schemas.microsoft.com/office/drawing/2014/main" id="{9C54DAAE-CBCC-E60D-F3AD-3B86C6F14671}"/>
              </a:ext>
            </a:extLst>
          </p:cNvPr>
          <p:cNvGrpSpPr/>
          <p:nvPr/>
        </p:nvGrpSpPr>
        <p:grpSpPr>
          <a:xfrm>
            <a:off x="5779167" y="330958"/>
            <a:ext cx="5972743" cy="1409164"/>
            <a:chOff x="5779167" y="364646"/>
            <a:chExt cx="5972743" cy="1409164"/>
          </a:xfrm>
        </p:grpSpPr>
        <p:grpSp>
          <p:nvGrpSpPr>
            <p:cNvPr id="22" name="Group 21">
              <a:extLst>
                <a:ext uri="{FF2B5EF4-FFF2-40B4-BE49-F238E27FC236}">
                  <a16:creationId xmlns:a16="http://schemas.microsoft.com/office/drawing/2014/main" id="{7BF0F7DD-E578-1A48-2B45-0ECC9DE137C1}"/>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BBD95334-8438-6FA1-F9A1-6AD7DFD1B18F}"/>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cxnSp>
            <p:nvCxnSpPr>
              <p:cNvPr id="14" name="Straight Connector 13">
                <a:extLst>
                  <a:ext uri="{FF2B5EF4-FFF2-40B4-BE49-F238E27FC236}">
                    <a16:creationId xmlns:a16="http://schemas.microsoft.com/office/drawing/2014/main" id="{2B36AEC2-CAC3-5A12-CDD4-FEC8F7FD1CFE}"/>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7E759039-A035-6CA2-018B-C9E48392D9E7}"/>
                </a:ext>
              </a:extLst>
            </p:cNvPr>
            <p:cNvSpPr txBox="1"/>
            <p:nvPr/>
          </p:nvSpPr>
          <p:spPr>
            <a:xfrm>
              <a:off x="6479144" y="701722"/>
              <a:ext cx="5272766" cy="1072088"/>
            </a:xfrm>
            <a:prstGeom prst="rect">
              <a:avLst/>
            </a:prstGeom>
            <a:noFill/>
          </p:spPr>
          <p:txBody>
            <a:bodyPr wrap="square" lIns="0" tIns="0" rIns="0" bIns="0">
              <a:spAutoFit/>
            </a:bodyPr>
            <a:lstStyle/>
            <a:p>
              <a:pPr>
                <a:spcAft>
                  <a:spcPts val="200"/>
                </a:spcAft>
              </a:pPr>
              <a:r>
                <a:rPr lang="en-US" sz="1050" b="1" noProof="0" dirty="0">
                  <a:effectLst/>
                  <a:latin typeface="Arial"/>
                  <a:ea typeface="Calibri" panose="020F0502020204030204" pitchFamily="34" charset="0"/>
                  <a:cs typeface="Times New Roman"/>
                </a:rPr>
                <a:t>Which of the following are examples of prenatal and parental factors of </a:t>
              </a:r>
              <a:br>
                <a:rPr lang="en-US" sz="1050" b="1" noProof="0" dirty="0">
                  <a:effectLst/>
                  <a:latin typeface="Arial"/>
                  <a:ea typeface="Calibri" panose="020F0502020204030204" pitchFamily="34" charset="0"/>
                  <a:cs typeface="Times New Roman"/>
                </a:rPr>
              </a:br>
              <a:r>
                <a:rPr lang="en-US" sz="1050" b="1" noProof="0" dirty="0">
                  <a:effectLst/>
                  <a:latin typeface="Arial"/>
                  <a:ea typeface="Calibri" panose="020F0502020204030204" pitchFamily="34" charset="0"/>
                  <a:cs typeface="Times New Roman"/>
                </a:rPr>
                <a:t>pediatric obesity?</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Playgrounds not within walking distance, suboptimal street length</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Poor sleep quality, peer pressure</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Inexpensive junk food, low socioeconomic group</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Lack of breastfeeding, smoking during pregnancy</a:t>
              </a:r>
            </a:p>
          </p:txBody>
        </p:sp>
      </p:grpSp>
      <p:grpSp>
        <p:nvGrpSpPr>
          <p:cNvPr id="2" name="Group 1">
            <a:extLst>
              <a:ext uri="{FF2B5EF4-FFF2-40B4-BE49-F238E27FC236}">
                <a16:creationId xmlns:a16="http://schemas.microsoft.com/office/drawing/2014/main" id="{47F1D158-B560-F191-FBAD-32C63BC97168}"/>
              </a:ext>
            </a:extLst>
          </p:cNvPr>
          <p:cNvGrpSpPr/>
          <p:nvPr/>
        </p:nvGrpSpPr>
        <p:grpSpPr>
          <a:xfrm>
            <a:off x="5779167" y="1703887"/>
            <a:ext cx="5879434" cy="1341522"/>
            <a:chOff x="5779167" y="1568873"/>
            <a:chExt cx="5879434" cy="1341522"/>
          </a:xfrm>
        </p:grpSpPr>
        <p:grpSp>
          <p:nvGrpSpPr>
            <p:cNvPr id="23" name="Group 22">
              <a:extLst>
                <a:ext uri="{FF2B5EF4-FFF2-40B4-BE49-F238E27FC236}">
                  <a16:creationId xmlns:a16="http://schemas.microsoft.com/office/drawing/2014/main" id="{38851059-E87F-AA25-7ED9-12BE250600BD}"/>
                </a:ext>
              </a:extLst>
            </p:cNvPr>
            <p:cNvGrpSpPr/>
            <p:nvPr/>
          </p:nvGrpSpPr>
          <p:grpSpPr>
            <a:xfrm>
              <a:off x="5779167" y="1568873"/>
              <a:ext cx="606666" cy="1341521"/>
              <a:chOff x="5779167" y="2402451"/>
              <a:chExt cx="606666" cy="1341521"/>
            </a:xfrm>
          </p:grpSpPr>
          <p:sp>
            <p:nvSpPr>
              <p:cNvPr id="10" name="TextBox 9">
                <a:extLst>
                  <a:ext uri="{FF2B5EF4-FFF2-40B4-BE49-F238E27FC236}">
                    <a16:creationId xmlns:a16="http://schemas.microsoft.com/office/drawing/2014/main" id="{9C794B74-59AF-76B2-9160-47FB54643C78}"/>
                  </a:ext>
                </a:extLst>
              </p:cNvPr>
              <p:cNvSpPr txBox="1"/>
              <p:nvPr/>
            </p:nvSpPr>
            <p:spPr>
              <a:xfrm>
                <a:off x="5779167" y="2402451"/>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cxnSp>
            <p:nvCxnSpPr>
              <p:cNvPr id="11" name="Straight Connector 10">
                <a:extLst>
                  <a:ext uri="{FF2B5EF4-FFF2-40B4-BE49-F238E27FC236}">
                    <a16:creationId xmlns:a16="http://schemas.microsoft.com/office/drawing/2014/main" id="{771A299B-32EF-479B-4529-E77083692680}"/>
                  </a:ext>
                </a:extLst>
              </p:cNvPr>
              <p:cNvCxnSpPr>
                <a:cxnSpLocks/>
              </p:cNvCxnSpPr>
              <p:nvPr/>
            </p:nvCxnSpPr>
            <p:spPr>
              <a:xfrm>
                <a:off x="6385833" y="2749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8" name="Content Placeholder 2">
              <a:extLst>
                <a:ext uri="{FF2B5EF4-FFF2-40B4-BE49-F238E27FC236}">
                  <a16:creationId xmlns:a16="http://schemas.microsoft.com/office/drawing/2014/main" id="{7BA8C3F1-4540-04C7-723E-967BD39AC3CF}"/>
                </a:ext>
              </a:extLst>
            </p:cNvPr>
            <p:cNvSpPr txBox="1">
              <a:spLocks/>
            </p:cNvSpPr>
            <p:nvPr/>
          </p:nvSpPr>
          <p:spPr>
            <a:xfrm>
              <a:off x="6479145" y="1877015"/>
              <a:ext cx="5179456" cy="1033380"/>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panose="020B0604020202020204" pitchFamily="34" charset="0"/>
                  <a:cs typeface="Times New Roman" panose="02020603050405020304" pitchFamily="18" charset="0"/>
                </a:rPr>
                <a:t>According to the American Academy of Pediatrics guidelines, how many minutes of moderate to vigorous physical activity are recommended for children with obesity?</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20 minutes per day</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60 minutes per day</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30 minutes per day</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60 minutes per week</a:t>
              </a:r>
            </a:p>
          </p:txBody>
        </p:sp>
      </p:grpSp>
      <p:grpSp>
        <p:nvGrpSpPr>
          <p:cNvPr id="4" name="Group 3">
            <a:extLst>
              <a:ext uri="{FF2B5EF4-FFF2-40B4-BE49-F238E27FC236}">
                <a16:creationId xmlns:a16="http://schemas.microsoft.com/office/drawing/2014/main" id="{A0AD7006-4EB4-4019-70C9-6F82314E9F71}"/>
              </a:ext>
            </a:extLst>
          </p:cNvPr>
          <p:cNvGrpSpPr/>
          <p:nvPr/>
        </p:nvGrpSpPr>
        <p:grpSpPr>
          <a:xfrm>
            <a:off x="5779167" y="3158526"/>
            <a:ext cx="5879434" cy="1341521"/>
            <a:chOff x="5779167" y="3403479"/>
            <a:chExt cx="5879434" cy="1341521"/>
          </a:xfrm>
        </p:grpSpPr>
        <p:grpSp>
          <p:nvGrpSpPr>
            <p:cNvPr id="24" name="Group 23">
              <a:extLst>
                <a:ext uri="{FF2B5EF4-FFF2-40B4-BE49-F238E27FC236}">
                  <a16:creationId xmlns:a16="http://schemas.microsoft.com/office/drawing/2014/main" id="{B8ACE899-4147-C552-F7D2-67B121A21A64}"/>
                </a:ext>
              </a:extLst>
            </p:cNvPr>
            <p:cNvGrpSpPr/>
            <p:nvPr/>
          </p:nvGrpSpPr>
          <p:grpSpPr>
            <a:xfrm>
              <a:off x="5779167" y="3403479"/>
              <a:ext cx="606666" cy="1341521"/>
              <a:chOff x="5779167" y="4120026"/>
              <a:chExt cx="606666" cy="1341521"/>
            </a:xfrm>
          </p:grpSpPr>
          <p:sp>
            <p:nvSpPr>
              <p:cNvPr id="12" name="TextBox 11">
                <a:extLst>
                  <a:ext uri="{FF2B5EF4-FFF2-40B4-BE49-F238E27FC236}">
                    <a16:creationId xmlns:a16="http://schemas.microsoft.com/office/drawing/2014/main" id="{16A74344-F494-25FE-CC10-E57453820390}"/>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cxnSp>
            <p:nvCxnSpPr>
              <p:cNvPr id="13" name="Straight Connector 12">
                <a:extLst>
                  <a:ext uri="{FF2B5EF4-FFF2-40B4-BE49-F238E27FC236}">
                    <a16:creationId xmlns:a16="http://schemas.microsoft.com/office/drawing/2014/main" id="{2C737F9A-B32B-6CB7-BABB-67405B13EFDF}"/>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Content Placeholder 2">
              <a:extLst>
                <a:ext uri="{FF2B5EF4-FFF2-40B4-BE49-F238E27FC236}">
                  <a16:creationId xmlns:a16="http://schemas.microsoft.com/office/drawing/2014/main" id="{2E5DBBE0-F5A0-BC1C-52F0-E852857F76C1}"/>
                </a:ext>
              </a:extLst>
            </p:cNvPr>
            <p:cNvSpPr txBox="1">
              <a:spLocks/>
            </p:cNvSpPr>
            <p:nvPr/>
          </p:nvSpPr>
          <p:spPr>
            <a:xfrm>
              <a:off x="6479145" y="3726642"/>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Times New Roman"/>
                </a:rPr>
                <a:t>Noah is a 14-year-old male living with obesity, with a BMI in the 99th percentile and significant comorbidities. A formal program of lifestyle modifications has not been successful, so Noah, his parents, and the HCP team are exploring pharmacotherapy options. Which of the following pharmacotherapies would be appropriate for Noah? Select all that are appropriate:</a:t>
              </a:r>
            </a:p>
            <a:p>
              <a:pPr>
                <a:lnSpc>
                  <a:spcPct val="100000"/>
                </a:lnSpc>
                <a:spcBef>
                  <a:spcPts val="0"/>
                </a:spcBef>
                <a:spcAft>
                  <a:spcPts val="200"/>
                </a:spcAft>
                <a:buFont typeface="+mj-lt"/>
                <a:buAutoNum type="alphaLcPeriod"/>
              </a:pPr>
              <a:r>
                <a:rPr lang="en-US" sz="1050" noProof="0" dirty="0">
                  <a:latin typeface="Arial"/>
                  <a:cs typeface="Times New Roman"/>
                </a:rPr>
                <a:t>Semaglutide</a:t>
              </a:r>
              <a:r>
                <a:rPr lang="en-US" sz="1050" dirty="0">
                  <a:latin typeface="Arial"/>
                  <a:cs typeface="Times New Roman"/>
                </a:rPr>
                <a:t> 1.7/2.4 mg QW</a:t>
              </a:r>
              <a:endParaRPr lang="en-US" sz="1050" noProof="0" dirty="0">
                <a:latin typeface="Arial"/>
                <a:cs typeface="Times New Roman"/>
              </a:endParaRPr>
            </a:p>
            <a:p>
              <a:pPr>
                <a:lnSpc>
                  <a:spcPct val="100000"/>
                </a:lnSpc>
                <a:spcBef>
                  <a:spcPts val="0"/>
                </a:spcBef>
                <a:spcAft>
                  <a:spcPts val="200"/>
                </a:spcAft>
                <a:buFont typeface="+mj-lt"/>
                <a:buAutoNum type="alphaLcPeriod"/>
              </a:pPr>
              <a:r>
                <a:rPr lang="en-US" sz="1050" noProof="0" dirty="0">
                  <a:latin typeface="Arial"/>
                  <a:cs typeface="Times New Roman"/>
                </a:rPr>
                <a:t>Phentermine/topiramate</a:t>
              </a:r>
            </a:p>
            <a:p>
              <a:pPr>
                <a:lnSpc>
                  <a:spcPct val="100000"/>
                </a:lnSpc>
                <a:spcBef>
                  <a:spcPts val="0"/>
                </a:spcBef>
                <a:spcAft>
                  <a:spcPts val="200"/>
                </a:spcAft>
                <a:buFont typeface="+mj-lt"/>
                <a:buAutoNum type="alphaLcPeriod"/>
              </a:pPr>
              <a:r>
                <a:rPr lang="en-US" sz="1050" noProof="0" dirty="0">
                  <a:latin typeface="Arial"/>
                  <a:cs typeface="Times New Roman"/>
                </a:rPr>
                <a:t>Liraglutide </a:t>
              </a:r>
              <a:r>
                <a:rPr lang="en-US" sz="1050" dirty="0">
                  <a:latin typeface="Arial"/>
                  <a:cs typeface="Times New Roman"/>
                </a:rPr>
                <a:t>2.4/3.0 mg OD</a:t>
              </a:r>
              <a:endParaRPr lang="en-US" sz="1050" noProof="0" dirty="0">
                <a:latin typeface="Arial"/>
                <a:cs typeface="Times New Roman"/>
              </a:endParaRPr>
            </a:p>
            <a:p>
              <a:pPr>
                <a:lnSpc>
                  <a:spcPct val="100000"/>
                </a:lnSpc>
                <a:spcBef>
                  <a:spcPts val="0"/>
                </a:spcBef>
                <a:spcAft>
                  <a:spcPts val="200"/>
                </a:spcAft>
                <a:buFont typeface="+mj-lt"/>
                <a:buAutoNum type="alphaLcPeriod"/>
              </a:pPr>
              <a:r>
                <a:rPr lang="en-US" sz="1050" noProof="0" dirty="0">
                  <a:latin typeface="Arial"/>
                  <a:cs typeface="Times New Roman"/>
                </a:rPr>
                <a:t>Metformin</a:t>
              </a:r>
            </a:p>
            <a:p>
              <a:pPr marL="179070" lvl="1" indent="-172720">
                <a:lnSpc>
                  <a:spcPct val="100000"/>
                </a:lnSpc>
                <a:spcBef>
                  <a:spcPts val="0"/>
                </a:spcBef>
                <a:buFont typeface="+mj-lt"/>
                <a:buAutoNum type="alphaLcPeriod"/>
              </a:pPr>
              <a:endParaRPr lang="en-US" sz="1050" noProof="0" dirty="0">
                <a:latin typeface="Arial" panose="020B0604020202020204" pitchFamily="34" charset="0"/>
                <a:cs typeface="Times New Roman" panose="02020603050405020304" pitchFamily="18" charset="0"/>
              </a:endParaRPr>
            </a:p>
          </p:txBody>
        </p:sp>
      </p:grpSp>
      <p:sp>
        <p:nvSpPr>
          <p:cNvPr id="33" name="Oval 32">
            <a:extLst>
              <a:ext uri="{FF2B5EF4-FFF2-40B4-BE49-F238E27FC236}">
                <a16:creationId xmlns:a16="http://schemas.microsoft.com/office/drawing/2014/main" id="{4501CF8F-B996-C39F-D706-30AA55129E7C}"/>
              </a:ext>
            </a:extLst>
          </p:cNvPr>
          <p:cNvSpPr/>
          <p:nvPr/>
        </p:nvSpPr>
        <p:spPr>
          <a:xfrm>
            <a:off x="609144" y="2380146"/>
            <a:ext cx="1630348" cy="1630348"/>
          </a:xfrm>
          <a:prstGeom prst="ellipse">
            <a:avLst/>
          </a:prstGeom>
          <a:solidFill>
            <a:schemeClr val="tx2"/>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4" name="Graphic 33">
            <a:extLst>
              <a:ext uri="{FF2B5EF4-FFF2-40B4-BE49-F238E27FC236}">
                <a16:creationId xmlns:a16="http://schemas.microsoft.com/office/drawing/2014/main" id="{E1E8B09B-D4B7-6DE8-789B-E13B77E96B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5110" y="2684549"/>
            <a:ext cx="1021542" cy="1021542"/>
          </a:xfrm>
          <a:prstGeom prst="rect">
            <a:avLst/>
          </a:prstGeom>
        </p:spPr>
      </p:pic>
      <p:sp>
        <p:nvSpPr>
          <p:cNvPr id="35" name="Title 1">
            <a:extLst>
              <a:ext uri="{FF2B5EF4-FFF2-40B4-BE49-F238E27FC236}">
                <a16:creationId xmlns:a16="http://schemas.microsoft.com/office/drawing/2014/main" id="{95142EA9-EC49-A3A6-DA1F-FDC6DFB3D871}"/>
              </a:ext>
            </a:extLst>
          </p:cNvPr>
          <p:cNvSpPr>
            <a:spLocks noGrp="1"/>
          </p:cNvSpPr>
          <p:nvPr>
            <p:ph type="title"/>
          </p:nvPr>
        </p:nvSpPr>
        <p:spPr>
          <a:xfrm>
            <a:off x="2466108" y="414320"/>
            <a:ext cx="2700251" cy="5562000"/>
          </a:xfrm>
        </p:spPr>
        <p:txBody>
          <a:bodyPr/>
          <a:lstStyle/>
          <a:p>
            <a:r>
              <a:rPr lang="en-US" noProof="0" dirty="0">
                <a:latin typeface="Arial"/>
                <a:cs typeface="Arial"/>
              </a:rPr>
              <a:t>Assessments</a:t>
            </a:r>
          </a:p>
        </p:txBody>
      </p:sp>
      <p:grpSp>
        <p:nvGrpSpPr>
          <p:cNvPr id="5" name="Group 4">
            <a:extLst>
              <a:ext uri="{FF2B5EF4-FFF2-40B4-BE49-F238E27FC236}">
                <a16:creationId xmlns:a16="http://schemas.microsoft.com/office/drawing/2014/main" id="{FB94BFE2-6294-2A89-33B0-31543C7D8F70}"/>
              </a:ext>
            </a:extLst>
          </p:cNvPr>
          <p:cNvGrpSpPr/>
          <p:nvPr/>
        </p:nvGrpSpPr>
        <p:grpSpPr>
          <a:xfrm>
            <a:off x="5779167" y="5106266"/>
            <a:ext cx="5879434" cy="1341521"/>
            <a:chOff x="5779167" y="3403479"/>
            <a:chExt cx="5879434" cy="1341521"/>
          </a:xfrm>
        </p:grpSpPr>
        <p:grpSp>
          <p:nvGrpSpPr>
            <p:cNvPr id="6" name="Group 5">
              <a:extLst>
                <a:ext uri="{FF2B5EF4-FFF2-40B4-BE49-F238E27FC236}">
                  <a16:creationId xmlns:a16="http://schemas.microsoft.com/office/drawing/2014/main" id="{9F543FBC-BA7B-88A7-97C8-437E9EBC8333}"/>
                </a:ext>
              </a:extLst>
            </p:cNvPr>
            <p:cNvGrpSpPr/>
            <p:nvPr/>
          </p:nvGrpSpPr>
          <p:grpSpPr>
            <a:xfrm>
              <a:off x="5779167" y="3403479"/>
              <a:ext cx="606666" cy="1341521"/>
              <a:chOff x="5779167" y="4120026"/>
              <a:chExt cx="606666" cy="1341521"/>
            </a:xfrm>
          </p:grpSpPr>
          <p:sp>
            <p:nvSpPr>
              <p:cNvPr id="8" name="TextBox 7">
                <a:extLst>
                  <a:ext uri="{FF2B5EF4-FFF2-40B4-BE49-F238E27FC236}">
                    <a16:creationId xmlns:a16="http://schemas.microsoft.com/office/drawing/2014/main" id="{FEAC3C22-94B4-DFE0-A8BD-3BB7D1441C1F}"/>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4</a:t>
                </a:r>
              </a:p>
            </p:txBody>
          </p:sp>
          <p:cxnSp>
            <p:nvCxnSpPr>
              <p:cNvPr id="15" name="Straight Connector 14">
                <a:extLst>
                  <a:ext uri="{FF2B5EF4-FFF2-40B4-BE49-F238E27FC236}">
                    <a16:creationId xmlns:a16="http://schemas.microsoft.com/office/drawing/2014/main" id="{CD3DD629-CCA9-91AE-78FA-2DCF018C97BD}"/>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Content Placeholder 2">
              <a:extLst>
                <a:ext uri="{FF2B5EF4-FFF2-40B4-BE49-F238E27FC236}">
                  <a16:creationId xmlns:a16="http://schemas.microsoft.com/office/drawing/2014/main" id="{5A64F8B9-D150-7E6F-C6F3-E755007AB235}"/>
                </a:ext>
              </a:extLst>
            </p:cNvPr>
            <p:cNvSpPr txBox="1">
              <a:spLocks/>
            </p:cNvSpPr>
            <p:nvPr/>
          </p:nvSpPr>
          <p:spPr>
            <a:xfrm>
              <a:off x="6479145" y="3726642"/>
              <a:ext cx="5179456"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Times New Roman"/>
                </a:rPr>
                <a:t>Which is not an example of direct communication with pediatric patients that builds trust and rapport and can help improve patient adherence to recommendations?</a:t>
              </a:r>
            </a:p>
            <a:p>
              <a:pPr>
                <a:lnSpc>
                  <a:spcPct val="100000"/>
                </a:lnSpc>
                <a:spcBef>
                  <a:spcPts val="0"/>
                </a:spcBef>
                <a:spcAft>
                  <a:spcPts val="200"/>
                </a:spcAft>
                <a:buFont typeface="+mj-lt"/>
                <a:buAutoNum type="alphaLcPeriod"/>
              </a:pPr>
              <a:r>
                <a:rPr lang="en-US" sz="1050" noProof="0" dirty="0">
                  <a:latin typeface="Arial"/>
                  <a:cs typeface="Times New Roman"/>
                </a:rPr>
                <a:t>Using motivational interviewing to increase intrinsic motivation</a:t>
              </a:r>
            </a:p>
            <a:p>
              <a:pPr>
                <a:lnSpc>
                  <a:spcPct val="100000"/>
                </a:lnSpc>
                <a:spcBef>
                  <a:spcPts val="0"/>
                </a:spcBef>
                <a:spcAft>
                  <a:spcPts val="200"/>
                </a:spcAft>
                <a:buFont typeface="+mj-lt"/>
                <a:buAutoNum type="alphaLcPeriod"/>
              </a:pPr>
              <a:r>
                <a:rPr lang="en-US" sz="1050" noProof="0" dirty="0">
                  <a:latin typeface="Arial"/>
                  <a:cs typeface="Times New Roman"/>
                </a:rPr>
                <a:t>Being flexible on when to include the child or adolescent in the conversation</a:t>
              </a:r>
            </a:p>
            <a:p>
              <a:pPr>
                <a:lnSpc>
                  <a:spcPct val="100000"/>
                </a:lnSpc>
                <a:spcBef>
                  <a:spcPts val="0"/>
                </a:spcBef>
                <a:spcAft>
                  <a:spcPts val="200"/>
                </a:spcAft>
                <a:buFont typeface="+mj-lt"/>
                <a:buAutoNum type="alphaLcPeriod"/>
              </a:pPr>
              <a:r>
                <a:rPr lang="en-US" sz="1050" noProof="0" dirty="0">
                  <a:latin typeface="Arial"/>
                  <a:cs typeface="Times New Roman"/>
                </a:rPr>
                <a:t>Initiating conversations about weight to relieve pressure from caregivers</a:t>
              </a:r>
            </a:p>
            <a:p>
              <a:pPr>
                <a:lnSpc>
                  <a:spcPct val="100000"/>
                </a:lnSpc>
                <a:spcBef>
                  <a:spcPts val="0"/>
                </a:spcBef>
                <a:spcAft>
                  <a:spcPts val="200"/>
                </a:spcAft>
                <a:buFont typeface="+mj-lt"/>
                <a:buAutoNum type="alphaLcPeriod"/>
              </a:pPr>
              <a:r>
                <a:rPr lang="en-US" sz="1050" noProof="0" dirty="0">
                  <a:latin typeface="Arial"/>
                  <a:cs typeface="Times New Roman"/>
                </a:rPr>
                <a:t>Using close-ended questions when communicating with pediatrics with obesity</a:t>
              </a:r>
            </a:p>
          </p:txBody>
        </p:sp>
      </p:grpSp>
    </p:spTree>
    <p:extLst>
      <p:ext uri="{BB962C8B-B14F-4D97-AF65-F5344CB8AC3E}">
        <p14:creationId xmlns:p14="http://schemas.microsoft.com/office/powerpoint/2010/main" val="393860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9" grpId="0" animBg="1"/>
      <p:bldP spid="17" grpId="0" animBg="1"/>
      <p:bldP spid="1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501F14-1C79-4682-65E6-544842C099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7F2EFA-06A3-B83B-2E20-4AB0D7681824}"/>
              </a:ext>
            </a:extLst>
          </p:cNvPr>
          <p:cNvSpPr>
            <a:spLocks noGrp="1"/>
          </p:cNvSpPr>
          <p:nvPr>
            <p:ph type="title"/>
          </p:nvPr>
        </p:nvSpPr>
        <p:spPr>
          <a:xfrm>
            <a:off x="536575" y="414338"/>
            <a:ext cx="4629150" cy="5562600"/>
          </a:xfrm>
        </p:spPr>
        <p:txBody>
          <a:bodyPr/>
          <a:lstStyle/>
          <a:p>
            <a:r>
              <a:rPr lang="en-US" noProof="0" dirty="0"/>
              <a:t>Learning </a:t>
            </a:r>
            <a:br>
              <a:rPr lang="en-US" noProof="0" dirty="0"/>
            </a:br>
            <a:r>
              <a:rPr lang="en-US" noProof="0" dirty="0"/>
              <a:t>outcomes</a:t>
            </a:r>
          </a:p>
        </p:txBody>
      </p:sp>
      <p:sp>
        <p:nvSpPr>
          <p:cNvPr id="3" name="Content Placeholder 2">
            <a:extLst>
              <a:ext uri="{FF2B5EF4-FFF2-40B4-BE49-F238E27FC236}">
                <a16:creationId xmlns:a16="http://schemas.microsoft.com/office/drawing/2014/main" id="{1E611369-985D-2612-1504-47B85F26A16D}"/>
              </a:ext>
            </a:extLst>
          </p:cNvPr>
          <p:cNvSpPr>
            <a:spLocks noGrp="1"/>
          </p:cNvSpPr>
          <p:nvPr>
            <p:ph idx="1"/>
          </p:nvPr>
        </p:nvSpPr>
        <p:spPr>
          <a:xfrm>
            <a:off x="6096000" y="414320"/>
            <a:ext cx="5577840" cy="5562000"/>
          </a:xfrm>
        </p:spPr>
        <p:txBody>
          <a:bodyPr/>
          <a:lstStyle/>
          <a:p>
            <a:pPr marL="0" indent="0">
              <a:spcAft>
                <a:spcPts val="1800"/>
              </a:spcAft>
              <a:buNone/>
            </a:pPr>
            <a:r>
              <a:rPr lang="en-US" noProof="0" dirty="0"/>
              <a:t>After completing this module, </a:t>
            </a:r>
            <a:br>
              <a:rPr lang="en-US" noProof="0" dirty="0"/>
            </a:br>
            <a:r>
              <a:rPr lang="en-US" noProof="0" dirty="0"/>
              <a:t>the learner will be able to:</a:t>
            </a:r>
          </a:p>
          <a:p>
            <a:pPr marL="746125" lvl="1" indent="-6350">
              <a:spcAft>
                <a:spcPts val="1200"/>
              </a:spcAft>
              <a:buNone/>
            </a:pPr>
            <a:r>
              <a:rPr lang="en-US" noProof="0" dirty="0"/>
              <a:t>Classify and diagnose obesity in the </a:t>
            </a:r>
            <a:br>
              <a:rPr lang="en-US" noProof="0" dirty="0"/>
            </a:br>
            <a:r>
              <a:rPr lang="en-US" noProof="0" dirty="0"/>
              <a:t>pediatric population</a:t>
            </a:r>
          </a:p>
          <a:p>
            <a:pPr marL="746125" lvl="1" indent="-6350">
              <a:spcAft>
                <a:spcPts val="1200"/>
              </a:spcAft>
              <a:buNone/>
            </a:pPr>
            <a:r>
              <a:rPr lang="en-US" noProof="0" dirty="0"/>
              <a:t>Discuss the role of lifestyle modifications and pharmacotherapy for the management of obesity in the pediatric population</a:t>
            </a:r>
          </a:p>
          <a:p>
            <a:pPr marL="746125" lvl="1" indent="-6350">
              <a:spcAft>
                <a:spcPts val="1200"/>
              </a:spcAft>
              <a:buNone/>
            </a:pPr>
            <a:r>
              <a:rPr lang="en-US" noProof="0" dirty="0"/>
              <a:t>Use patient-centered, compassionate communication that is free of stigma and bias when communicating with children and adolescents with obesity and their families</a:t>
            </a:r>
          </a:p>
          <a:p>
            <a:endParaRPr lang="en-US" noProof="0" dirty="0"/>
          </a:p>
        </p:txBody>
      </p:sp>
      <p:pic>
        <p:nvPicPr>
          <p:cNvPr id="21" name="Graphic 20">
            <a:extLst>
              <a:ext uri="{FF2B5EF4-FFF2-40B4-BE49-F238E27FC236}">
                <a16:creationId xmlns:a16="http://schemas.microsoft.com/office/drawing/2014/main" id="{2778B582-00A4-E3FC-6490-BFD4249961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11540" y="5608294"/>
            <a:ext cx="271325" cy="274759"/>
          </a:xfrm>
          <a:prstGeom prst="rect">
            <a:avLst/>
          </a:prstGeom>
        </p:spPr>
      </p:pic>
      <p:sp>
        <p:nvSpPr>
          <p:cNvPr id="22" name="TextBox 21">
            <a:extLst>
              <a:ext uri="{FF2B5EF4-FFF2-40B4-BE49-F238E27FC236}">
                <a16:creationId xmlns:a16="http://schemas.microsoft.com/office/drawing/2014/main" id="{F912C693-D7EF-5314-6D83-D20D042C18EE}"/>
              </a:ext>
            </a:extLst>
          </p:cNvPr>
          <p:cNvSpPr txBox="1"/>
          <p:nvPr/>
        </p:nvSpPr>
        <p:spPr>
          <a:xfrm>
            <a:off x="6460790" y="5585091"/>
            <a:ext cx="3884930" cy="288147"/>
          </a:xfrm>
          <a:prstGeom prst="rect">
            <a:avLst/>
          </a:prstGeom>
          <a:noFill/>
          <a:ln w="158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36000" bIns="36000" anchor="ctr" anchorCtr="0">
            <a:spAutoFit/>
          </a:bodyPr>
          <a:lstStyle/>
          <a:p>
            <a:pPr lvl="0"/>
            <a:r>
              <a:rPr lang="en-US" sz="1400" noProof="0" dirty="0"/>
              <a:t>Estimated time to complete: </a:t>
            </a:r>
            <a:r>
              <a:rPr lang="en-US" sz="1400" b="1" noProof="0" dirty="0"/>
              <a:t>15</a:t>
            </a:r>
            <a:r>
              <a:rPr lang="en-US" sz="1400" noProof="0" dirty="0"/>
              <a:t> min</a:t>
            </a:r>
          </a:p>
        </p:txBody>
      </p:sp>
      <p:cxnSp>
        <p:nvCxnSpPr>
          <p:cNvPr id="24" name="Straight Connector 23">
            <a:extLst>
              <a:ext uri="{FF2B5EF4-FFF2-40B4-BE49-F238E27FC236}">
                <a16:creationId xmlns:a16="http://schemas.microsoft.com/office/drawing/2014/main" id="{CABC0216-B469-350A-FC10-454970B85577}"/>
              </a:ext>
            </a:extLst>
          </p:cNvPr>
          <p:cNvCxnSpPr/>
          <p:nvPr/>
        </p:nvCxnSpPr>
        <p:spPr>
          <a:xfrm>
            <a:off x="6103920" y="54178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D8998E6-4278-7720-C513-112263BABE08}"/>
              </a:ext>
            </a:extLst>
          </p:cNvPr>
          <p:cNvCxnSpPr/>
          <p:nvPr/>
        </p:nvCxnSpPr>
        <p:spPr>
          <a:xfrm>
            <a:off x="6103920" y="60274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1610BBD9-1478-B8AC-FED2-CC464D2D55D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2006505"/>
            <a:ext cx="683952" cy="683952"/>
          </a:xfrm>
          <a:prstGeom prst="rect">
            <a:avLst/>
          </a:prstGeom>
        </p:spPr>
      </p:pic>
      <p:pic>
        <p:nvPicPr>
          <p:cNvPr id="5" name="Graphic 4">
            <a:extLst>
              <a:ext uri="{FF2B5EF4-FFF2-40B4-BE49-F238E27FC236}">
                <a16:creationId xmlns:a16="http://schemas.microsoft.com/office/drawing/2014/main" id="{C7892852-8A14-F73D-8E36-7BC62A1841BA}"/>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2834043"/>
            <a:ext cx="683952" cy="683952"/>
          </a:xfrm>
          <a:prstGeom prst="rect">
            <a:avLst/>
          </a:prstGeom>
        </p:spPr>
      </p:pic>
      <p:pic>
        <p:nvPicPr>
          <p:cNvPr id="6" name="Graphic 5">
            <a:extLst>
              <a:ext uri="{FF2B5EF4-FFF2-40B4-BE49-F238E27FC236}">
                <a16:creationId xmlns:a16="http://schemas.microsoft.com/office/drawing/2014/main" id="{7CD27687-9542-CFF1-5335-60FA2144082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3906341"/>
            <a:ext cx="683952" cy="683952"/>
          </a:xfrm>
          <a:prstGeom prst="rect">
            <a:avLst/>
          </a:prstGeom>
        </p:spPr>
      </p:pic>
    </p:spTree>
    <p:extLst>
      <p:ext uri="{BB962C8B-B14F-4D97-AF65-F5344CB8AC3E}">
        <p14:creationId xmlns:p14="http://schemas.microsoft.com/office/powerpoint/2010/main" val="222514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FF939441-C97C-0466-53AE-9D65D90D3638}"/>
              </a:ext>
            </a:extLst>
          </p:cNvPr>
          <p:cNvGrpSpPr/>
          <p:nvPr/>
        </p:nvGrpSpPr>
        <p:grpSpPr>
          <a:xfrm>
            <a:off x="4190416" y="1472867"/>
            <a:ext cx="3632978" cy="3524082"/>
            <a:chOff x="7346797" y="1760719"/>
            <a:chExt cx="3632978" cy="3524082"/>
          </a:xfrm>
        </p:grpSpPr>
        <p:sp>
          <p:nvSpPr>
            <p:cNvPr id="28" name="Rectangle: Rounded Corners 27">
              <a:extLst>
                <a:ext uri="{FF2B5EF4-FFF2-40B4-BE49-F238E27FC236}">
                  <a16:creationId xmlns:a16="http://schemas.microsoft.com/office/drawing/2014/main" id="{5C186B52-17A9-6A35-3946-12C72142FFDF}"/>
                </a:ext>
              </a:extLst>
            </p:cNvPr>
            <p:cNvSpPr/>
            <p:nvPr/>
          </p:nvSpPr>
          <p:spPr>
            <a:xfrm>
              <a:off x="7630505" y="2103119"/>
              <a:ext cx="3349270" cy="2890157"/>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9" name="TextBox 28">
              <a:extLst>
                <a:ext uri="{FF2B5EF4-FFF2-40B4-BE49-F238E27FC236}">
                  <a16:creationId xmlns:a16="http://schemas.microsoft.com/office/drawing/2014/main" id="{8B6D987A-510F-906E-2B8A-2F88D4FF62B0}"/>
                </a:ext>
              </a:extLst>
            </p:cNvPr>
            <p:cNvSpPr txBox="1"/>
            <p:nvPr/>
          </p:nvSpPr>
          <p:spPr>
            <a:xfrm>
              <a:off x="7721558" y="2144129"/>
              <a:ext cx="2195446" cy="369332"/>
            </a:xfrm>
            <a:prstGeom prst="rect">
              <a:avLst/>
            </a:prstGeom>
            <a:noFill/>
          </p:spPr>
          <p:txBody>
            <a:bodyPr wrap="square">
              <a:spAutoFit/>
            </a:bodyPr>
            <a:lstStyle/>
            <a:p>
              <a:pPr algn="ctr">
                <a:spcAft>
                  <a:spcPts val="600"/>
                </a:spcAft>
              </a:pPr>
              <a:endParaRPr lang="en-US" b="1" noProof="0" dirty="0">
                <a:solidFill>
                  <a:schemeClr val="accent6">
                    <a:lumMod val="75000"/>
                  </a:schemeClr>
                </a:solidFill>
                <a:cs typeface="Arial"/>
              </a:endParaRPr>
            </a:p>
          </p:txBody>
        </p:sp>
        <p:sp>
          <p:nvSpPr>
            <p:cNvPr id="30" name="Rectangle: Rounded Corners 29">
              <a:extLst>
                <a:ext uri="{FF2B5EF4-FFF2-40B4-BE49-F238E27FC236}">
                  <a16:creationId xmlns:a16="http://schemas.microsoft.com/office/drawing/2014/main" id="{9047AA7F-E289-18D8-FCE8-2E858FCDB259}"/>
                </a:ext>
              </a:extLst>
            </p:cNvPr>
            <p:cNvSpPr/>
            <p:nvPr/>
          </p:nvSpPr>
          <p:spPr>
            <a:xfrm>
              <a:off x="7578435" y="2057399"/>
              <a:ext cx="3349270" cy="2890157"/>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1" name="Graphic 30">
              <a:extLst>
                <a:ext uri="{FF2B5EF4-FFF2-40B4-BE49-F238E27FC236}">
                  <a16:creationId xmlns:a16="http://schemas.microsoft.com/office/drawing/2014/main" id="{CEA47B5F-4B08-716C-CB58-F3E70879C1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6797" y="1760719"/>
              <a:ext cx="663634" cy="663634"/>
            </a:xfrm>
            <a:prstGeom prst="rect">
              <a:avLst/>
            </a:prstGeom>
          </p:spPr>
        </p:pic>
        <p:pic>
          <p:nvPicPr>
            <p:cNvPr id="32" name="Graphic 31">
              <a:extLst>
                <a:ext uri="{FF2B5EF4-FFF2-40B4-BE49-F238E27FC236}">
                  <a16:creationId xmlns:a16="http://schemas.microsoft.com/office/drawing/2014/main" id="{2E0D2EAB-90E2-5DCE-6CB4-D73601723E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289521" y="4621167"/>
              <a:ext cx="663634" cy="663634"/>
            </a:xfrm>
            <a:prstGeom prst="rect">
              <a:avLst/>
            </a:prstGeom>
          </p:spPr>
        </p:pic>
      </p:grpSp>
      <p:grpSp>
        <p:nvGrpSpPr>
          <p:cNvPr id="21" name="Group 20">
            <a:extLst>
              <a:ext uri="{FF2B5EF4-FFF2-40B4-BE49-F238E27FC236}">
                <a16:creationId xmlns:a16="http://schemas.microsoft.com/office/drawing/2014/main" id="{07482457-9416-12C0-714F-3508748059F2}"/>
              </a:ext>
            </a:extLst>
          </p:cNvPr>
          <p:cNvGrpSpPr/>
          <p:nvPr/>
        </p:nvGrpSpPr>
        <p:grpSpPr>
          <a:xfrm>
            <a:off x="420407" y="1472867"/>
            <a:ext cx="3632978" cy="3524082"/>
            <a:chOff x="7346797" y="1760719"/>
            <a:chExt cx="3632978" cy="3524082"/>
          </a:xfrm>
        </p:grpSpPr>
        <p:sp>
          <p:nvSpPr>
            <p:cNvPr id="22" name="Rectangle: Rounded Corners 21">
              <a:extLst>
                <a:ext uri="{FF2B5EF4-FFF2-40B4-BE49-F238E27FC236}">
                  <a16:creationId xmlns:a16="http://schemas.microsoft.com/office/drawing/2014/main" id="{DFEAA6A7-8DE2-A526-56D6-81CE430D0E6A}"/>
                </a:ext>
              </a:extLst>
            </p:cNvPr>
            <p:cNvSpPr/>
            <p:nvPr/>
          </p:nvSpPr>
          <p:spPr>
            <a:xfrm>
              <a:off x="7630505" y="2103119"/>
              <a:ext cx="3349270" cy="2890157"/>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3" name="TextBox 22">
              <a:extLst>
                <a:ext uri="{FF2B5EF4-FFF2-40B4-BE49-F238E27FC236}">
                  <a16:creationId xmlns:a16="http://schemas.microsoft.com/office/drawing/2014/main" id="{4D9D1CA5-E894-20F9-24F1-CFBD2C12768D}"/>
                </a:ext>
              </a:extLst>
            </p:cNvPr>
            <p:cNvSpPr txBox="1"/>
            <p:nvPr/>
          </p:nvSpPr>
          <p:spPr>
            <a:xfrm>
              <a:off x="7721558" y="2144129"/>
              <a:ext cx="2195446" cy="369332"/>
            </a:xfrm>
            <a:prstGeom prst="rect">
              <a:avLst/>
            </a:prstGeom>
            <a:noFill/>
          </p:spPr>
          <p:txBody>
            <a:bodyPr wrap="square">
              <a:spAutoFit/>
            </a:bodyPr>
            <a:lstStyle/>
            <a:p>
              <a:pPr algn="ctr">
                <a:spcAft>
                  <a:spcPts val="600"/>
                </a:spcAft>
              </a:pPr>
              <a:endParaRPr lang="en-US" b="1" noProof="0" dirty="0">
                <a:solidFill>
                  <a:schemeClr val="accent6">
                    <a:lumMod val="75000"/>
                  </a:schemeClr>
                </a:solidFill>
                <a:cs typeface="Arial"/>
              </a:endParaRPr>
            </a:p>
          </p:txBody>
        </p:sp>
        <p:sp>
          <p:nvSpPr>
            <p:cNvPr id="24" name="Rectangle: Rounded Corners 23">
              <a:extLst>
                <a:ext uri="{FF2B5EF4-FFF2-40B4-BE49-F238E27FC236}">
                  <a16:creationId xmlns:a16="http://schemas.microsoft.com/office/drawing/2014/main" id="{19FD2172-120E-6D44-AD11-384F3B41D74F}"/>
                </a:ext>
              </a:extLst>
            </p:cNvPr>
            <p:cNvSpPr/>
            <p:nvPr/>
          </p:nvSpPr>
          <p:spPr>
            <a:xfrm>
              <a:off x="7578435" y="2057399"/>
              <a:ext cx="3349270" cy="2890157"/>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5" name="Graphic 24">
              <a:extLst>
                <a:ext uri="{FF2B5EF4-FFF2-40B4-BE49-F238E27FC236}">
                  <a16:creationId xmlns:a16="http://schemas.microsoft.com/office/drawing/2014/main" id="{9A3AECDC-F188-757D-4852-799F104DDA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6797" y="1760719"/>
              <a:ext cx="663634" cy="663634"/>
            </a:xfrm>
            <a:prstGeom prst="rect">
              <a:avLst/>
            </a:prstGeom>
          </p:spPr>
        </p:pic>
        <p:pic>
          <p:nvPicPr>
            <p:cNvPr id="26" name="Graphic 25">
              <a:extLst>
                <a:ext uri="{FF2B5EF4-FFF2-40B4-BE49-F238E27FC236}">
                  <a16:creationId xmlns:a16="http://schemas.microsoft.com/office/drawing/2014/main" id="{21F012F8-E13F-ADF7-E1D7-0F4CB358D8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289521" y="4621167"/>
              <a:ext cx="663634" cy="663634"/>
            </a:xfrm>
            <a:prstGeom prst="rect">
              <a:avLst/>
            </a:prstGeom>
          </p:spPr>
        </p:pic>
      </p:grpSp>
      <p:sp>
        <p:nvSpPr>
          <p:cNvPr id="2" name="Title 1">
            <a:extLst>
              <a:ext uri="{FF2B5EF4-FFF2-40B4-BE49-F238E27FC236}">
                <a16:creationId xmlns:a16="http://schemas.microsoft.com/office/drawing/2014/main" id="{1385433A-AD9C-A52E-C6B6-2F219F463355}"/>
              </a:ext>
            </a:extLst>
          </p:cNvPr>
          <p:cNvSpPr>
            <a:spLocks noGrp="1"/>
          </p:cNvSpPr>
          <p:nvPr>
            <p:ph type="title"/>
          </p:nvPr>
        </p:nvSpPr>
        <p:spPr>
          <a:xfrm>
            <a:off x="536240" y="414320"/>
            <a:ext cx="10896000" cy="1082209"/>
          </a:xfrm>
        </p:spPr>
        <p:txBody>
          <a:bodyPr>
            <a:normAutofit/>
          </a:bodyPr>
          <a:lstStyle/>
          <a:p>
            <a:r>
              <a:rPr lang="en-US" noProof="0" dirty="0"/>
              <a:t>Childhood obesity is a disease and an ongoing health issue</a:t>
            </a:r>
          </a:p>
        </p:txBody>
      </p:sp>
      <p:sp>
        <p:nvSpPr>
          <p:cNvPr id="3" name="Text Placeholder 2">
            <a:extLst>
              <a:ext uri="{FF2B5EF4-FFF2-40B4-BE49-F238E27FC236}">
                <a16:creationId xmlns:a16="http://schemas.microsoft.com/office/drawing/2014/main" id="{2B13500F-0157-572B-FE6E-E163A083C184}"/>
              </a:ext>
            </a:extLst>
          </p:cNvPr>
          <p:cNvSpPr>
            <a:spLocks noGrp="1"/>
          </p:cNvSpPr>
          <p:nvPr>
            <p:ph type="body" sz="quarter" idx="13"/>
          </p:nvPr>
        </p:nvSpPr>
        <p:spPr>
          <a:xfrm>
            <a:off x="536240" y="6020060"/>
            <a:ext cx="10896000" cy="324000"/>
          </a:xfrm>
        </p:spPr>
        <p:txBody>
          <a:bodyPr/>
          <a:lstStyle/>
          <a:p>
            <a:r>
              <a:rPr lang="en-US" noProof="0" dirty="0"/>
              <a:t>CVD, cardiovascular disease.</a:t>
            </a:r>
            <a:br>
              <a:rPr lang="en-US" noProof="0" dirty="0"/>
            </a:br>
            <a:r>
              <a:rPr lang="en-US" noProof="0" dirty="0"/>
              <a:t>1. Hampl SE et al. Pediatrics 2023;151:e2022060640; 2. WHO. Noncommunicable diseases: Childhood overweight and obesity. </a:t>
            </a:r>
            <a:r>
              <a:rPr lang="en-US" noProof="0" dirty="0">
                <a:hlinkClick r:id="rId5">
                  <a:extLst>
                    <a:ext uri="{A12FA001-AC4F-418D-AE19-62706E023703}">
                      <ahyp:hlinkClr xmlns:ahyp="http://schemas.microsoft.com/office/drawing/2018/hyperlinkcolor" val="tx"/>
                    </a:ext>
                  </a:extLst>
                </a:hlinkClick>
              </a:rPr>
              <a:t>http://www.who.int/dietphysicalactivity/childhood/en/</a:t>
            </a:r>
            <a:r>
              <a:rPr lang="en-US" noProof="0" dirty="0"/>
              <a:t>. Accessed </a:t>
            </a:r>
            <a:r>
              <a:rPr lang="en-US" noProof="0"/>
              <a:t>October 2025; 3</a:t>
            </a:r>
            <a:r>
              <a:rPr lang="en-US" noProof="0" dirty="0"/>
              <a:t>. Styne DM et al. J Clin Endocrinol Metab 2017;102:709–757.</a:t>
            </a:r>
          </a:p>
        </p:txBody>
      </p:sp>
      <p:sp>
        <p:nvSpPr>
          <p:cNvPr id="14" name="Speech Bubble: Rectangle 13">
            <a:extLst>
              <a:ext uri="{FF2B5EF4-FFF2-40B4-BE49-F238E27FC236}">
                <a16:creationId xmlns:a16="http://schemas.microsoft.com/office/drawing/2014/main" id="{3DD7320F-7A0B-917B-9E19-F1AD79711DEA}"/>
              </a:ext>
            </a:extLst>
          </p:cNvPr>
          <p:cNvSpPr/>
          <p:nvPr/>
        </p:nvSpPr>
        <p:spPr>
          <a:xfrm>
            <a:off x="655257" y="1775699"/>
            <a:ext cx="3336713" cy="2929726"/>
          </a:xfrm>
          <a:prstGeom prst="wedgeRectCallout">
            <a:avLst>
              <a:gd name="adj1" fmla="val -2040"/>
              <a:gd name="adj2" fmla="val 62195"/>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274320" tIns="36000" rIns="274320" bIns="36000" rtlCol="0" anchor="ctr"/>
          <a:lstStyle/>
          <a:p>
            <a:pPr marL="0" marR="0" lvl="0" indent="0" algn="ctr" defTabSz="1219170" rtl="0" eaLnBrk="1" fontAlgn="base" latinLnBrk="0" hangingPunct="1">
              <a:lnSpc>
                <a:spcPct val="100000"/>
              </a:lnSpc>
              <a:spcBef>
                <a:spcPts val="0"/>
              </a:spcBef>
              <a:spcAft>
                <a:spcPct val="0"/>
              </a:spcAft>
              <a:buClrTx/>
              <a:buSzTx/>
              <a:buFontTx/>
              <a:buNone/>
              <a:tabLst/>
              <a:defRPr/>
            </a:pPr>
            <a:r>
              <a:rPr kumimoji="0" lang="en-US" sz="1300" b="0" i="0" u="none" strike="noStrike" kern="1200" cap="none" spc="0" normalizeH="0" baseline="0" noProof="0" dirty="0">
                <a:ln>
                  <a:noFill/>
                </a:ln>
                <a:solidFill>
                  <a:schemeClr val="tx1"/>
                </a:solidFill>
                <a:effectLst/>
                <a:uLnTx/>
                <a:uFillTx/>
                <a:ea typeface="+mn-ea"/>
                <a:cs typeface="+mn-cs"/>
              </a:rPr>
              <a:t>The current and long-term health of 14.4 million children and adolescents is affected by obesity, making it one of the most common pediatric chronic diseases … Because obesity is a chronic disease with escalating effects over time, a life course approach to identification and treatment should begin as early as possible and continue longitudinally through childhood, adolescence, and young adulthood, with transition into adult care</a:t>
            </a:r>
            <a:r>
              <a:rPr kumimoji="0" lang="en-US" sz="1300" b="0" i="0" u="none" strike="noStrike" kern="1200" cap="none" spc="0" normalizeH="0" baseline="30000" noProof="0" dirty="0">
                <a:ln>
                  <a:noFill/>
                </a:ln>
                <a:solidFill>
                  <a:schemeClr val="tx1"/>
                </a:solidFill>
                <a:effectLst/>
                <a:uLnTx/>
                <a:uFillTx/>
                <a:ea typeface="+mn-ea"/>
                <a:cs typeface="+mn-cs"/>
              </a:rPr>
              <a:t>1</a:t>
            </a:r>
          </a:p>
        </p:txBody>
      </p:sp>
      <p:sp>
        <p:nvSpPr>
          <p:cNvPr id="15" name="Rectangle: Rounded Corners 14">
            <a:extLst>
              <a:ext uri="{FF2B5EF4-FFF2-40B4-BE49-F238E27FC236}">
                <a16:creationId xmlns:a16="http://schemas.microsoft.com/office/drawing/2014/main" id="{67579E91-271F-4BC8-29E3-866B73F5D7F2}"/>
              </a:ext>
            </a:extLst>
          </p:cNvPr>
          <p:cNvSpPr/>
          <p:nvPr/>
        </p:nvSpPr>
        <p:spPr>
          <a:xfrm>
            <a:off x="1547402" y="4850528"/>
            <a:ext cx="1673838" cy="68842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FFFFFF"/>
                </a:solidFill>
                <a:effectLst/>
                <a:uLnTx/>
                <a:uFillTx/>
                <a:ea typeface="+mn-ea"/>
                <a:cs typeface="+mn-cs"/>
              </a:rPr>
              <a:t>AAP</a:t>
            </a:r>
          </a:p>
        </p:txBody>
      </p:sp>
      <p:sp>
        <p:nvSpPr>
          <p:cNvPr id="16" name="TextBox 15">
            <a:extLst>
              <a:ext uri="{FF2B5EF4-FFF2-40B4-BE49-F238E27FC236}">
                <a16:creationId xmlns:a16="http://schemas.microsoft.com/office/drawing/2014/main" id="{4D75409C-B5D5-AAD7-84C3-8A04727AB239}"/>
              </a:ext>
            </a:extLst>
          </p:cNvPr>
          <p:cNvSpPr txBox="1"/>
          <p:nvPr/>
        </p:nvSpPr>
        <p:spPr>
          <a:xfrm>
            <a:off x="602432" y="5569373"/>
            <a:ext cx="3552636" cy="184666"/>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merican Academy of Pediatrics</a:t>
            </a:r>
          </a:p>
        </p:txBody>
      </p:sp>
      <p:sp>
        <p:nvSpPr>
          <p:cNvPr id="11" name="Speech Bubble: Rectangle 10">
            <a:extLst>
              <a:ext uri="{FF2B5EF4-FFF2-40B4-BE49-F238E27FC236}">
                <a16:creationId xmlns:a16="http://schemas.microsoft.com/office/drawing/2014/main" id="{EBF43250-1443-3D59-09FA-3737004A9F3D}"/>
              </a:ext>
            </a:extLst>
          </p:cNvPr>
          <p:cNvSpPr/>
          <p:nvPr/>
        </p:nvSpPr>
        <p:spPr>
          <a:xfrm>
            <a:off x="4484238" y="1775699"/>
            <a:ext cx="3287086" cy="2929726"/>
          </a:xfrm>
          <a:prstGeom prst="wedgeRectCallout">
            <a:avLst>
              <a:gd name="adj1" fmla="val -2040"/>
              <a:gd name="adj2" fmla="val 62195"/>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182880" tIns="36000" rIns="91440" bIns="36000" rtlCol="0" anchor="ctr"/>
          <a:lstStyle/>
          <a:p>
            <a:pPr marL="0" marR="0" lvl="0" indent="0" algn="ctr" defTabSz="1219170" rtl="0" eaLnBrk="1" fontAlgn="base" latinLnBrk="0" hangingPunct="1">
              <a:lnSpc>
                <a:spcPct val="100000"/>
              </a:lnSpc>
              <a:spcBef>
                <a:spcPts val="0"/>
              </a:spcBef>
              <a:spcAft>
                <a:spcPct val="0"/>
              </a:spcAft>
              <a:buClrTx/>
              <a:buSzTx/>
              <a:buFontTx/>
              <a:buNone/>
              <a:tabLst/>
              <a:defRPr/>
            </a:pPr>
            <a:r>
              <a:rPr kumimoji="0" lang="en-US" sz="1300" b="0" i="0" u="none" strike="noStrike" kern="1200" cap="none" spc="0" normalizeH="0" baseline="0" noProof="0" dirty="0">
                <a:ln>
                  <a:noFill/>
                </a:ln>
                <a:solidFill>
                  <a:schemeClr val="tx1"/>
                </a:solidFill>
                <a:effectLst/>
                <a:uLnTx/>
                <a:uFillTx/>
                <a:ea typeface="+mn-ea"/>
                <a:cs typeface="+mn-cs"/>
              </a:rPr>
              <a:t>Childhood obesity is one of the most serious public health challenges of the 21st century. Overweight and obese children are likely to stay obese into adulthood and more likely to develop non-communicable diseases like diabetes and CVD at a younger age. Prevention of childhood obesity therefore needs high priority</a:t>
            </a:r>
            <a:r>
              <a:rPr kumimoji="0" lang="en-US" sz="1300" b="0" i="0" u="none" strike="noStrike" kern="1200" cap="none" spc="0" normalizeH="0" baseline="30000" noProof="0" dirty="0">
                <a:ln>
                  <a:noFill/>
                </a:ln>
                <a:solidFill>
                  <a:schemeClr val="tx1"/>
                </a:solidFill>
                <a:effectLst/>
                <a:uLnTx/>
                <a:uFillTx/>
                <a:ea typeface="+mn-ea"/>
                <a:cs typeface="+mn-cs"/>
              </a:rPr>
              <a:t>2</a:t>
            </a:r>
          </a:p>
        </p:txBody>
      </p:sp>
      <p:sp>
        <p:nvSpPr>
          <p:cNvPr id="12" name="Rectangle: Rounded Corners 11">
            <a:extLst>
              <a:ext uri="{FF2B5EF4-FFF2-40B4-BE49-F238E27FC236}">
                <a16:creationId xmlns:a16="http://schemas.microsoft.com/office/drawing/2014/main" id="{D1C940A5-17D2-6F5E-8EFE-4ACC105E740C}"/>
              </a:ext>
            </a:extLst>
          </p:cNvPr>
          <p:cNvSpPr/>
          <p:nvPr/>
        </p:nvSpPr>
        <p:spPr>
          <a:xfrm>
            <a:off x="5259769" y="4850528"/>
            <a:ext cx="1673838" cy="68842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FFFFFF"/>
                </a:solidFill>
                <a:effectLst/>
                <a:uLnTx/>
                <a:uFillTx/>
                <a:ea typeface="+mn-ea"/>
                <a:cs typeface="+mn-cs"/>
              </a:rPr>
              <a:t>WHO</a:t>
            </a:r>
          </a:p>
        </p:txBody>
      </p:sp>
      <p:sp>
        <p:nvSpPr>
          <p:cNvPr id="13" name="TextBox 12">
            <a:extLst>
              <a:ext uri="{FF2B5EF4-FFF2-40B4-BE49-F238E27FC236}">
                <a16:creationId xmlns:a16="http://schemas.microsoft.com/office/drawing/2014/main" id="{2F840350-FD6D-B535-0418-FCCEE9E314C8}"/>
              </a:ext>
            </a:extLst>
          </p:cNvPr>
          <p:cNvSpPr txBox="1"/>
          <p:nvPr/>
        </p:nvSpPr>
        <p:spPr>
          <a:xfrm>
            <a:off x="4352709" y="5569373"/>
            <a:ext cx="3552636" cy="184666"/>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World Health Organization</a:t>
            </a:r>
          </a:p>
        </p:txBody>
      </p:sp>
      <p:sp>
        <p:nvSpPr>
          <p:cNvPr id="8" name="Speech Bubble: Rectangle 7">
            <a:extLst>
              <a:ext uri="{FF2B5EF4-FFF2-40B4-BE49-F238E27FC236}">
                <a16:creationId xmlns:a16="http://schemas.microsoft.com/office/drawing/2014/main" id="{8B73D185-CD3D-D1BE-9EBC-045D765131EC}"/>
              </a:ext>
            </a:extLst>
          </p:cNvPr>
          <p:cNvSpPr/>
          <p:nvPr/>
        </p:nvSpPr>
        <p:spPr>
          <a:xfrm>
            <a:off x="8233076" y="1775699"/>
            <a:ext cx="3292458" cy="2929726"/>
          </a:xfrm>
          <a:prstGeom prst="wedgeRectCallout">
            <a:avLst>
              <a:gd name="adj1" fmla="val -2040"/>
              <a:gd name="adj2" fmla="val 62195"/>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274320" tIns="36000" rIns="274320" bIns="36000" rtlCol="0" anchor="ctr"/>
          <a:lstStyle/>
          <a:p>
            <a:pPr marL="0" marR="0" lvl="0" indent="0" algn="ctr" defTabSz="1219170" rtl="0" eaLnBrk="1" fontAlgn="base" latinLnBrk="0" hangingPunct="1">
              <a:lnSpc>
                <a:spcPct val="100000"/>
              </a:lnSpc>
              <a:spcBef>
                <a:spcPts val="0"/>
              </a:spcBef>
              <a:spcAft>
                <a:spcPct val="0"/>
              </a:spcAft>
              <a:buClrTx/>
              <a:buSzTx/>
              <a:buFontTx/>
              <a:buNone/>
              <a:tabLst/>
              <a:defRPr/>
            </a:pPr>
            <a:r>
              <a:rPr kumimoji="0" lang="en-US" sz="1300" b="0" i="0" u="none" strike="noStrike" kern="1200" cap="none" spc="0" normalizeH="0" baseline="0" noProof="0" dirty="0">
                <a:ln>
                  <a:noFill/>
                </a:ln>
                <a:solidFill>
                  <a:schemeClr val="tx1"/>
                </a:solidFill>
                <a:effectLst/>
                <a:uLnTx/>
                <a:uFillTx/>
                <a:ea typeface="+mn-ea"/>
                <a:cs typeface="+mn-cs"/>
              </a:rPr>
              <a:t>Pediatric obesity remains an ongoing serious international health concern affecting ∼17% of US children and adolescents, threatening their adult health and longevity</a:t>
            </a:r>
            <a:r>
              <a:rPr kumimoji="0" lang="en-US" sz="1300" b="0" i="0" u="none" strike="noStrike" kern="1200" cap="none" spc="0" normalizeH="0" baseline="30000" noProof="0" dirty="0">
                <a:ln>
                  <a:noFill/>
                </a:ln>
                <a:solidFill>
                  <a:schemeClr val="tx1"/>
                </a:solidFill>
                <a:effectLst/>
                <a:uLnTx/>
                <a:uFillTx/>
                <a:ea typeface="+mn-ea"/>
                <a:cs typeface="+mn-cs"/>
              </a:rPr>
              <a:t>3</a:t>
            </a:r>
          </a:p>
        </p:txBody>
      </p:sp>
      <p:sp>
        <p:nvSpPr>
          <p:cNvPr id="9" name="Rectangle: Rounded Corners 8">
            <a:extLst>
              <a:ext uri="{FF2B5EF4-FFF2-40B4-BE49-F238E27FC236}">
                <a16:creationId xmlns:a16="http://schemas.microsoft.com/office/drawing/2014/main" id="{C6C935BE-FFF8-8994-239C-37DEE52BA0AA}"/>
              </a:ext>
            </a:extLst>
          </p:cNvPr>
          <p:cNvSpPr/>
          <p:nvPr/>
        </p:nvSpPr>
        <p:spPr>
          <a:xfrm>
            <a:off x="9050621" y="4850528"/>
            <a:ext cx="1673838" cy="68842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FFFFFF"/>
                </a:solidFill>
                <a:effectLst/>
                <a:uLnTx/>
                <a:uFillTx/>
                <a:ea typeface="+mn-ea"/>
                <a:cs typeface="+mn-cs"/>
              </a:rPr>
              <a:t>ENDO</a:t>
            </a:r>
          </a:p>
        </p:txBody>
      </p:sp>
      <p:sp>
        <p:nvSpPr>
          <p:cNvPr id="10" name="TextBox 9">
            <a:extLst>
              <a:ext uri="{FF2B5EF4-FFF2-40B4-BE49-F238E27FC236}">
                <a16:creationId xmlns:a16="http://schemas.microsoft.com/office/drawing/2014/main" id="{6D993A17-CBC9-09AB-CB61-3F239076255C}"/>
              </a:ext>
            </a:extLst>
          </p:cNvPr>
          <p:cNvSpPr txBox="1"/>
          <p:nvPr/>
        </p:nvSpPr>
        <p:spPr>
          <a:xfrm>
            <a:off x="8102987" y="5569373"/>
            <a:ext cx="3552636" cy="184666"/>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Endocrine Society</a:t>
            </a:r>
          </a:p>
        </p:txBody>
      </p:sp>
      <p:grpSp>
        <p:nvGrpSpPr>
          <p:cNvPr id="33" name="Group 32">
            <a:extLst>
              <a:ext uri="{FF2B5EF4-FFF2-40B4-BE49-F238E27FC236}">
                <a16:creationId xmlns:a16="http://schemas.microsoft.com/office/drawing/2014/main" id="{117804BC-DFB3-B91B-0130-2C9D1A34CDCC}"/>
              </a:ext>
            </a:extLst>
          </p:cNvPr>
          <p:cNvGrpSpPr/>
          <p:nvPr/>
        </p:nvGrpSpPr>
        <p:grpSpPr>
          <a:xfrm>
            <a:off x="7981267" y="1472867"/>
            <a:ext cx="3632978" cy="3524082"/>
            <a:chOff x="7346797" y="1760719"/>
            <a:chExt cx="3632978" cy="3524082"/>
          </a:xfrm>
        </p:grpSpPr>
        <p:sp>
          <p:nvSpPr>
            <p:cNvPr id="34" name="Rectangle: Rounded Corners 33">
              <a:extLst>
                <a:ext uri="{FF2B5EF4-FFF2-40B4-BE49-F238E27FC236}">
                  <a16:creationId xmlns:a16="http://schemas.microsoft.com/office/drawing/2014/main" id="{80D81A1E-264D-2B79-F7B9-9B06DCBCE36C}"/>
                </a:ext>
              </a:extLst>
            </p:cNvPr>
            <p:cNvSpPr/>
            <p:nvPr/>
          </p:nvSpPr>
          <p:spPr>
            <a:xfrm>
              <a:off x="7630505" y="2103119"/>
              <a:ext cx="3349270" cy="2890157"/>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5" name="TextBox 34">
              <a:extLst>
                <a:ext uri="{FF2B5EF4-FFF2-40B4-BE49-F238E27FC236}">
                  <a16:creationId xmlns:a16="http://schemas.microsoft.com/office/drawing/2014/main" id="{0742D1CA-8F29-CDD0-9F00-A5CB9B3F6AC5}"/>
                </a:ext>
              </a:extLst>
            </p:cNvPr>
            <p:cNvSpPr txBox="1"/>
            <p:nvPr/>
          </p:nvSpPr>
          <p:spPr>
            <a:xfrm>
              <a:off x="7721558" y="2144129"/>
              <a:ext cx="2195446" cy="369332"/>
            </a:xfrm>
            <a:prstGeom prst="rect">
              <a:avLst/>
            </a:prstGeom>
            <a:noFill/>
          </p:spPr>
          <p:txBody>
            <a:bodyPr wrap="square">
              <a:spAutoFit/>
            </a:bodyPr>
            <a:lstStyle/>
            <a:p>
              <a:pPr algn="ctr">
                <a:spcAft>
                  <a:spcPts val="600"/>
                </a:spcAft>
              </a:pPr>
              <a:endParaRPr lang="en-US" b="1" noProof="0" dirty="0">
                <a:solidFill>
                  <a:schemeClr val="accent6">
                    <a:lumMod val="75000"/>
                  </a:schemeClr>
                </a:solidFill>
                <a:cs typeface="Arial"/>
              </a:endParaRPr>
            </a:p>
          </p:txBody>
        </p:sp>
        <p:sp>
          <p:nvSpPr>
            <p:cNvPr id="36" name="Rectangle: Rounded Corners 35">
              <a:extLst>
                <a:ext uri="{FF2B5EF4-FFF2-40B4-BE49-F238E27FC236}">
                  <a16:creationId xmlns:a16="http://schemas.microsoft.com/office/drawing/2014/main" id="{ED4DB967-E891-98AE-1185-FDBA85A55F42}"/>
                </a:ext>
              </a:extLst>
            </p:cNvPr>
            <p:cNvSpPr/>
            <p:nvPr/>
          </p:nvSpPr>
          <p:spPr>
            <a:xfrm>
              <a:off x="7578435" y="2057399"/>
              <a:ext cx="3349270" cy="2890157"/>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7" name="Graphic 36">
              <a:extLst>
                <a:ext uri="{FF2B5EF4-FFF2-40B4-BE49-F238E27FC236}">
                  <a16:creationId xmlns:a16="http://schemas.microsoft.com/office/drawing/2014/main" id="{835610FF-A976-8DF5-14C5-B3CF92C8A23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6797" y="1760719"/>
              <a:ext cx="663634" cy="663634"/>
            </a:xfrm>
            <a:prstGeom prst="rect">
              <a:avLst/>
            </a:prstGeom>
          </p:spPr>
        </p:pic>
        <p:pic>
          <p:nvPicPr>
            <p:cNvPr id="38" name="Graphic 37">
              <a:extLst>
                <a:ext uri="{FF2B5EF4-FFF2-40B4-BE49-F238E27FC236}">
                  <a16:creationId xmlns:a16="http://schemas.microsoft.com/office/drawing/2014/main" id="{6A36499C-598C-39D3-CA77-947D436AC9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289521" y="4621167"/>
              <a:ext cx="663634" cy="663634"/>
            </a:xfrm>
            <a:prstGeom prst="rect">
              <a:avLst/>
            </a:prstGeom>
          </p:spPr>
        </p:pic>
      </p:grpSp>
    </p:spTree>
    <p:extLst>
      <p:ext uri="{BB962C8B-B14F-4D97-AF65-F5344CB8AC3E}">
        <p14:creationId xmlns:p14="http://schemas.microsoft.com/office/powerpoint/2010/main" val="96995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599C0-AD79-E3CB-16B4-3BC29D46B825}"/>
              </a:ext>
            </a:extLst>
          </p:cNvPr>
          <p:cNvSpPr>
            <a:spLocks noGrp="1"/>
          </p:cNvSpPr>
          <p:nvPr>
            <p:ph type="title"/>
          </p:nvPr>
        </p:nvSpPr>
        <p:spPr>
          <a:xfrm>
            <a:off x="536240" y="414320"/>
            <a:ext cx="10896000" cy="1082209"/>
          </a:xfrm>
        </p:spPr>
        <p:txBody>
          <a:bodyPr/>
          <a:lstStyle/>
          <a:p>
            <a:r>
              <a:rPr lang="en-US" noProof="0" dirty="0"/>
              <a:t>Overweight and obesity are defined by BMI percentiles, </a:t>
            </a:r>
            <a:br>
              <a:rPr lang="en-US" noProof="0" dirty="0"/>
            </a:br>
            <a:r>
              <a:rPr lang="en-US" noProof="0" dirty="0"/>
              <a:t>not BMI as used with adults</a:t>
            </a:r>
          </a:p>
        </p:txBody>
      </p:sp>
      <p:sp>
        <p:nvSpPr>
          <p:cNvPr id="3" name="Text Placeholder 2">
            <a:extLst>
              <a:ext uri="{FF2B5EF4-FFF2-40B4-BE49-F238E27FC236}">
                <a16:creationId xmlns:a16="http://schemas.microsoft.com/office/drawing/2014/main" id="{42B0E206-D05B-3416-4097-25D993F5E4D5}"/>
              </a:ext>
            </a:extLst>
          </p:cNvPr>
          <p:cNvSpPr>
            <a:spLocks noGrp="1"/>
          </p:cNvSpPr>
          <p:nvPr>
            <p:ph type="body" sz="quarter" idx="13"/>
          </p:nvPr>
        </p:nvSpPr>
        <p:spPr>
          <a:xfrm>
            <a:off x="536240" y="6020060"/>
            <a:ext cx="10896000" cy="324000"/>
          </a:xfrm>
        </p:spPr>
        <p:txBody>
          <a:bodyPr/>
          <a:lstStyle/>
          <a:p>
            <a:r>
              <a:rPr lang="en-US" noProof="0" dirty="0"/>
              <a:t>BMI, body mass index.</a:t>
            </a:r>
            <a:br>
              <a:rPr lang="en-US" noProof="0" dirty="0"/>
            </a:br>
            <a:r>
              <a:rPr lang="en-US" noProof="0" dirty="0"/>
              <a:t>1. Middelkoop B, de Wilde JA. Public Health Nutr 2018;21:2969–2971; 2. </a:t>
            </a:r>
            <a:r>
              <a:rPr lang="en-US" dirty="0"/>
              <a:t>Centers for Disease Control and Prevention (CDC)</a:t>
            </a:r>
            <a:r>
              <a:rPr lang="en-US" noProof="0" dirty="0"/>
              <a:t>. Growth charts (2024). </a:t>
            </a:r>
            <a:r>
              <a:rPr lang="en-US" noProof="0" dirty="0">
                <a:hlinkClick r:id="rId3">
                  <a:extLst>
                    <a:ext uri="{A12FA001-AC4F-418D-AE19-62706E023703}">
                      <ahyp:hlinkClr xmlns:ahyp="http://schemas.microsoft.com/office/drawing/2018/hyperlinkcolor" val="tx"/>
                    </a:ext>
                  </a:extLst>
                </a:hlinkClick>
              </a:rPr>
              <a:t>https://www.cdc.gov/growthcharts/cdc_charts.htm</a:t>
            </a:r>
            <a:r>
              <a:rPr lang="en-US" noProof="0" dirty="0"/>
              <a:t>. Accessed October 2025; </a:t>
            </a:r>
            <a:br>
              <a:rPr lang="en-US" noProof="0" dirty="0"/>
            </a:br>
            <a:r>
              <a:rPr lang="en-US" noProof="0" dirty="0"/>
              <a:t>3. Hampl SE et al. Pediatrics 2023;151:e2022060640.</a:t>
            </a:r>
          </a:p>
        </p:txBody>
      </p:sp>
      <p:graphicFrame>
        <p:nvGraphicFramePr>
          <p:cNvPr id="6" name="Table 5">
            <a:extLst>
              <a:ext uri="{FF2B5EF4-FFF2-40B4-BE49-F238E27FC236}">
                <a16:creationId xmlns:a16="http://schemas.microsoft.com/office/drawing/2014/main" id="{6D649932-6C57-32E6-E23A-ED6C8DD182DA}"/>
              </a:ext>
            </a:extLst>
          </p:cNvPr>
          <p:cNvGraphicFramePr>
            <a:graphicFrameLocks noGrp="1"/>
          </p:cNvGraphicFramePr>
          <p:nvPr>
            <p:extLst>
              <p:ext uri="{D42A27DB-BD31-4B8C-83A1-F6EECF244321}">
                <p14:modId xmlns:p14="http://schemas.microsoft.com/office/powerpoint/2010/main" val="1926445288"/>
              </p:ext>
            </p:extLst>
          </p:nvPr>
        </p:nvGraphicFramePr>
        <p:xfrm>
          <a:off x="4169393" y="2943314"/>
          <a:ext cx="7451108" cy="1798320"/>
        </p:xfrm>
        <a:graphic>
          <a:graphicData uri="http://schemas.openxmlformats.org/drawingml/2006/table">
            <a:tbl>
              <a:tblPr firstRow="1">
                <a:tableStyleId>{793D81CF-94F2-401A-BA57-92F5A7B2D0C5}</a:tableStyleId>
              </a:tblPr>
              <a:tblGrid>
                <a:gridCol w="1793662">
                  <a:extLst>
                    <a:ext uri="{9D8B030D-6E8A-4147-A177-3AD203B41FA5}">
                      <a16:colId xmlns:a16="http://schemas.microsoft.com/office/drawing/2014/main" val="20000"/>
                    </a:ext>
                  </a:extLst>
                </a:gridCol>
                <a:gridCol w="5657446">
                  <a:extLst>
                    <a:ext uri="{9D8B030D-6E8A-4147-A177-3AD203B41FA5}">
                      <a16:colId xmlns:a16="http://schemas.microsoft.com/office/drawing/2014/main" val="20001"/>
                    </a:ext>
                  </a:extLst>
                </a:gridCol>
              </a:tblGrid>
              <a:tr h="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rPr>
                        <a:t>Classification</a:t>
                      </a:r>
                      <a:r>
                        <a:rPr kumimoji="0" lang="en-US" sz="1400" b="0" u="none" strike="noStrike" kern="1200" cap="none" spc="0" normalizeH="0" baseline="30000" noProof="0" dirty="0">
                          <a:ln>
                            <a:noFill/>
                          </a:ln>
                          <a:solidFill>
                            <a:schemeClr val="bg1"/>
                          </a:solidFill>
                          <a:effectLst/>
                          <a:uLnTx/>
                          <a:uFillTx/>
                        </a:rPr>
                        <a:t>2,3</a:t>
                      </a:r>
                      <a:endParaRPr kumimoji="0" lang="en-US" sz="1400" b="0" i="0" u="none" strike="noStrike" kern="1200" cap="none" spc="0" normalizeH="0" baseline="30000" noProof="0" dirty="0">
                        <a:ln>
                          <a:noFill/>
                        </a:ln>
                        <a:solidFill>
                          <a:schemeClr val="bg1"/>
                        </a:solidFill>
                        <a:effectLst/>
                        <a:uLnTx/>
                        <a:uFillTx/>
                        <a:latin typeface="+mn-lt"/>
                        <a:ea typeface="+mn-ea"/>
                        <a:cs typeface="+mn-cs"/>
                      </a:endParaRPr>
                    </a:p>
                  </a:txBody>
                  <a:tcPr marL="91417" marR="91417" marT="73152" marB="73152" anchor="ctr" horzOverflow="overflow"/>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rPr>
                        <a:t>Definitions</a:t>
                      </a:r>
                      <a:r>
                        <a:rPr kumimoji="0" lang="en-US" sz="1400" b="0" u="none" strike="noStrike" kern="1200" cap="none" spc="0" normalizeH="0" baseline="30000" noProof="0" dirty="0">
                          <a:ln>
                            <a:noFill/>
                          </a:ln>
                          <a:solidFill>
                            <a:schemeClr val="bg1"/>
                          </a:solidFill>
                          <a:effectLst/>
                          <a:uLnTx/>
                          <a:uFillTx/>
                        </a:rPr>
                        <a:t>2,3</a:t>
                      </a:r>
                      <a:endParaRPr kumimoji="0" lang="en-US" sz="1400" b="0" i="0" u="none" strike="noStrike" kern="1200" cap="none" spc="0" normalizeH="0" baseline="30000" noProof="0" dirty="0">
                        <a:ln>
                          <a:noFill/>
                        </a:ln>
                        <a:solidFill>
                          <a:schemeClr val="bg1"/>
                        </a:solidFill>
                        <a:effectLst/>
                        <a:uLnTx/>
                        <a:uFillTx/>
                        <a:latin typeface="+mn-lt"/>
                        <a:ea typeface="+mn-ea"/>
                        <a:cs typeface="+mn-cs"/>
                      </a:endParaRPr>
                    </a:p>
                  </a:txBody>
                  <a:tcPr marL="91417" marR="91417" marT="73152" marB="73152" anchor="ctr" horzOverflow="overflow"/>
                </a:tc>
                <a:extLst>
                  <a:ext uri="{0D108BD9-81ED-4DB2-BD59-A6C34878D82A}">
                    <a16:rowId xmlns:a16="http://schemas.microsoft.com/office/drawing/2014/main" val="10000"/>
                  </a:ext>
                </a:extLst>
              </a:tr>
              <a:tr h="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tx1"/>
                          </a:solidFill>
                          <a:effectLst/>
                          <a:uLnTx/>
                          <a:uFillTx/>
                        </a:rPr>
                        <a:t>Overweight</a:t>
                      </a:r>
                      <a:endParaRPr kumimoji="0" lang="en-US" sz="1400" b="1" i="0" u="none" strike="noStrike" kern="1200" cap="none" spc="0" normalizeH="0" baseline="30000" noProof="0" dirty="0">
                        <a:ln>
                          <a:noFill/>
                        </a:ln>
                        <a:solidFill>
                          <a:schemeClr val="tx1"/>
                        </a:solidFill>
                        <a:effectLst/>
                        <a:uLnTx/>
                        <a:uFillTx/>
                        <a:latin typeface="+mn-lt"/>
                        <a:ea typeface="+mn-ea"/>
                        <a:cs typeface="+mn-cs"/>
                      </a:endParaRPr>
                    </a:p>
                  </a:txBody>
                  <a:tcPr marL="91417" marR="91417" marT="73152" marB="73152"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dirty="0">
                          <a:ln>
                            <a:noFill/>
                          </a:ln>
                          <a:solidFill>
                            <a:schemeClr val="tx1"/>
                          </a:solidFill>
                          <a:effectLst/>
                          <a:uLnTx/>
                          <a:uFillTx/>
                        </a:rPr>
                        <a:t>BMI ≥85th percentile for age and sex</a:t>
                      </a: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marL="91417" marR="91417" marT="73152" marB="73152" anchor="ctr"/>
                </a:tc>
                <a:extLst>
                  <a:ext uri="{0D108BD9-81ED-4DB2-BD59-A6C34878D82A}">
                    <a16:rowId xmlns:a16="http://schemas.microsoft.com/office/drawing/2014/main" val="10001"/>
                  </a:ext>
                </a:extLst>
              </a:tr>
              <a:tr h="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tx1"/>
                          </a:solidFill>
                          <a:effectLst/>
                          <a:uLnTx/>
                          <a:uFillTx/>
                        </a:rPr>
                        <a:t>Obesity</a:t>
                      </a:r>
                      <a:endParaRPr kumimoji="0" lang="en-US" sz="1400" b="1" i="0" u="none" strike="noStrike" kern="1200" cap="none" spc="0" normalizeH="0" baseline="30000" noProof="0" dirty="0">
                        <a:ln>
                          <a:noFill/>
                        </a:ln>
                        <a:solidFill>
                          <a:schemeClr val="tx1"/>
                        </a:solidFill>
                        <a:effectLst/>
                        <a:uLnTx/>
                        <a:uFillTx/>
                        <a:latin typeface="+mn-lt"/>
                        <a:ea typeface="+mn-ea"/>
                        <a:cs typeface="+mn-cs"/>
                      </a:endParaRPr>
                    </a:p>
                  </a:txBody>
                  <a:tcPr marL="91417" marR="91417" marT="73152" marB="73152"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dirty="0">
                          <a:ln>
                            <a:noFill/>
                          </a:ln>
                          <a:solidFill>
                            <a:schemeClr val="tx1"/>
                          </a:solidFill>
                          <a:effectLst/>
                          <a:uLnTx/>
                          <a:uFillTx/>
                        </a:rPr>
                        <a:t>BMI ≥95th percentile for age and sex</a:t>
                      </a: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marL="91417" marR="91417" marT="73152" marB="73152" anchor="ctr"/>
                </a:tc>
                <a:extLst>
                  <a:ext uri="{0D108BD9-81ED-4DB2-BD59-A6C34878D82A}">
                    <a16:rowId xmlns:a16="http://schemas.microsoft.com/office/drawing/2014/main" val="10002"/>
                  </a:ext>
                </a:extLst>
              </a:tr>
              <a:tr h="0">
                <a:tc>
                  <a:txBody>
                    <a:bodyPr/>
                    <a:lstStyle/>
                    <a:p>
                      <a:pPr marL="91440" marR="0" lvl="0" indent="0" algn="l" defTabSz="91437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tx1"/>
                          </a:solidFill>
                          <a:effectLst/>
                          <a:uLnTx/>
                          <a:uFillTx/>
                        </a:rPr>
                        <a:t>Obesity class 2</a:t>
                      </a:r>
                      <a:endParaRPr kumimoji="0" lang="en-US" sz="1400" b="1" i="0" u="none" strike="noStrike" kern="1200" cap="none" spc="0" normalizeH="0" baseline="30000" noProof="0" dirty="0">
                        <a:ln>
                          <a:noFill/>
                        </a:ln>
                        <a:solidFill>
                          <a:schemeClr val="tx1"/>
                        </a:solidFill>
                        <a:effectLst/>
                        <a:uLnTx/>
                        <a:uFillTx/>
                        <a:latin typeface="+mn-lt"/>
                        <a:ea typeface="+mn-ea"/>
                        <a:cs typeface="+mn-cs"/>
                      </a:endParaRPr>
                    </a:p>
                  </a:txBody>
                  <a:tcPr marL="91417" marR="91417" marT="73152" marB="73152"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dirty="0">
                          <a:ln>
                            <a:noFill/>
                          </a:ln>
                          <a:solidFill>
                            <a:schemeClr val="tx1"/>
                          </a:solidFill>
                          <a:effectLst/>
                          <a:uLnTx/>
                          <a:uFillTx/>
                        </a:rPr>
                        <a:t>BMI ≥120% of 95th percentile* for age and sex, or a BMI ≥35 kg/m</a:t>
                      </a:r>
                      <a:r>
                        <a:rPr kumimoji="0" lang="en-US" sz="1400" b="0" u="none" strike="noStrike" kern="1200" cap="none" spc="0" normalizeH="0" baseline="30000" noProof="0" dirty="0">
                          <a:ln>
                            <a:noFill/>
                          </a:ln>
                          <a:solidFill>
                            <a:schemeClr val="tx1"/>
                          </a:solidFill>
                          <a:effectLst/>
                          <a:uLnTx/>
                          <a:uFillTx/>
                        </a:rPr>
                        <a:t>2</a:t>
                      </a:r>
                      <a:endParaRPr kumimoji="0" lang="en-US" sz="1400" b="0" i="0" u="none" strike="noStrike" kern="1200" cap="none" spc="0" normalizeH="0" baseline="30000" noProof="0" dirty="0">
                        <a:ln>
                          <a:noFill/>
                        </a:ln>
                        <a:solidFill>
                          <a:schemeClr val="tx1"/>
                        </a:solidFill>
                        <a:effectLst/>
                        <a:uLnTx/>
                        <a:uFillTx/>
                        <a:latin typeface="+mn-lt"/>
                        <a:ea typeface="+mn-ea"/>
                        <a:cs typeface="+mn-cs"/>
                      </a:endParaRPr>
                    </a:p>
                  </a:txBody>
                  <a:tcPr marL="91417" marR="91417" marT="73152" marB="73152" anchor="ctr"/>
                </a:tc>
                <a:extLst>
                  <a:ext uri="{0D108BD9-81ED-4DB2-BD59-A6C34878D82A}">
                    <a16:rowId xmlns:a16="http://schemas.microsoft.com/office/drawing/2014/main" val="10003"/>
                  </a:ext>
                </a:extLst>
              </a:tr>
              <a:tr h="0">
                <a:tc>
                  <a:txBody>
                    <a:bodyPr/>
                    <a:lstStyle/>
                    <a:p>
                      <a:pPr marL="91440" marR="0" lvl="0" indent="0" algn="l" defTabSz="91437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tx1"/>
                          </a:solidFill>
                          <a:effectLst/>
                          <a:uLnTx/>
                          <a:uFillTx/>
                        </a:rPr>
                        <a:t>Obesity class 3</a:t>
                      </a:r>
                      <a:endParaRPr kumimoji="0" lang="en-US" sz="1400" b="1" i="0" u="none" strike="noStrike" kern="1200" cap="none" spc="0" normalizeH="0" baseline="30000" noProof="0" dirty="0">
                        <a:ln>
                          <a:noFill/>
                        </a:ln>
                        <a:solidFill>
                          <a:schemeClr val="tx1"/>
                        </a:solidFill>
                        <a:effectLst/>
                        <a:uLnTx/>
                        <a:uFillTx/>
                        <a:latin typeface="+mn-lt"/>
                        <a:ea typeface="+mn-ea"/>
                        <a:cs typeface="+mn-cs"/>
                      </a:endParaRPr>
                    </a:p>
                  </a:txBody>
                  <a:tcPr marL="91417" marR="91417" marT="73152" marB="73152"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dirty="0">
                          <a:ln>
                            <a:noFill/>
                          </a:ln>
                          <a:solidFill>
                            <a:schemeClr val="tx1"/>
                          </a:solidFill>
                          <a:effectLst/>
                          <a:uLnTx/>
                          <a:uFillTx/>
                        </a:rPr>
                        <a:t>BMI ≥140% of 95th percentile for age and sex,</a:t>
                      </a:r>
                      <a:r>
                        <a:rPr kumimoji="0" lang="en-US" sz="1400" b="0" u="none" strike="noStrike" kern="1200" cap="none" spc="0" normalizeH="0" baseline="30000" noProof="0" dirty="0">
                          <a:ln>
                            <a:noFill/>
                          </a:ln>
                          <a:solidFill>
                            <a:schemeClr val="tx1"/>
                          </a:solidFill>
                          <a:effectLst/>
                          <a:uLnTx/>
                          <a:uFillTx/>
                        </a:rPr>
                        <a:t>†</a:t>
                      </a:r>
                      <a:r>
                        <a:rPr kumimoji="0" lang="en-US" sz="1400" b="0" u="none" strike="noStrike" kern="1200" cap="none" spc="0" normalizeH="0" baseline="0" noProof="0" dirty="0">
                          <a:ln>
                            <a:noFill/>
                          </a:ln>
                          <a:solidFill>
                            <a:schemeClr val="tx1"/>
                          </a:solidFill>
                          <a:effectLst/>
                          <a:uLnTx/>
                          <a:uFillTx/>
                        </a:rPr>
                        <a:t> or a BMI ≥40 kg/m</a:t>
                      </a:r>
                      <a:r>
                        <a:rPr kumimoji="0" lang="en-US" sz="1400" b="0" u="none" strike="noStrike" kern="1200" cap="none" spc="0" normalizeH="0" baseline="30000" noProof="0" dirty="0">
                          <a:ln>
                            <a:noFill/>
                          </a:ln>
                          <a:solidFill>
                            <a:schemeClr val="tx1"/>
                          </a:solidFill>
                          <a:effectLst/>
                          <a:uLnTx/>
                          <a:uFillTx/>
                        </a:rPr>
                        <a:t>2</a:t>
                      </a:r>
                      <a:endParaRPr kumimoji="0" lang="en-US" sz="1400" b="0" i="0" u="none" strike="noStrike" kern="1200" cap="none" spc="0" normalizeH="0" baseline="30000" noProof="0" dirty="0">
                        <a:ln>
                          <a:noFill/>
                        </a:ln>
                        <a:solidFill>
                          <a:schemeClr val="tx1"/>
                        </a:solidFill>
                        <a:effectLst/>
                        <a:uLnTx/>
                        <a:uFillTx/>
                        <a:latin typeface="+mn-lt"/>
                        <a:ea typeface="+mn-ea"/>
                        <a:cs typeface="+mn-cs"/>
                      </a:endParaRPr>
                    </a:p>
                  </a:txBody>
                  <a:tcPr marL="91417" marR="91417" marT="73152" marB="73152" anchor="ctr"/>
                </a:tc>
                <a:extLst>
                  <a:ext uri="{0D108BD9-81ED-4DB2-BD59-A6C34878D82A}">
                    <a16:rowId xmlns:a16="http://schemas.microsoft.com/office/drawing/2014/main" val="10004"/>
                  </a:ext>
                </a:extLst>
              </a:tr>
            </a:tbl>
          </a:graphicData>
        </a:graphic>
      </p:graphicFrame>
      <p:sp>
        <p:nvSpPr>
          <p:cNvPr id="7" name="Rectangle 1">
            <a:extLst>
              <a:ext uri="{FF2B5EF4-FFF2-40B4-BE49-F238E27FC236}">
                <a16:creationId xmlns:a16="http://schemas.microsoft.com/office/drawing/2014/main" id="{C02BBCCC-34BF-ABB2-7D55-787677DB2DF0}"/>
              </a:ext>
            </a:extLst>
          </p:cNvPr>
          <p:cNvSpPr>
            <a:spLocks noChangeArrowheads="1"/>
          </p:cNvSpPr>
          <p:nvPr/>
        </p:nvSpPr>
        <p:spPr bwMode="auto">
          <a:xfrm>
            <a:off x="4091571" y="5288727"/>
            <a:ext cx="745110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1219170" rtl="0" eaLnBrk="1" fontAlgn="base"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effectLst/>
                <a:uLnTx/>
                <a:uFillTx/>
                <a:latin typeface="+mn-lt"/>
                <a:ea typeface="+mn-ea"/>
                <a:cs typeface="Arial" panose="020B0604020202020204" pitchFamily="34" charset="0"/>
              </a:rPr>
              <a:t>An inclusion criterion for pediatric clinical trials NN8022-4179 and NN8022-4180 </a:t>
            </a:r>
            <a:br>
              <a:rPr kumimoji="0" lang="en-US" sz="1400" b="1" i="0" u="none" strike="noStrike" kern="1200" cap="none" spc="0" normalizeH="0" baseline="0" noProof="0" dirty="0">
                <a:ln>
                  <a:noFill/>
                </a:ln>
                <a:effectLst/>
                <a:uLnTx/>
                <a:uFillTx/>
                <a:latin typeface="+mn-lt"/>
                <a:ea typeface="+mn-ea"/>
                <a:cs typeface="Arial" panose="020B0604020202020204" pitchFamily="34" charset="0"/>
              </a:rPr>
            </a:br>
            <a:r>
              <a:rPr kumimoji="0" lang="en-US" sz="1400" b="1" i="0" u="none" strike="noStrike" kern="1200" cap="none" spc="0" normalizeH="0" baseline="0" noProof="0" dirty="0">
                <a:ln>
                  <a:noFill/>
                </a:ln>
                <a:effectLst/>
                <a:uLnTx/>
                <a:uFillTx/>
                <a:latin typeface="+mn-lt"/>
                <a:ea typeface="+mn-ea"/>
                <a:cs typeface="Arial" panose="020B0604020202020204" pitchFamily="34" charset="0"/>
              </a:rPr>
              <a:t>is a BMI corresponding to ≥30 kg/m</a:t>
            </a:r>
            <a:r>
              <a:rPr kumimoji="0" lang="en-US" sz="1400" b="1" i="0" u="none" strike="noStrike" kern="1200" cap="none" spc="0" normalizeH="0" baseline="30000" noProof="0" dirty="0">
                <a:ln>
                  <a:noFill/>
                </a:ln>
                <a:effectLst/>
                <a:uLnTx/>
                <a:uFillTx/>
                <a:latin typeface="+mn-lt"/>
                <a:ea typeface="+mn-ea"/>
                <a:cs typeface="Arial" panose="020B0604020202020204" pitchFamily="34" charset="0"/>
              </a:rPr>
              <a:t>2</a:t>
            </a:r>
            <a:r>
              <a:rPr kumimoji="0" lang="en-US" sz="1400" b="1" i="0" u="none" strike="noStrike" kern="1200" cap="none" spc="0" normalizeH="0" baseline="0" noProof="0" dirty="0">
                <a:ln>
                  <a:noFill/>
                </a:ln>
                <a:effectLst/>
                <a:uLnTx/>
                <a:uFillTx/>
                <a:latin typeface="+mn-lt"/>
                <a:ea typeface="+mn-ea"/>
                <a:cs typeface="Arial" panose="020B0604020202020204" pitchFamily="34" charset="0"/>
              </a:rPr>
              <a:t> for adults and ≥</a:t>
            </a:r>
            <a:r>
              <a:rPr kumimoji="0" lang="en-US" sz="1400" b="1" i="0" u="none" strike="noStrike" kern="1200" cap="none" spc="0" normalizeH="0" noProof="0" dirty="0">
                <a:ln>
                  <a:noFill/>
                </a:ln>
                <a:effectLst/>
                <a:uLnTx/>
                <a:uFillTx/>
                <a:latin typeface="+mn-lt"/>
                <a:ea typeface="+mn-ea"/>
                <a:cs typeface="Arial" panose="020B0604020202020204" pitchFamily="34" charset="0"/>
              </a:rPr>
              <a:t>95th</a:t>
            </a:r>
            <a:r>
              <a:rPr kumimoji="0" lang="en-US" sz="1400" b="1" i="0" u="none" strike="noStrike" kern="1200" cap="none" spc="0" normalizeH="0" baseline="0" noProof="0" dirty="0">
                <a:ln>
                  <a:noFill/>
                </a:ln>
                <a:effectLst/>
                <a:uLnTx/>
                <a:uFillTx/>
                <a:latin typeface="+mn-lt"/>
                <a:ea typeface="+mn-ea"/>
                <a:cs typeface="Arial" panose="020B0604020202020204" pitchFamily="34" charset="0"/>
              </a:rPr>
              <a:t> percentile for age and sex</a:t>
            </a:r>
          </a:p>
        </p:txBody>
      </p:sp>
      <p:sp>
        <p:nvSpPr>
          <p:cNvPr id="8" name="Rectangle 7">
            <a:extLst>
              <a:ext uri="{FF2B5EF4-FFF2-40B4-BE49-F238E27FC236}">
                <a16:creationId xmlns:a16="http://schemas.microsoft.com/office/drawing/2014/main" id="{877D7AB6-1447-6AFC-C658-D35DB468DC69}"/>
              </a:ext>
            </a:extLst>
          </p:cNvPr>
          <p:cNvSpPr/>
          <p:nvPr/>
        </p:nvSpPr>
        <p:spPr>
          <a:xfrm>
            <a:off x="4169392" y="4742060"/>
            <a:ext cx="7451108" cy="246221"/>
          </a:xfrm>
          <a:prstGeom prst="rect">
            <a:avLst/>
          </a:prstGeom>
        </p:spPr>
        <p:txBody>
          <a:bodyPr wrap="square">
            <a:spAutoFit/>
          </a:bodyPr>
          <a:lstStyle/>
          <a:p>
            <a:pPr marL="0" marR="0" lvl="0" indent="0" defTabSz="1219170" rtl="0" eaLnBrk="1" fontAlgn="base" latinLnBrk="0" hangingPunct="1">
              <a:lnSpc>
                <a:spcPct val="100000"/>
              </a:lnSpc>
              <a:spcBef>
                <a:spcPct val="50000"/>
              </a:spcBef>
              <a:spcAft>
                <a:spcPct val="0"/>
              </a:spcAft>
              <a:buClrTx/>
              <a:buSzTx/>
              <a:buFontTx/>
              <a:buNone/>
              <a:tabLst/>
              <a:defRPr/>
            </a:pPr>
            <a:r>
              <a:rPr kumimoji="0" lang="en-US" sz="1000" i="0" u="none" strike="noStrike" kern="1200" cap="none" spc="0" normalizeH="0" baseline="0" noProof="0" dirty="0">
                <a:ln>
                  <a:noFill/>
                </a:ln>
                <a:effectLst/>
                <a:uLnTx/>
                <a:uFillTx/>
                <a:ea typeface="+mn-ea"/>
                <a:cs typeface="+mn-cs"/>
              </a:rPr>
              <a:t>*Corresponds to </a:t>
            </a:r>
            <a:r>
              <a:rPr kumimoji="0" lang="en-US" sz="1000" i="0" u="none" strike="noStrike" kern="1200" cap="none" spc="0" normalizeH="0" noProof="0" dirty="0">
                <a:ln>
                  <a:noFill/>
                </a:ln>
                <a:effectLst/>
                <a:uLnTx/>
                <a:uFillTx/>
                <a:ea typeface="+mn-ea"/>
                <a:cs typeface="+mn-cs"/>
              </a:rPr>
              <a:t>1.2× 95th</a:t>
            </a:r>
            <a:r>
              <a:rPr kumimoji="0" lang="en-US" sz="1000" i="0" u="none" strike="noStrike" kern="1200" cap="none" spc="0" normalizeH="0" baseline="0" noProof="0" dirty="0">
                <a:ln>
                  <a:noFill/>
                </a:ln>
                <a:effectLst/>
                <a:uLnTx/>
                <a:uFillTx/>
                <a:ea typeface="+mn-ea"/>
                <a:cs typeface="+mn-cs"/>
              </a:rPr>
              <a:t> percentile of BMI</a:t>
            </a:r>
            <a:r>
              <a:rPr lang="en-US" sz="1000" noProof="0" dirty="0"/>
              <a:t>. </a:t>
            </a:r>
            <a:r>
              <a:rPr kumimoji="0" lang="en-US" sz="1000" i="0" u="none" strike="noStrike" kern="1200" cap="none" spc="0" normalizeH="0" baseline="30000" noProof="0" dirty="0">
                <a:ln>
                  <a:noFill/>
                </a:ln>
                <a:effectLst/>
                <a:uLnTx/>
                <a:uFillTx/>
                <a:ea typeface="+mn-ea"/>
                <a:cs typeface="+mn-cs"/>
              </a:rPr>
              <a:t>†</a:t>
            </a:r>
            <a:r>
              <a:rPr kumimoji="0" lang="en-US" sz="1000" i="0" u="none" strike="noStrike" kern="1200" cap="none" spc="0" normalizeH="0" baseline="0" noProof="0" dirty="0">
                <a:ln>
                  <a:noFill/>
                </a:ln>
                <a:effectLst/>
                <a:uLnTx/>
                <a:uFillTx/>
                <a:ea typeface="+mn-ea"/>
                <a:cs typeface="+mn-cs"/>
              </a:rPr>
              <a:t>Corresponds to </a:t>
            </a:r>
            <a:r>
              <a:rPr kumimoji="0" lang="en-US" sz="1000" i="0" u="none" strike="noStrike" kern="1200" cap="none" spc="0" normalizeH="0" noProof="0" dirty="0">
                <a:ln>
                  <a:noFill/>
                </a:ln>
                <a:effectLst/>
                <a:uLnTx/>
                <a:uFillTx/>
                <a:ea typeface="+mn-ea"/>
                <a:cs typeface="+mn-cs"/>
              </a:rPr>
              <a:t>1.4× 95th</a:t>
            </a:r>
            <a:r>
              <a:rPr kumimoji="0" lang="en-US" sz="1000" i="0" u="none" strike="noStrike" kern="1200" cap="none" spc="0" normalizeH="0" baseline="0" noProof="0" dirty="0">
                <a:ln>
                  <a:noFill/>
                </a:ln>
                <a:effectLst/>
                <a:uLnTx/>
                <a:uFillTx/>
                <a:ea typeface="+mn-ea"/>
                <a:cs typeface="+mn-cs"/>
              </a:rPr>
              <a:t> percentile of BMI.</a:t>
            </a:r>
          </a:p>
        </p:txBody>
      </p:sp>
      <p:pic>
        <p:nvPicPr>
          <p:cNvPr id="25" name="Picture 24">
            <a:extLst>
              <a:ext uri="{FF2B5EF4-FFF2-40B4-BE49-F238E27FC236}">
                <a16:creationId xmlns:a16="http://schemas.microsoft.com/office/drawing/2014/main" id="{E7715CB0-1F4F-5B37-D4DC-9F7DAEF61325}"/>
              </a:ext>
            </a:extLst>
          </p:cNvPr>
          <p:cNvPicPr>
            <a:picLocks noChangeAspect="1"/>
          </p:cNvPicPr>
          <p:nvPr/>
        </p:nvPicPr>
        <p:blipFill>
          <a:blip r:embed="rId4"/>
          <a:stretch>
            <a:fillRect/>
          </a:stretch>
        </p:blipFill>
        <p:spPr>
          <a:xfrm>
            <a:off x="858598" y="1744944"/>
            <a:ext cx="3119724" cy="4112364"/>
          </a:xfrm>
          <a:prstGeom prst="rect">
            <a:avLst/>
          </a:prstGeom>
          <a:ln>
            <a:solidFill>
              <a:schemeClr val="bg2"/>
            </a:solidFill>
          </a:ln>
        </p:spPr>
      </p:pic>
      <p:sp>
        <p:nvSpPr>
          <p:cNvPr id="15" name="Rectangle: Rounded Corners 14">
            <a:extLst>
              <a:ext uri="{FF2B5EF4-FFF2-40B4-BE49-F238E27FC236}">
                <a16:creationId xmlns:a16="http://schemas.microsoft.com/office/drawing/2014/main" id="{0FCAC4E4-D0C9-C242-856C-50A87986B882}"/>
              </a:ext>
            </a:extLst>
          </p:cNvPr>
          <p:cNvSpPr/>
          <p:nvPr/>
        </p:nvSpPr>
        <p:spPr>
          <a:xfrm>
            <a:off x="4169392" y="2045913"/>
            <a:ext cx="7451108" cy="68842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fontAlgn="base">
              <a:spcAft>
                <a:spcPct val="0"/>
              </a:spcAft>
            </a:pPr>
            <a:r>
              <a:rPr lang="en-US" sz="1600" noProof="0" dirty="0"/>
              <a:t>Most countries use BMI ≥ the 95th/97th/90th percentile using World Health Organization and country-specific reference values when defining obesity</a:t>
            </a:r>
            <a:r>
              <a:rPr lang="en-US" sz="1600" baseline="30000" noProof="0" dirty="0"/>
              <a:t>1</a:t>
            </a:r>
          </a:p>
        </p:txBody>
      </p:sp>
    </p:spTree>
    <p:extLst>
      <p:ext uri="{BB962C8B-B14F-4D97-AF65-F5344CB8AC3E}">
        <p14:creationId xmlns:p14="http://schemas.microsoft.com/office/powerpoint/2010/main" val="250675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E0A16E10-DC02-B365-35DC-31BDA9CD3F32}"/>
              </a:ext>
            </a:extLst>
          </p:cNvPr>
          <p:cNvSpPr/>
          <p:nvPr/>
        </p:nvSpPr>
        <p:spPr>
          <a:xfrm>
            <a:off x="0" y="1655608"/>
            <a:ext cx="12192000" cy="42606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F4D6D0AC-C779-02FC-1989-5EF5E762F18E}"/>
              </a:ext>
            </a:extLst>
          </p:cNvPr>
          <p:cNvSpPr>
            <a:spLocks noGrp="1"/>
          </p:cNvSpPr>
          <p:nvPr>
            <p:ph type="title"/>
          </p:nvPr>
        </p:nvSpPr>
        <p:spPr/>
        <p:txBody>
          <a:bodyPr/>
          <a:lstStyle/>
          <a:p>
            <a:r>
              <a:rPr lang="en-US" noProof="0" dirty="0"/>
              <a:t>Overweight and obesity defined by BMI z-scores</a:t>
            </a:r>
          </a:p>
        </p:txBody>
      </p:sp>
      <p:sp>
        <p:nvSpPr>
          <p:cNvPr id="3" name="Text Placeholder 2">
            <a:extLst>
              <a:ext uri="{FF2B5EF4-FFF2-40B4-BE49-F238E27FC236}">
                <a16:creationId xmlns:a16="http://schemas.microsoft.com/office/drawing/2014/main" id="{28C81C7D-D85F-ABAE-E7AC-E6A4D79D2D3E}"/>
              </a:ext>
            </a:extLst>
          </p:cNvPr>
          <p:cNvSpPr>
            <a:spLocks noGrp="1"/>
          </p:cNvSpPr>
          <p:nvPr>
            <p:ph type="body" sz="quarter" idx="13"/>
          </p:nvPr>
        </p:nvSpPr>
        <p:spPr/>
        <p:txBody>
          <a:bodyPr/>
          <a:lstStyle/>
          <a:p>
            <a:r>
              <a:rPr lang="en-US" noProof="0" dirty="0"/>
              <a:t>BMI, body mass index; SD, standard deviation.</a:t>
            </a:r>
            <a:br>
              <a:rPr lang="en-US" noProof="0" dirty="0"/>
            </a:br>
            <a:r>
              <a:rPr lang="en-US" noProof="0" dirty="0"/>
              <a:t>1. Must A, Anderson SE. Int J Obesity 2006;30:590–594; 2. Monasor-Ortolá D, et al. Int J Environ Res Public Health 2021;18:12114; 3. WHO. BMI-for-age: Girls 5 to 19 years (z-scores) (2007). </a:t>
            </a:r>
            <a:r>
              <a:rPr lang="en-US" noProof="0" dirty="0">
                <a:hlinkClick r:id="rId3">
                  <a:extLst>
                    <a:ext uri="{A12FA001-AC4F-418D-AE19-62706E023703}">
                      <ahyp:hlinkClr xmlns:ahyp="http://schemas.microsoft.com/office/drawing/2018/hyperlinkcolor" val="tx"/>
                    </a:ext>
                  </a:extLst>
                </a:hlinkClick>
              </a:rPr>
              <a:t>https://cdn.who.int/media/docs/default-source/child-growth/growth-reference-5-19-years/bmi-for-age-(5-19-years)/sft-bmifa-girls-z-5-19years.pdf?sfvrsn=571135b3</a:t>
            </a:r>
            <a:r>
              <a:rPr lang="en-US" noProof="0" dirty="0"/>
              <a:t>. Accessed October 2025.</a:t>
            </a:r>
          </a:p>
        </p:txBody>
      </p:sp>
      <p:sp>
        <p:nvSpPr>
          <p:cNvPr id="6" name="TextBox 5">
            <a:extLst>
              <a:ext uri="{FF2B5EF4-FFF2-40B4-BE49-F238E27FC236}">
                <a16:creationId xmlns:a16="http://schemas.microsoft.com/office/drawing/2014/main" id="{F70013AE-7F41-EC3D-7564-C0EC0F0DC676}"/>
              </a:ext>
            </a:extLst>
          </p:cNvPr>
          <p:cNvSpPr txBox="1"/>
          <p:nvPr/>
        </p:nvSpPr>
        <p:spPr>
          <a:xfrm rot="16200000">
            <a:off x="5169266" y="3473551"/>
            <a:ext cx="1218603" cy="318100"/>
          </a:xfrm>
          <a:prstGeom prst="rect">
            <a:avLst/>
          </a:prstGeom>
          <a:noFill/>
        </p:spPr>
        <p:txBody>
          <a:bodyPr wrap="non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dirty="0">
                <a:ln>
                  <a:noFill/>
                </a:ln>
                <a:effectLst/>
                <a:uLnTx/>
                <a:uFillTx/>
                <a:ea typeface="+mn-ea"/>
                <a:cs typeface="Arial" charset="0"/>
              </a:rPr>
              <a:t>BMI (kg/m</a:t>
            </a:r>
            <a:r>
              <a:rPr kumimoji="0" lang="en-US" sz="1467" b="1" i="0" u="none" strike="noStrike" kern="1200" cap="none" spc="0" normalizeH="0" baseline="30000" noProof="0" dirty="0">
                <a:ln>
                  <a:noFill/>
                </a:ln>
                <a:effectLst/>
                <a:uLnTx/>
                <a:uFillTx/>
                <a:ea typeface="+mn-ea"/>
                <a:cs typeface="Arial" charset="0"/>
              </a:rPr>
              <a:t>2</a:t>
            </a:r>
            <a:r>
              <a:rPr kumimoji="0" lang="en-US" sz="1467" b="1" i="0" u="none" strike="noStrike" kern="1200" cap="none" spc="0" normalizeH="0" baseline="0" noProof="0" dirty="0">
                <a:ln>
                  <a:noFill/>
                </a:ln>
                <a:effectLst/>
                <a:uLnTx/>
                <a:uFillTx/>
                <a:ea typeface="+mn-ea"/>
                <a:cs typeface="Arial" charset="0"/>
              </a:rPr>
              <a:t>)</a:t>
            </a:r>
            <a:endParaRPr kumimoji="0" lang="en-US" sz="1467" b="1" i="0" u="none" strike="noStrike" kern="1200" cap="none" spc="0" normalizeH="0" baseline="30000" noProof="0" dirty="0">
              <a:ln>
                <a:noFill/>
              </a:ln>
              <a:effectLst/>
              <a:uLnTx/>
              <a:uFillTx/>
              <a:ea typeface="+mn-ea"/>
              <a:cs typeface="Arial" charset="0"/>
            </a:endParaRPr>
          </a:p>
        </p:txBody>
      </p:sp>
      <p:sp>
        <p:nvSpPr>
          <p:cNvPr id="7" name="Rectangle 6">
            <a:extLst>
              <a:ext uri="{FF2B5EF4-FFF2-40B4-BE49-F238E27FC236}">
                <a16:creationId xmlns:a16="http://schemas.microsoft.com/office/drawing/2014/main" id="{2EDE5646-3659-7F4B-3DAC-B8605F21549B}"/>
              </a:ext>
            </a:extLst>
          </p:cNvPr>
          <p:cNvSpPr/>
          <p:nvPr/>
        </p:nvSpPr>
        <p:spPr>
          <a:xfrm>
            <a:off x="10304380" y="1931159"/>
            <a:ext cx="1043733" cy="3216836"/>
          </a:xfrm>
          <a:prstGeom prst="rect">
            <a:avLst/>
          </a:prstGeom>
          <a:solidFill>
            <a:schemeClr val="bg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8" name="Content Placeholder 1">
            <a:extLst>
              <a:ext uri="{FF2B5EF4-FFF2-40B4-BE49-F238E27FC236}">
                <a16:creationId xmlns:a16="http://schemas.microsoft.com/office/drawing/2014/main" id="{D194F163-1A92-703E-1B73-4FDFEE26420C}"/>
              </a:ext>
            </a:extLst>
          </p:cNvPr>
          <p:cNvSpPr txBox="1">
            <a:spLocks/>
          </p:cNvSpPr>
          <p:nvPr/>
        </p:nvSpPr>
        <p:spPr>
          <a:xfrm>
            <a:off x="645846" y="1969927"/>
            <a:ext cx="4096751" cy="3584711"/>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1200"/>
              </a:spcAft>
              <a:buNone/>
            </a:pPr>
            <a:r>
              <a:rPr lang="en-US" sz="1800" b="1" noProof="0" dirty="0"/>
              <a:t>A BMI z-score indicates how many SDs from the average BMI, for that   age and gender, a child deviates</a:t>
            </a:r>
            <a:r>
              <a:rPr lang="en-US" sz="1800" baseline="30000" noProof="0" dirty="0"/>
              <a:t>1</a:t>
            </a:r>
          </a:p>
          <a:p>
            <a:pPr marL="0" indent="0">
              <a:lnSpc>
                <a:spcPct val="100000"/>
              </a:lnSpc>
              <a:spcBef>
                <a:spcPts val="0"/>
              </a:spcBef>
              <a:spcAft>
                <a:spcPts val="1200"/>
              </a:spcAft>
              <a:buNone/>
            </a:pPr>
            <a:r>
              <a:rPr lang="en-US" sz="1800" noProof="0" dirty="0"/>
              <a:t>A positive z-score of 1, 2, or 3 indicates that a child is 1, 2, or 3 SDs above the average value</a:t>
            </a:r>
            <a:r>
              <a:rPr lang="en-US" sz="1800" baseline="30000" noProof="0" dirty="0"/>
              <a:t>1</a:t>
            </a:r>
          </a:p>
          <a:p>
            <a:pPr marL="0" indent="0">
              <a:lnSpc>
                <a:spcPct val="100000"/>
              </a:lnSpc>
              <a:spcBef>
                <a:spcPts val="0"/>
              </a:spcBef>
              <a:spcAft>
                <a:spcPts val="1200"/>
              </a:spcAft>
              <a:buNone/>
            </a:pPr>
            <a:r>
              <a:rPr lang="en-GB" sz="1800" noProof="0" dirty="0"/>
              <a:t>Used to classify the degree of weight status in children and adolescents. As with a BMI, the BMI z-score does not always express the true percentage of body fat</a:t>
            </a:r>
            <a:r>
              <a:rPr lang="en-GB" sz="1800" baseline="30000" noProof="0" dirty="0"/>
              <a:t>2</a:t>
            </a:r>
            <a:endParaRPr lang="en-US" sz="1800" noProof="0" dirty="0"/>
          </a:p>
        </p:txBody>
      </p:sp>
      <p:sp>
        <p:nvSpPr>
          <p:cNvPr id="10" name="TextBox 8">
            <a:extLst>
              <a:ext uri="{FF2B5EF4-FFF2-40B4-BE49-F238E27FC236}">
                <a16:creationId xmlns:a16="http://schemas.microsoft.com/office/drawing/2014/main" id="{DB66F85F-5AB9-F5B5-5525-7B3565A22087}"/>
              </a:ext>
            </a:extLst>
          </p:cNvPr>
          <p:cNvSpPr txBox="1">
            <a:spLocks noChangeArrowheads="1"/>
          </p:cNvSpPr>
          <p:nvPr/>
        </p:nvSpPr>
        <p:spPr bwMode="auto">
          <a:xfrm>
            <a:off x="10537943" y="2198365"/>
            <a:ext cx="576607" cy="256545"/>
          </a:xfrm>
          <a:prstGeom prst="rect">
            <a:avLst/>
          </a:prstGeom>
          <a:solidFill>
            <a:schemeClr val="bg2">
              <a:lumMod val="60000"/>
              <a:lumOff val="40000"/>
            </a:schemeClr>
          </a:solidFill>
          <a:ln>
            <a:noFill/>
          </a:ln>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sz="1067" b="1" i="0" u="none" strike="noStrike" kern="1200" cap="none" spc="0" normalizeH="0" baseline="0" noProof="0" dirty="0">
                <a:ln>
                  <a:noFill/>
                </a:ln>
                <a:solidFill>
                  <a:schemeClr val="tx1"/>
                </a:solidFill>
                <a:effectLst/>
                <a:uLnTx/>
                <a:uFillTx/>
                <a:latin typeface="+mn-lt"/>
                <a:ea typeface="+mn-ea"/>
                <a:cs typeface="Arial" charset="0"/>
              </a:rPr>
              <a:t>3</a:t>
            </a:r>
            <a:endParaRPr kumimoji="0" lang="en-US" sz="1067" b="1" i="0" u="none" strike="noStrike" kern="1200" cap="none" spc="0" normalizeH="0" baseline="30000" noProof="0" dirty="0">
              <a:ln>
                <a:noFill/>
              </a:ln>
              <a:solidFill>
                <a:schemeClr val="tx1"/>
              </a:solidFill>
              <a:effectLst/>
              <a:uLnTx/>
              <a:uFillTx/>
              <a:latin typeface="+mn-lt"/>
              <a:ea typeface="+mn-ea"/>
              <a:cs typeface="Arial" charset="0"/>
            </a:endParaRPr>
          </a:p>
        </p:txBody>
      </p:sp>
      <p:sp>
        <p:nvSpPr>
          <p:cNvPr id="11" name="TextBox 8">
            <a:extLst>
              <a:ext uri="{FF2B5EF4-FFF2-40B4-BE49-F238E27FC236}">
                <a16:creationId xmlns:a16="http://schemas.microsoft.com/office/drawing/2014/main" id="{A9BECD9D-90DB-ABC4-A44C-8C96255A8D35}"/>
              </a:ext>
            </a:extLst>
          </p:cNvPr>
          <p:cNvSpPr txBox="1">
            <a:spLocks noChangeArrowheads="1"/>
          </p:cNvSpPr>
          <p:nvPr/>
        </p:nvSpPr>
        <p:spPr bwMode="auto">
          <a:xfrm>
            <a:off x="10662781" y="2939277"/>
            <a:ext cx="326931" cy="256545"/>
          </a:xfrm>
          <a:prstGeom prst="rect">
            <a:avLst/>
          </a:prstGeom>
          <a:solidFill>
            <a:schemeClr val="bg2">
              <a:lumMod val="60000"/>
              <a:lumOff val="40000"/>
            </a:schemeClr>
          </a:solidFill>
          <a:ln>
            <a:noFill/>
          </a:ln>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sz="1067" b="1" i="0" u="none" strike="noStrike" kern="1200" cap="none" spc="0" normalizeH="0" baseline="0" noProof="0" dirty="0">
                <a:ln>
                  <a:noFill/>
                </a:ln>
                <a:solidFill>
                  <a:schemeClr val="bg1">
                    <a:lumMod val="50000"/>
                  </a:schemeClr>
                </a:solidFill>
                <a:effectLst/>
                <a:uLnTx/>
                <a:uFillTx/>
                <a:latin typeface="+mn-lt"/>
                <a:ea typeface="+mn-ea"/>
                <a:cs typeface="Arial" charset="0"/>
              </a:rPr>
              <a:t>2</a:t>
            </a:r>
            <a:endParaRPr kumimoji="0" lang="en-US" sz="1067" b="1" i="0" u="none" strike="noStrike" kern="1200" cap="none" spc="0" normalizeH="0" baseline="30000" noProof="0" dirty="0">
              <a:ln>
                <a:noFill/>
              </a:ln>
              <a:solidFill>
                <a:schemeClr val="bg1">
                  <a:lumMod val="50000"/>
                </a:schemeClr>
              </a:solidFill>
              <a:effectLst/>
              <a:uLnTx/>
              <a:uFillTx/>
              <a:latin typeface="+mn-lt"/>
              <a:ea typeface="+mn-ea"/>
              <a:cs typeface="Arial" charset="0"/>
            </a:endParaRPr>
          </a:p>
        </p:txBody>
      </p:sp>
      <p:sp>
        <p:nvSpPr>
          <p:cNvPr id="12" name="TextBox 8">
            <a:extLst>
              <a:ext uri="{FF2B5EF4-FFF2-40B4-BE49-F238E27FC236}">
                <a16:creationId xmlns:a16="http://schemas.microsoft.com/office/drawing/2014/main" id="{D5CA3B86-37FD-68BE-7CFA-3E95D7EAC63D}"/>
              </a:ext>
            </a:extLst>
          </p:cNvPr>
          <p:cNvSpPr txBox="1">
            <a:spLocks noChangeArrowheads="1"/>
          </p:cNvSpPr>
          <p:nvPr/>
        </p:nvSpPr>
        <p:spPr bwMode="auto">
          <a:xfrm>
            <a:off x="10662781" y="3464056"/>
            <a:ext cx="326931" cy="256545"/>
          </a:xfrm>
          <a:prstGeom prst="rect">
            <a:avLst/>
          </a:prstGeom>
          <a:solidFill>
            <a:schemeClr val="bg2">
              <a:lumMod val="60000"/>
              <a:lumOff val="40000"/>
            </a:schemeClr>
          </a:solidFill>
          <a:ln>
            <a:noFill/>
          </a:ln>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sz="1067" b="1" i="0" u="none" strike="noStrike" kern="1200" cap="none" spc="0" normalizeH="0" baseline="0" noProof="0" dirty="0">
                <a:ln>
                  <a:noFill/>
                </a:ln>
                <a:solidFill>
                  <a:srgbClr val="00B0F0"/>
                </a:solidFill>
                <a:effectLst/>
                <a:uLnTx/>
                <a:uFillTx/>
                <a:latin typeface="+mn-lt"/>
                <a:ea typeface="+mn-ea"/>
                <a:cs typeface="Arial" charset="0"/>
              </a:rPr>
              <a:t>1</a:t>
            </a:r>
            <a:endParaRPr kumimoji="0" lang="en-US" sz="1067" b="1" i="0" u="none" strike="noStrike" kern="1200" cap="none" spc="0" normalizeH="0" baseline="30000" noProof="0" dirty="0">
              <a:ln>
                <a:noFill/>
              </a:ln>
              <a:solidFill>
                <a:srgbClr val="00B0F0"/>
              </a:solidFill>
              <a:effectLst/>
              <a:uLnTx/>
              <a:uFillTx/>
              <a:latin typeface="+mn-lt"/>
              <a:ea typeface="+mn-ea"/>
              <a:cs typeface="Arial" charset="0"/>
            </a:endParaRPr>
          </a:p>
        </p:txBody>
      </p:sp>
      <p:sp>
        <p:nvSpPr>
          <p:cNvPr id="13" name="TextBox 8">
            <a:extLst>
              <a:ext uri="{FF2B5EF4-FFF2-40B4-BE49-F238E27FC236}">
                <a16:creationId xmlns:a16="http://schemas.microsoft.com/office/drawing/2014/main" id="{343E4589-7E55-3227-C832-CF44CBE42CB9}"/>
              </a:ext>
            </a:extLst>
          </p:cNvPr>
          <p:cNvSpPr txBox="1">
            <a:spLocks noChangeArrowheads="1"/>
          </p:cNvSpPr>
          <p:nvPr/>
        </p:nvSpPr>
        <p:spPr bwMode="auto">
          <a:xfrm>
            <a:off x="10662781" y="3861426"/>
            <a:ext cx="326931" cy="256545"/>
          </a:xfrm>
          <a:prstGeom prst="rect">
            <a:avLst/>
          </a:prstGeom>
          <a:solidFill>
            <a:schemeClr val="bg2">
              <a:lumMod val="60000"/>
              <a:lumOff val="40000"/>
            </a:schemeClr>
          </a:solidFill>
          <a:ln>
            <a:noFill/>
          </a:ln>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sz="1067" b="1" i="0" u="none" strike="noStrike" kern="1200" cap="none" spc="0" normalizeH="0" baseline="0" noProof="0" dirty="0">
                <a:ln>
                  <a:noFill/>
                </a:ln>
                <a:solidFill>
                  <a:schemeClr val="accent1"/>
                </a:solidFill>
                <a:effectLst/>
                <a:uLnTx/>
                <a:uFillTx/>
                <a:latin typeface="+mn-lt"/>
                <a:ea typeface="+mn-ea"/>
                <a:cs typeface="Arial" charset="0"/>
              </a:rPr>
              <a:t>0</a:t>
            </a:r>
            <a:endParaRPr kumimoji="0" lang="en-US" sz="1067" b="1" i="0" u="none" strike="noStrike" kern="1200" cap="none" spc="0" normalizeH="0" baseline="30000" noProof="0" dirty="0">
              <a:ln>
                <a:noFill/>
              </a:ln>
              <a:solidFill>
                <a:schemeClr val="accent1"/>
              </a:solidFill>
              <a:effectLst/>
              <a:uLnTx/>
              <a:uFillTx/>
              <a:latin typeface="+mn-lt"/>
              <a:ea typeface="+mn-ea"/>
              <a:cs typeface="Arial" charset="0"/>
            </a:endParaRPr>
          </a:p>
        </p:txBody>
      </p:sp>
      <p:sp>
        <p:nvSpPr>
          <p:cNvPr id="14" name="TextBox 8">
            <a:extLst>
              <a:ext uri="{FF2B5EF4-FFF2-40B4-BE49-F238E27FC236}">
                <a16:creationId xmlns:a16="http://schemas.microsoft.com/office/drawing/2014/main" id="{A8B61FBB-5E01-1F57-8986-706AB4115CB9}"/>
              </a:ext>
            </a:extLst>
          </p:cNvPr>
          <p:cNvSpPr txBox="1">
            <a:spLocks noChangeArrowheads="1"/>
          </p:cNvSpPr>
          <p:nvPr/>
        </p:nvSpPr>
        <p:spPr bwMode="auto">
          <a:xfrm>
            <a:off x="10613004" y="4199930"/>
            <a:ext cx="426484" cy="256545"/>
          </a:xfrm>
          <a:prstGeom prst="rect">
            <a:avLst/>
          </a:prstGeom>
          <a:solidFill>
            <a:schemeClr val="bg2">
              <a:lumMod val="60000"/>
              <a:lumOff val="40000"/>
            </a:schemeClr>
          </a:solidFill>
          <a:ln>
            <a:noFill/>
          </a:ln>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sz="1067" b="1" i="0" u="none" strike="noStrike" kern="1200" cap="none" spc="0" normalizeH="0" baseline="0" noProof="0" dirty="0">
                <a:ln>
                  <a:noFill/>
                </a:ln>
                <a:solidFill>
                  <a:schemeClr val="accent4"/>
                </a:solidFill>
                <a:effectLst/>
                <a:uLnTx/>
                <a:uFillTx/>
                <a:latin typeface="+mn-lt"/>
                <a:ea typeface="+mn-ea"/>
                <a:cs typeface="Arial" charset="0"/>
              </a:rPr>
              <a:t>−1</a:t>
            </a:r>
            <a:endParaRPr kumimoji="0" lang="en-US" sz="1067" b="1" i="0" u="none" strike="noStrike" kern="1200" cap="none" spc="0" normalizeH="0" baseline="30000" noProof="0" dirty="0">
              <a:ln>
                <a:noFill/>
              </a:ln>
              <a:solidFill>
                <a:schemeClr val="accent4"/>
              </a:solidFill>
              <a:effectLst/>
              <a:uLnTx/>
              <a:uFillTx/>
              <a:latin typeface="+mn-lt"/>
              <a:ea typeface="+mn-ea"/>
              <a:cs typeface="Arial" charset="0"/>
            </a:endParaRPr>
          </a:p>
        </p:txBody>
      </p:sp>
      <p:sp>
        <p:nvSpPr>
          <p:cNvPr id="15" name="TextBox 8">
            <a:extLst>
              <a:ext uri="{FF2B5EF4-FFF2-40B4-BE49-F238E27FC236}">
                <a16:creationId xmlns:a16="http://schemas.microsoft.com/office/drawing/2014/main" id="{5FD4C9DA-78FC-694C-8E4A-EE1D8863B690}"/>
              </a:ext>
            </a:extLst>
          </p:cNvPr>
          <p:cNvSpPr txBox="1">
            <a:spLocks noChangeArrowheads="1"/>
          </p:cNvSpPr>
          <p:nvPr/>
        </p:nvSpPr>
        <p:spPr bwMode="auto">
          <a:xfrm>
            <a:off x="10613004" y="4454332"/>
            <a:ext cx="426484" cy="256545"/>
          </a:xfrm>
          <a:prstGeom prst="rect">
            <a:avLst/>
          </a:prstGeom>
          <a:solidFill>
            <a:schemeClr val="bg2">
              <a:lumMod val="60000"/>
              <a:lumOff val="40000"/>
            </a:schemeClr>
          </a:solidFill>
          <a:ln>
            <a:noFill/>
          </a:ln>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sz="1067" b="1" i="0" u="none" strike="noStrike" kern="1200" cap="none" spc="0" normalizeH="0" baseline="0" noProof="0" dirty="0">
                <a:ln>
                  <a:noFill/>
                </a:ln>
                <a:solidFill>
                  <a:schemeClr val="accent6"/>
                </a:solidFill>
                <a:effectLst/>
                <a:uLnTx/>
                <a:uFillTx/>
                <a:latin typeface="+mn-lt"/>
                <a:ea typeface="+mn-ea"/>
                <a:cs typeface="Arial" charset="0"/>
              </a:rPr>
              <a:t>−2</a:t>
            </a:r>
            <a:endParaRPr kumimoji="0" lang="en-US" sz="1067" b="1" i="0" u="none" strike="noStrike" kern="1200" cap="none" spc="0" normalizeH="0" baseline="30000" noProof="0" dirty="0">
              <a:ln>
                <a:noFill/>
              </a:ln>
              <a:solidFill>
                <a:schemeClr val="accent6"/>
              </a:solidFill>
              <a:effectLst/>
              <a:uLnTx/>
              <a:uFillTx/>
              <a:latin typeface="+mn-lt"/>
              <a:ea typeface="+mn-ea"/>
              <a:cs typeface="Arial" charset="0"/>
            </a:endParaRPr>
          </a:p>
        </p:txBody>
      </p:sp>
      <p:sp>
        <p:nvSpPr>
          <p:cNvPr id="16" name="TextBox 8">
            <a:extLst>
              <a:ext uri="{FF2B5EF4-FFF2-40B4-BE49-F238E27FC236}">
                <a16:creationId xmlns:a16="http://schemas.microsoft.com/office/drawing/2014/main" id="{4DBF4EB7-6B6C-2352-E63B-5103C9DBA92E}"/>
              </a:ext>
            </a:extLst>
          </p:cNvPr>
          <p:cNvSpPr txBox="1">
            <a:spLocks noChangeArrowheads="1"/>
          </p:cNvSpPr>
          <p:nvPr/>
        </p:nvSpPr>
        <p:spPr bwMode="auto">
          <a:xfrm>
            <a:off x="10613004" y="4667021"/>
            <a:ext cx="426484" cy="256545"/>
          </a:xfrm>
          <a:prstGeom prst="rect">
            <a:avLst/>
          </a:prstGeom>
          <a:solidFill>
            <a:schemeClr val="bg2">
              <a:lumMod val="60000"/>
              <a:lumOff val="40000"/>
            </a:schemeClr>
          </a:solidFill>
          <a:ln>
            <a:noFill/>
          </a:ln>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sz="1067" b="1" i="0" u="none" strike="noStrike" kern="1200" cap="none" spc="0" normalizeH="0" baseline="0" noProof="0" dirty="0">
                <a:ln>
                  <a:noFill/>
                </a:ln>
                <a:effectLst/>
                <a:uLnTx/>
                <a:uFillTx/>
                <a:latin typeface="+mn-lt"/>
                <a:ea typeface="+mn-ea"/>
                <a:cs typeface="Arial" charset="0"/>
              </a:rPr>
              <a:t>−3</a:t>
            </a:r>
            <a:endParaRPr kumimoji="0" lang="en-US" sz="1067" b="1" i="0" u="none" strike="noStrike" kern="1200" cap="none" spc="0" normalizeH="0" baseline="30000" noProof="0" dirty="0">
              <a:ln>
                <a:noFill/>
              </a:ln>
              <a:effectLst/>
              <a:uLnTx/>
              <a:uFillTx/>
              <a:latin typeface="+mn-lt"/>
              <a:ea typeface="+mn-ea"/>
              <a:cs typeface="Arial" charset="0"/>
            </a:endParaRPr>
          </a:p>
        </p:txBody>
      </p:sp>
      <p:sp>
        <p:nvSpPr>
          <p:cNvPr id="17" name="TextBox 16">
            <a:extLst>
              <a:ext uri="{FF2B5EF4-FFF2-40B4-BE49-F238E27FC236}">
                <a16:creationId xmlns:a16="http://schemas.microsoft.com/office/drawing/2014/main" id="{110CD64A-C9E6-A69C-BDD5-A585050FF106}"/>
              </a:ext>
            </a:extLst>
          </p:cNvPr>
          <p:cNvSpPr txBox="1"/>
          <p:nvPr/>
        </p:nvSpPr>
        <p:spPr>
          <a:xfrm>
            <a:off x="10317699" y="1940000"/>
            <a:ext cx="1017094" cy="276999"/>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dirty="0">
                <a:ln>
                  <a:noFill/>
                </a:ln>
                <a:effectLst/>
                <a:uLnTx/>
                <a:uFillTx/>
                <a:ea typeface="+mn-ea"/>
                <a:cs typeface="Arial" charset="0"/>
              </a:rPr>
              <a:t>z-score</a:t>
            </a:r>
          </a:p>
        </p:txBody>
      </p:sp>
      <p:sp>
        <p:nvSpPr>
          <p:cNvPr id="18" name="TextBox 17">
            <a:extLst>
              <a:ext uri="{FF2B5EF4-FFF2-40B4-BE49-F238E27FC236}">
                <a16:creationId xmlns:a16="http://schemas.microsoft.com/office/drawing/2014/main" id="{DCD5E01A-EF61-2D50-6FE3-E4B56DD25E0F}"/>
              </a:ext>
            </a:extLst>
          </p:cNvPr>
          <p:cNvSpPr txBox="1"/>
          <p:nvPr/>
        </p:nvSpPr>
        <p:spPr>
          <a:xfrm>
            <a:off x="7936688" y="5565513"/>
            <a:ext cx="1231426" cy="318100"/>
          </a:xfrm>
          <a:prstGeom prst="rect">
            <a:avLst/>
          </a:prstGeom>
          <a:noFill/>
        </p:spPr>
        <p:txBody>
          <a:bodyPr wrap="non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dirty="0">
                <a:ln>
                  <a:noFill/>
                </a:ln>
                <a:effectLst/>
                <a:uLnTx/>
                <a:uFillTx/>
                <a:ea typeface="+mn-ea"/>
                <a:cs typeface="Arial" charset="0"/>
              </a:rPr>
              <a:t>Age (years)</a:t>
            </a:r>
            <a:endParaRPr kumimoji="0" lang="en-US" sz="1467" b="1" i="0" u="none" strike="noStrike" kern="1200" cap="none" spc="0" normalizeH="0" baseline="30000" noProof="0" dirty="0">
              <a:ln>
                <a:noFill/>
              </a:ln>
              <a:effectLst/>
              <a:uLnTx/>
              <a:uFillTx/>
              <a:ea typeface="+mn-ea"/>
              <a:cs typeface="Arial" charset="0"/>
            </a:endParaRPr>
          </a:p>
        </p:txBody>
      </p:sp>
      <p:sp>
        <p:nvSpPr>
          <p:cNvPr id="19" name="TextBox 18">
            <a:extLst>
              <a:ext uri="{FF2B5EF4-FFF2-40B4-BE49-F238E27FC236}">
                <a16:creationId xmlns:a16="http://schemas.microsoft.com/office/drawing/2014/main" id="{DA7DDBB5-B2BD-0332-3EDA-A37308B2B51A}"/>
              </a:ext>
            </a:extLst>
          </p:cNvPr>
          <p:cNvSpPr txBox="1"/>
          <p:nvPr/>
        </p:nvSpPr>
        <p:spPr>
          <a:xfrm>
            <a:off x="6057900" y="1710006"/>
            <a:ext cx="5086793"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ea typeface="+mn-ea"/>
                <a:cs typeface="Arial" charset="0"/>
              </a:rPr>
              <a:t>BMI z-score of girls (5–19 years)</a:t>
            </a:r>
            <a:r>
              <a:rPr lang="en-US" sz="1600" baseline="30000" dirty="0">
                <a:cs typeface="Arial" charset="0"/>
              </a:rPr>
              <a:t>3</a:t>
            </a:r>
            <a:endParaRPr kumimoji="0" lang="en-US" sz="1600" i="0" u="none" strike="noStrike" kern="1200" cap="none" spc="0" normalizeH="0" baseline="30000" noProof="0" dirty="0">
              <a:ln>
                <a:noFill/>
              </a:ln>
              <a:effectLst/>
              <a:uLnTx/>
              <a:uFillTx/>
              <a:ea typeface="+mn-ea"/>
              <a:cs typeface="Arial" charset="0"/>
            </a:endParaRPr>
          </a:p>
        </p:txBody>
      </p:sp>
      <p:graphicFrame>
        <p:nvGraphicFramePr>
          <p:cNvPr id="28" name="Chart 27">
            <a:extLst>
              <a:ext uri="{FF2B5EF4-FFF2-40B4-BE49-F238E27FC236}">
                <a16:creationId xmlns:a16="http://schemas.microsoft.com/office/drawing/2014/main" id="{31194D69-68D2-F9A1-5598-BBEDAE114153}"/>
              </a:ext>
            </a:extLst>
          </p:cNvPr>
          <p:cNvGraphicFramePr/>
          <p:nvPr>
            <p:extLst>
              <p:ext uri="{D42A27DB-BD31-4B8C-83A1-F6EECF244321}">
                <p14:modId xmlns:p14="http://schemas.microsoft.com/office/powerpoint/2010/main" val="3610657997"/>
              </p:ext>
            </p:extLst>
          </p:nvPr>
        </p:nvGraphicFramePr>
        <p:xfrm>
          <a:off x="5892801" y="1929836"/>
          <a:ext cx="5493841" cy="395531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11702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6B072-1D2B-C28F-D47B-36D1C80913A7}"/>
              </a:ext>
            </a:extLst>
          </p:cNvPr>
          <p:cNvSpPr>
            <a:spLocks noGrp="1"/>
          </p:cNvSpPr>
          <p:nvPr>
            <p:ph type="title"/>
          </p:nvPr>
        </p:nvSpPr>
        <p:spPr/>
        <p:txBody>
          <a:bodyPr/>
          <a:lstStyle/>
          <a:p>
            <a:r>
              <a:rPr lang="en-US" noProof="0" dirty="0"/>
              <a:t>BMI z-scores and BMI percentiles</a:t>
            </a:r>
          </a:p>
        </p:txBody>
      </p:sp>
      <p:sp>
        <p:nvSpPr>
          <p:cNvPr id="3" name="Text Placeholder 2">
            <a:extLst>
              <a:ext uri="{FF2B5EF4-FFF2-40B4-BE49-F238E27FC236}">
                <a16:creationId xmlns:a16="http://schemas.microsoft.com/office/drawing/2014/main" id="{DE5E8AF3-8512-BB35-BEC9-2F9057B95EC2}"/>
              </a:ext>
            </a:extLst>
          </p:cNvPr>
          <p:cNvSpPr>
            <a:spLocks noGrp="1"/>
          </p:cNvSpPr>
          <p:nvPr>
            <p:ph type="body" sz="quarter" idx="13"/>
          </p:nvPr>
        </p:nvSpPr>
        <p:spPr/>
        <p:txBody>
          <a:bodyPr/>
          <a:lstStyle/>
          <a:p>
            <a:r>
              <a:rPr lang="en-US" noProof="0" dirty="0"/>
              <a:t>BMI, body mass index.</a:t>
            </a:r>
            <a:br>
              <a:rPr lang="en-US" noProof="0" dirty="0"/>
            </a:br>
            <a:r>
              <a:rPr lang="en-US" noProof="0" dirty="0"/>
              <a:t>1. Must A, Anderson SE. Int J Obesity 2006;30:590–594; 2. Pennington Biomedical Research Center. BMI calculator. </a:t>
            </a:r>
            <a:r>
              <a:rPr lang="en-US" noProof="0" dirty="0">
                <a:hlinkClick r:id="rId3">
                  <a:extLst>
                    <a:ext uri="{A12FA001-AC4F-418D-AE19-62706E023703}">
                      <ahyp:hlinkClr xmlns:ahyp="http://schemas.microsoft.com/office/drawing/2018/hyperlinkcolor" val="tx"/>
                    </a:ext>
                  </a:extLst>
                </a:hlinkClick>
              </a:rPr>
              <a:t>https://my.pbrc.edu/Clinic/Tools/BMI/</a:t>
            </a:r>
            <a:r>
              <a:rPr lang="en-US" noProof="0" dirty="0"/>
              <a:t>. Accessed October 2025.</a:t>
            </a:r>
          </a:p>
        </p:txBody>
      </p:sp>
      <p:sp>
        <p:nvSpPr>
          <p:cNvPr id="4" name="Content Placeholder 19">
            <a:extLst>
              <a:ext uri="{FF2B5EF4-FFF2-40B4-BE49-F238E27FC236}">
                <a16:creationId xmlns:a16="http://schemas.microsoft.com/office/drawing/2014/main" id="{82813332-6DE0-288B-60D3-48BB50FCF297}"/>
              </a:ext>
            </a:extLst>
          </p:cNvPr>
          <p:cNvSpPr txBox="1">
            <a:spLocks/>
          </p:cNvSpPr>
          <p:nvPr/>
        </p:nvSpPr>
        <p:spPr>
          <a:xfrm>
            <a:off x="648000" y="1944000"/>
            <a:ext cx="10896001" cy="42696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baseline="30000" noProof="0" dirty="0"/>
          </a:p>
        </p:txBody>
      </p:sp>
      <p:sp>
        <p:nvSpPr>
          <p:cNvPr id="12" name="Rectangle 11">
            <a:extLst>
              <a:ext uri="{FF2B5EF4-FFF2-40B4-BE49-F238E27FC236}">
                <a16:creationId xmlns:a16="http://schemas.microsoft.com/office/drawing/2014/main" id="{96387325-BF7B-5633-CEED-A26887C0276F}"/>
              </a:ext>
            </a:extLst>
          </p:cNvPr>
          <p:cNvSpPr/>
          <p:nvPr/>
        </p:nvSpPr>
        <p:spPr>
          <a:xfrm>
            <a:off x="2076450" y="3111500"/>
            <a:ext cx="8039100" cy="491508"/>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50000"/>
              </a:spcBef>
              <a:spcAft>
                <a:spcPct val="0"/>
              </a:spcAft>
              <a:buClrTx/>
              <a:buSzTx/>
              <a:buFontTx/>
              <a:buNone/>
              <a:tabLst/>
              <a:defRPr/>
            </a:pPr>
            <a:r>
              <a:rPr kumimoji="0" lang="en-US" b="0" i="0" u="none" strike="noStrike" kern="1200" cap="none" spc="0" normalizeH="0" baseline="0" noProof="0" dirty="0">
                <a:ln>
                  <a:noFill/>
                </a:ln>
                <a:solidFill>
                  <a:schemeClr val="tx1"/>
                </a:solidFill>
                <a:effectLst/>
                <a:uLnTx/>
                <a:uFillTx/>
                <a:ea typeface="+mn-ea"/>
                <a:cs typeface="+mn-cs"/>
              </a:rPr>
              <a:t>For a 10-year-old female who is </a:t>
            </a:r>
            <a:r>
              <a:rPr kumimoji="0" lang="en-US" b="1" i="0" u="none" strike="noStrike" kern="1200" cap="none" spc="0" normalizeH="0" baseline="0" noProof="0" dirty="0">
                <a:ln>
                  <a:noFill/>
                </a:ln>
                <a:solidFill>
                  <a:schemeClr val="tx1"/>
                </a:solidFill>
                <a:effectLst/>
                <a:uLnTx/>
                <a:uFillTx/>
                <a:ea typeface="+mn-ea"/>
                <a:cs typeface="+mn-cs"/>
              </a:rPr>
              <a:t>150 cm </a:t>
            </a:r>
            <a:r>
              <a:rPr kumimoji="0" lang="en-US" b="0" i="0" u="none" strike="noStrike" kern="1200" cap="none" spc="0" normalizeH="0" baseline="0" noProof="0" dirty="0">
                <a:ln>
                  <a:noFill/>
                </a:ln>
                <a:solidFill>
                  <a:schemeClr val="tx1"/>
                </a:solidFill>
                <a:effectLst/>
                <a:uLnTx/>
                <a:uFillTx/>
                <a:ea typeface="+mn-ea"/>
                <a:cs typeface="+mn-cs"/>
              </a:rPr>
              <a:t>in height and </a:t>
            </a:r>
            <a:r>
              <a:rPr kumimoji="0" lang="en-US" b="1" i="0" u="none" strike="noStrike" kern="1200" cap="none" spc="0" normalizeH="0" baseline="0" noProof="0" dirty="0">
                <a:ln>
                  <a:noFill/>
                </a:ln>
                <a:solidFill>
                  <a:schemeClr val="tx1"/>
                </a:solidFill>
                <a:effectLst/>
                <a:uLnTx/>
                <a:uFillTx/>
                <a:ea typeface="+mn-ea"/>
                <a:cs typeface="+mn-cs"/>
              </a:rPr>
              <a:t>50 kg</a:t>
            </a:r>
            <a:r>
              <a:rPr kumimoji="0" lang="en-US" b="0" i="0" u="none" strike="noStrike" kern="1200" cap="none" spc="0" normalizeH="0" baseline="0" noProof="0" dirty="0">
                <a:ln>
                  <a:noFill/>
                </a:ln>
                <a:solidFill>
                  <a:schemeClr val="tx1"/>
                </a:solidFill>
                <a:effectLst/>
                <a:uLnTx/>
                <a:uFillTx/>
                <a:ea typeface="+mn-ea"/>
                <a:cs typeface="+mn-cs"/>
              </a:rPr>
              <a:t> in weight:</a:t>
            </a:r>
            <a:r>
              <a:rPr kumimoji="0" lang="en-US" b="0" i="0" u="none" strike="noStrike" kern="1200" cap="none" spc="0" normalizeH="0" baseline="30000" noProof="0" dirty="0">
                <a:ln>
                  <a:noFill/>
                </a:ln>
                <a:solidFill>
                  <a:schemeClr val="tx1"/>
                </a:solidFill>
                <a:effectLst/>
                <a:uLnTx/>
                <a:uFillTx/>
                <a:ea typeface="+mn-ea"/>
                <a:cs typeface="+mn-cs"/>
              </a:rPr>
              <a:t>2</a:t>
            </a:r>
            <a:endParaRPr kumimoji="0" lang="en-US" b="0" i="0" u="none" strike="noStrike" kern="1200" cap="none" spc="0" normalizeH="0" baseline="0" noProof="0" dirty="0">
              <a:ln>
                <a:noFill/>
              </a:ln>
              <a:solidFill>
                <a:schemeClr val="tx1"/>
              </a:solidFill>
              <a:effectLst/>
              <a:uLnTx/>
              <a:uFillTx/>
              <a:ea typeface="+mn-ea"/>
              <a:cs typeface="+mn-cs"/>
            </a:endParaRPr>
          </a:p>
        </p:txBody>
      </p:sp>
      <p:sp>
        <p:nvSpPr>
          <p:cNvPr id="16" name="Rounded Rectangle 39">
            <a:extLst>
              <a:ext uri="{FF2B5EF4-FFF2-40B4-BE49-F238E27FC236}">
                <a16:creationId xmlns:a16="http://schemas.microsoft.com/office/drawing/2014/main" id="{1ACC4F33-85DE-BF31-CBCE-1CC90FDE5D2C}"/>
              </a:ext>
            </a:extLst>
          </p:cNvPr>
          <p:cNvSpPr/>
          <p:nvPr/>
        </p:nvSpPr>
        <p:spPr bwMode="gray">
          <a:xfrm>
            <a:off x="536576" y="1782962"/>
            <a:ext cx="11083924" cy="741502"/>
          </a:xfrm>
          <a:prstGeom prst="roundRect">
            <a:avLst>
              <a:gd name="adj" fmla="val 50000"/>
            </a:avLst>
          </a:prstGeom>
          <a:solidFill>
            <a:schemeClr val="accent1"/>
          </a:solidFill>
          <a:ln w="3175" algn="ctr">
            <a:noFill/>
            <a:miter lim="800000"/>
            <a:headEnd/>
            <a:tailEnd/>
          </a:ln>
        </p:spPr>
        <p:txBody>
          <a:bodyPr wrap="square" lIns="0" tIns="0" rIns="0" bIns="0" rtlCol="0" anchor="ctr"/>
          <a:lstStyle/>
          <a:p>
            <a:pPr lvl="0" algn="ctr">
              <a:defRPr/>
            </a:pPr>
            <a:r>
              <a:rPr lang="en-US" b="1" noProof="0" dirty="0">
                <a:solidFill>
                  <a:schemeClr val="bg1"/>
                </a:solidFill>
              </a:rPr>
              <a:t>BMI z-scores and BMI percentiles can be used to determine </a:t>
            </a:r>
            <a:br>
              <a:rPr lang="en-US" b="1" noProof="0" dirty="0">
                <a:solidFill>
                  <a:schemeClr val="bg1"/>
                </a:solidFill>
              </a:rPr>
            </a:br>
            <a:r>
              <a:rPr lang="en-US" b="1" noProof="0" dirty="0">
                <a:solidFill>
                  <a:schemeClr val="bg1"/>
                </a:solidFill>
              </a:rPr>
              <a:t>cut points and classify weight status of children and adolescents</a:t>
            </a:r>
            <a:r>
              <a:rPr lang="en-US" baseline="30000" noProof="0" dirty="0">
                <a:solidFill>
                  <a:schemeClr val="bg1"/>
                </a:solidFill>
              </a:rPr>
              <a:t>1</a:t>
            </a:r>
          </a:p>
        </p:txBody>
      </p:sp>
      <p:grpSp>
        <p:nvGrpSpPr>
          <p:cNvPr id="17" name="Group 16">
            <a:extLst>
              <a:ext uri="{FF2B5EF4-FFF2-40B4-BE49-F238E27FC236}">
                <a16:creationId xmlns:a16="http://schemas.microsoft.com/office/drawing/2014/main" id="{0E0C7C85-BED1-5520-F784-631A1976F37E}"/>
              </a:ext>
            </a:extLst>
          </p:cNvPr>
          <p:cNvGrpSpPr/>
          <p:nvPr/>
        </p:nvGrpSpPr>
        <p:grpSpPr>
          <a:xfrm rot="5400000">
            <a:off x="5859453" y="2668262"/>
            <a:ext cx="473093" cy="395156"/>
            <a:chOff x="7659022" y="3752888"/>
            <a:chExt cx="473093" cy="395156"/>
          </a:xfrm>
        </p:grpSpPr>
        <p:sp>
          <p:nvSpPr>
            <p:cNvPr id="18" name="Isosceles Triangle 17">
              <a:extLst>
                <a:ext uri="{FF2B5EF4-FFF2-40B4-BE49-F238E27FC236}">
                  <a16:creationId xmlns:a16="http://schemas.microsoft.com/office/drawing/2014/main" id="{4E9902C6-D980-0873-7237-3E9AC30D7330}"/>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9" name="Isosceles Triangle 18">
              <a:extLst>
                <a:ext uri="{FF2B5EF4-FFF2-40B4-BE49-F238E27FC236}">
                  <a16:creationId xmlns:a16="http://schemas.microsoft.com/office/drawing/2014/main" id="{063309B2-0EEC-81FA-CCE6-B577F5A33732}"/>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27" name="Group 26">
            <a:extLst>
              <a:ext uri="{FF2B5EF4-FFF2-40B4-BE49-F238E27FC236}">
                <a16:creationId xmlns:a16="http://schemas.microsoft.com/office/drawing/2014/main" id="{91F5E943-B76A-1978-BE3A-C1AD5128C819}"/>
              </a:ext>
            </a:extLst>
          </p:cNvPr>
          <p:cNvGrpSpPr/>
          <p:nvPr/>
        </p:nvGrpSpPr>
        <p:grpSpPr>
          <a:xfrm>
            <a:off x="3082855" y="3645603"/>
            <a:ext cx="5991366" cy="2462865"/>
            <a:chOff x="3446060" y="3707018"/>
            <a:chExt cx="5991366" cy="2462865"/>
          </a:xfrm>
        </p:grpSpPr>
        <p:sp>
          <p:nvSpPr>
            <p:cNvPr id="20" name="Oval 19">
              <a:extLst>
                <a:ext uri="{FF2B5EF4-FFF2-40B4-BE49-F238E27FC236}">
                  <a16:creationId xmlns:a16="http://schemas.microsoft.com/office/drawing/2014/main" id="{22D44E15-0A85-5606-D325-80DC91D56EB0}"/>
                </a:ext>
              </a:extLst>
            </p:cNvPr>
            <p:cNvSpPr/>
            <p:nvPr/>
          </p:nvSpPr>
          <p:spPr>
            <a:xfrm>
              <a:off x="3446060" y="3788627"/>
              <a:ext cx="2183642" cy="218364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2" name="Graphic 21">
              <a:extLst>
                <a:ext uri="{FF2B5EF4-FFF2-40B4-BE49-F238E27FC236}">
                  <a16:creationId xmlns:a16="http://schemas.microsoft.com/office/drawing/2014/main" id="{303FF670-E7B1-D31E-DAF2-AABA277896A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98543" y="4041110"/>
              <a:ext cx="1678675" cy="1678675"/>
            </a:xfrm>
            <a:prstGeom prst="rect">
              <a:avLst/>
            </a:prstGeom>
          </p:spPr>
        </p:pic>
        <p:sp>
          <p:nvSpPr>
            <p:cNvPr id="23" name="Oval 22">
              <a:extLst>
                <a:ext uri="{FF2B5EF4-FFF2-40B4-BE49-F238E27FC236}">
                  <a16:creationId xmlns:a16="http://schemas.microsoft.com/office/drawing/2014/main" id="{1A5AA847-E3D7-63BC-83DC-D5764624775A}"/>
                </a:ext>
              </a:extLst>
            </p:cNvPr>
            <p:cNvSpPr/>
            <p:nvPr/>
          </p:nvSpPr>
          <p:spPr>
            <a:xfrm>
              <a:off x="8182388" y="4368934"/>
              <a:ext cx="1255038" cy="1255038"/>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defTabSz="1219170" fontAlgn="base">
                <a:spcBef>
                  <a:spcPct val="50000"/>
                </a:spcBef>
                <a:spcAft>
                  <a:spcPct val="0"/>
                </a:spcAft>
                <a:defRPr/>
              </a:pPr>
              <a:r>
                <a:rPr lang="en-US" sz="2000" noProof="0" dirty="0">
                  <a:solidFill>
                    <a:schemeClr val="bg1"/>
                  </a:solidFill>
                </a:rPr>
                <a:t>BMI </a:t>
              </a:r>
              <a:br>
                <a:rPr lang="en-US" sz="2000" noProof="0" dirty="0">
                  <a:solidFill>
                    <a:schemeClr val="bg1"/>
                  </a:solidFill>
                </a:rPr>
              </a:br>
              <a:r>
                <a:rPr lang="en-US" sz="2800" b="1" noProof="0" dirty="0">
                  <a:solidFill>
                    <a:schemeClr val="bg1"/>
                  </a:solidFill>
                </a:rPr>
                <a:t>29.6</a:t>
              </a:r>
              <a:endParaRPr lang="en-US" sz="2000" b="1" noProof="0" dirty="0">
                <a:solidFill>
                  <a:schemeClr val="bg1"/>
                </a:solidFill>
              </a:endParaRPr>
            </a:p>
          </p:txBody>
        </p:sp>
        <p:sp>
          <p:nvSpPr>
            <p:cNvPr id="24" name="Oval 23">
              <a:extLst>
                <a:ext uri="{FF2B5EF4-FFF2-40B4-BE49-F238E27FC236}">
                  <a16:creationId xmlns:a16="http://schemas.microsoft.com/office/drawing/2014/main" id="{FC16A0AE-355E-2641-6432-07DD699A1332}"/>
                </a:ext>
              </a:extLst>
            </p:cNvPr>
            <p:cNvSpPr/>
            <p:nvPr/>
          </p:nvSpPr>
          <p:spPr>
            <a:xfrm>
              <a:off x="6899499" y="3707018"/>
              <a:ext cx="1582584" cy="1582584"/>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defTabSz="1219170" fontAlgn="base">
                <a:spcBef>
                  <a:spcPct val="50000"/>
                </a:spcBef>
                <a:spcAft>
                  <a:spcPct val="0"/>
                </a:spcAft>
                <a:defRPr/>
              </a:pPr>
              <a:r>
                <a:rPr lang="en-US" sz="2000" noProof="0" dirty="0">
                  <a:solidFill>
                    <a:schemeClr val="bg1"/>
                  </a:solidFill>
                </a:rPr>
                <a:t>BMI </a:t>
              </a:r>
              <a:br>
                <a:rPr lang="en-US" sz="2000" noProof="0" dirty="0">
                  <a:solidFill>
                    <a:schemeClr val="bg1"/>
                  </a:solidFill>
                </a:rPr>
              </a:br>
              <a:r>
                <a:rPr lang="en-US" sz="2000" noProof="0" dirty="0">
                  <a:solidFill>
                    <a:schemeClr val="bg1"/>
                  </a:solidFill>
                </a:rPr>
                <a:t>z-score </a:t>
              </a:r>
              <a:r>
                <a:rPr lang="en-US" sz="2800" b="1" noProof="0" dirty="0">
                  <a:solidFill>
                    <a:schemeClr val="bg1"/>
                  </a:solidFill>
                </a:rPr>
                <a:t>2.37</a:t>
              </a:r>
              <a:endParaRPr lang="en-US" sz="2000" b="1" noProof="0" dirty="0">
                <a:solidFill>
                  <a:schemeClr val="bg1"/>
                </a:solidFill>
              </a:endParaRPr>
            </a:p>
          </p:txBody>
        </p:sp>
        <p:sp>
          <p:nvSpPr>
            <p:cNvPr id="25" name="Oval 24">
              <a:extLst>
                <a:ext uri="{FF2B5EF4-FFF2-40B4-BE49-F238E27FC236}">
                  <a16:creationId xmlns:a16="http://schemas.microsoft.com/office/drawing/2014/main" id="{A0A1F0BE-E061-5B78-6E72-B08CC00D4DF1}"/>
                </a:ext>
              </a:extLst>
            </p:cNvPr>
            <p:cNvSpPr/>
            <p:nvPr/>
          </p:nvSpPr>
          <p:spPr>
            <a:xfrm>
              <a:off x="5446012" y="4382581"/>
              <a:ext cx="1787302" cy="178730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defTabSz="1219170" fontAlgn="base">
                <a:spcBef>
                  <a:spcPct val="50000"/>
                </a:spcBef>
                <a:spcAft>
                  <a:spcPct val="0"/>
                </a:spcAft>
                <a:defRPr/>
              </a:pPr>
              <a:r>
                <a:rPr lang="en-US" sz="2000" noProof="0" dirty="0">
                  <a:solidFill>
                    <a:schemeClr val="bg1"/>
                  </a:solidFill>
                </a:rPr>
                <a:t>BMI percentile </a:t>
              </a:r>
              <a:r>
                <a:rPr lang="en-US" sz="2800" b="1" noProof="0" dirty="0">
                  <a:solidFill>
                    <a:schemeClr val="bg1"/>
                  </a:solidFill>
                </a:rPr>
                <a:t>99.1</a:t>
              </a:r>
              <a:endParaRPr lang="en-US" sz="2000" b="1" noProof="0" dirty="0">
                <a:solidFill>
                  <a:schemeClr val="bg1"/>
                </a:solidFill>
              </a:endParaRPr>
            </a:p>
          </p:txBody>
        </p:sp>
      </p:grpSp>
    </p:spTree>
    <p:extLst>
      <p:ext uri="{BB962C8B-B14F-4D97-AF65-F5344CB8AC3E}">
        <p14:creationId xmlns:p14="http://schemas.microsoft.com/office/powerpoint/2010/main" val="247817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Rectangle 130">
            <a:extLst>
              <a:ext uri="{FF2B5EF4-FFF2-40B4-BE49-F238E27FC236}">
                <a16:creationId xmlns:a16="http://schemas.microsoft.com/office/drawing/2014/main" id="{A4C8968E-E509-F09D-FE25-5AA6947C8B8C}"/>
              </a:ext>
            </a:extLst>
          </p:cNvPr>
          <p:cNvSpPr/>
          <p:nvPr/>
        </p:nvSpPr>
        <p:spPr>
          <a:xfrm>
            <a:off x="0" y="2108579"/>
            <a:ext cx="12192000" cy="288650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AB81B273-E858-3C46-D23B-844A92DDB548}"/>
              </a:ext>
            </a:extLst>
          </p:cNvPr>
          <p:cNvSpPr>
            <a:spLocks noGrp="1"/>
          </p:cNvSpPr>
          <p:nvPr>
            <p:ph type="title"/>
          </p:nvPr>
        </p:nvSpPr>
        <p:spPr>
          <a:xfrm>
            <a:off x="536240" y="414320"/>
            <a:ext cx="10896000" cy="1082209"/>
          </a:xfrm>
        </p:spPr>
        <p:txBody>
          <a:bodyPr/>
          <a:lstStyle/>
          <a:p>
            <a:r>
              <a:rPr lang="en-US" noProof="0" dirty="0"/>
              <a:t>Prevalence of overweight and obesity in US</a:t>
            </a:r>
          </a:p>
        </p:txBody>
      </p:sp>
      <p:sp>
        <p:nvSpPr>
          <p:cNvPr id="3" name="Text Placeholder 2">
            <a:extLst>
              <a:ext uri="{FF2B5EF4-FFF2-40B4-BE49-F238E27FC236}">
                <a16:creationId xmlns:a16="http://schemas.microsoft.com/office/drawing/2014/main" id="{400418D3-3942-C699-5E63-27883D4FB44D}"/>
              </a:ext>
            </a:extLst>
          </p:cNvPr>
          <p:cNvSpPr>
            <a:spLocks noGrp="1"/>
          </p:cNvSpPr>
          <p:nvPr>
            <p:ph type="body" sz="quarter" idx="13"/>
          </p:nvPr>
        </p:nvSpPr>
        <p:spPr>
          <a:xfrm>
            <a:off x="536240" y="5560533"/>
            <a:ext cx="10896000" cy="783527"/>
          </a:xfrm>
        </p:spPr>
        <p:txBody>
          <a:bodyPr/>
          <a:lstStyle/>
          <a:p>
            <a:r>
              <a:rPr lang="en-US" noProof="0" dirty="0"/>
              <a:t>*Prevalence estimates provides information on the burden of obesity.</a:t>
            </a:r>
            <a:br>
              <a:rPr lang="en-US" noProof="0" dirty="0"/>
            </a:br>
            <a:r>
              <a:rPr lang="en-US" noProof="0" dirty="0"/>
              <a:t>Data age-standardized for individuals 5–19 years.</a:t>
            </a:r>
            <a:br>
              <a:rPr lang="en-US" noProof="0" dirty="0"/>
            </a:br>
            <a:r>
              <a:rPr lang="en-US" noProof="0" dirty="0"/>
              <a:t>1. NCD Risk Factor Collaboration (NCD-RisC). Child &amp; adolescent body-mass index: Evolution of BMI over time (2024). </a:t>
            </a:r>
            <a:r>
              <a:rPr lang="en-US" noProof="0" dirty="0">
                <a:hlinkClick r:id="rId3">
                  <a:extLst>
                    <a:ext uri="{A12FA001-AC4F-418D-AE19-62706E023703}">
                      <ahyp:hlinkClr xmlns:ahyp="http://schemas.microsoft.com/office/drawing/2018/hyperlinkcolor" val="tx"/>
                    </a:ext>
                  </a:extLst>
                </a:hlinkClick>
              </a:rPr>
              <a:t>http://ncdrisc.org/data-downloads-adiposity-ado.html</a:t>
            </a:r>
            <a:r>
              <a:rPr lang="en-US" noProof="0" dirty="0"/>
              <a:t>. Accessed October 2025; 2. CDC. Childhood obesity facts. </a:t>
            </a:r>
            <a:r>
              <a:rPr lang="en-US" noProof="0" dirty="0">
                <a:hlinkClick r:id="rId4">
                  <a:extLst>
                    <a:ext uri="{A12FA001-AC4F-418D-AE19-62706E023703}">
                      <ahyp:hlinkClr xmlns:ahyp="http://schemas.microsoft.com/office/drawing/2018/hyperlinkcolor" val="tx"/>
                    </a:ext>
                  </a:extLst>
                </a:hlinkClick>
              </a:rPr>
              <a:t>https://www.cdc.gov/obesity/childhood-obesity-facts/childhood-obesity-facts.html?CDC_AAref_Val=https://www.cdc.gov/obesity/data/childhood.html</a:t>
            </a:r>
            <a:r>
              <a:rPr lang="en-US" noProof="0" dirty="0"/>
              <a:t>. Accessed October 2025; 3. Hampl SE et al. Pediatrics 2023;151:e2022060640; </a:t>
            </a:r>
            <a:br>
              <a:rPr lang="en-US" noProof="0" dirty="0"/>
            </a:br>
            <a:r>
              <a:rPr lang="en-US" noProof="0" dirty="0"/>
              <a:t>4. Endocrine Society. Obesity Playbook (2023). </a:t>
            </a:r>
            <a:r>
              <a:rPr lang="en-US" noProof="0" dirty="0">
                <a:hlinkClick r:id="rId5">
                  <a:extLst>
                    <a:ext uri="{A12FA001-AC4F-418D-AE19-62706E023703}">
                      <ahyp:hlinkClr xmlns:ahyp="http://schemas.microsoft.com/office/drawing/2018/hyperlinkcolor" val="tx"/>
                    </a:ext>
                  </a:extLst>
                </a:hlinkClick>
              </a:rPr>
              <a:t>https://www.endocrine.org/-/media/endocrine/files/obesity/obesity-playbook-final_use.pdf</a:t>
            </a:r>
            <a:r>
              <a:rPr lang="en-US" noProof="0" dirty="0"/>
              <a:t>. Accessed October 2025. </a:t>
            </a:r>
          </a:p>
        </p:txBody>
      </p:sp>
      <p:sp>
        <p:nvSpPr>
          <p:cNvPr id="37" name="Isosceles Triangle 36">
            <a:extLst>
              <a:ext uri="{FF2B5EF4-FFF2-40B4-BE49-F238E27FC236}">
                <a16:creationId xmlns:a16="http://schemas.microsoft.com/office/drawing/2014/main" id="{627D7B75-B5B0-57F9-1400-2551B23B1813}"/>
              </a:ext>
            </a:extLst>
          </p:cNvPr>
          <p:cNvSpPr/>
          <p:nvPr/>
        </p:nvSpPr>
        <p:spPr>
          <a:xfrm rot="5400000">
            <a:off x="4784940" y="3277881"/>
            <a:ext cx="1138011" cy="495558"/>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5" name="Rounded Rectangle 39">
            <a:extLst>
              <a:ext uri="{FF2B5EF4-FFF2-40B4-BE49-F238E27FC236}">
                <a16:creationId xmlns:a16="http://schemas.microsoft.com/office/drawing/2014/main" id="{32FE0619-C540-2626-6B05-5CD3A5429C7C}"/>
              </a:ext>
            </a:extLst>
          </p:cNvPr>
          <p:cNvSpPr/>
          <p:nvPr/>
        </p:nvSpPr>
        <p:spPr bwMode="gray">
          <a:xfrm>
            <a:off x="2822576" y="1782962"/>
            <a:ext cx="6511924" cy="741502"/>
          </a:xfrm>
          <a:prstGeom prst="roundRect">
            <a:avLst>
              <a:gd name="adj" fmla="val 50000"/>
            </a:avLst>
          </a:prstGeom>
          <a:solidFill>
            <a:schemeClr val="accent1"/>
          </a:solidFill>
          <a:ln w="3175" algn="ctr">
            <a:noFill/>
            <a:miter lim="800000"/>
            <a:headEnd/>
            <a:tailEnd/>
          </a:ln>
        </p:spPr>
        <p:txBody>
          <a:bodyPr wrap="square" lIns="0" tIns="0" rIns="0" bIns="0" rtlCol="0" anchor="ctr"/>
          <a:lstStyle/>
          <a:p>
            <a:pPr lvl="0" algn="ctr">
              <a:defRPr/>
            </a:pPr>
            <a:r>
              <a:rPr lang="en-US" b="1" noProof="0" dirty="0">
                <a:solidFill>
                  <a:schemeClr val="bg1"/>
                </a:solidFill>
              </a:rPr>
              <a:t>Overweight and obesity affects children of all ages</a:t>
            </a:r>
            <a:r>
              <a:rPr lang="en-US" baseline="30000" noProof="0" dirty="0">
                <a:solidFill>
                  <a:schemeClr val="bg1"/>
                </a:solidFill>
              </a:rPr>
              <a:t>1–3</a:t>
            </a:r>
          </a:p>
        </p:txBody>
      </p:sp>
      <p:sp>
        <p:nvSpPr>
          <p:cNvPr id="18" name="Rounded Rectangle 39">
            <a:extLst>
              <a:ext uri="{FF2B5EF4-FFF2-40B4-BE49-F238E27FC236}">
                <a16:creationId xmlns:a16="http://schemas.microsoft.com/office/drawing/2014/main" id="{E52A6772-AF99-67F4-7FA3-1A39EA859906}"/>
              </a:ext>
            </a:extLst>
          </p:cNvPr>
          <p:cNvSpPr/>
          <p:nvPr/>
        </p:nvSpPr>
        <p:spPr bwMode="gray">
          <a:xfrm>
            <a:off x="1885316" y="4574384"/>
            <a:ext cx="8386444" cy="741502"/>
          </a:xfrm>
          <a:prstGeom prst="roundRect">
            <a:avLst>
              <a:gd name="adj" fmla="val 50000"/>
            </a:avLst>
          </a:prstGeom>
          <a:solidFill>
            <a:schemeClr val="accent1"/>
          </a:solidFill>
          <a:ln w="3175" algn="ctr">
            <a:noFill/>
            <a:miter lim="800000"/>
            <a:headEnd/>
            <a:tailEnd/>
          </a:ln>
        </p:spPr>
        <p:txBody>
          <a:bodyPr wrap="square" lIns="0" tIns="0" rIns="0" bIns="0" rtlCol="0" anchor="ctr"/>
          <a:lstStyle/>
          <a:p>
            <a:pPr algn="ctr"/>
            <a:r>
              <a:rPr lang="en-US" sz="2000" noProof="0" dirty="0">
                <a:solidFill>
                  <a:schemeClr val="bg1"/>
                </a:solidFill>
              </a:rPr>
              <a:t>The overall prevalence of obesity in the US is </a:t>
            </a:r>
            <a:r>
              <a:rPr lang="en-US" sz="2000" b="1" noProof="0" dirty="0">
                <a:solidFill>
                  <a:schemeClr val="bg1"/>
                </a:solidFill>
              </a:rPr>
              <a:t>19.7%</a:t>
            </a:r>
            <a:r>
              <a:rPr lang="en-US" sz="2000" baseline="30000" noProof="0" dirty="0">
                <a:solidFill>
                  <a:schemeClr val="bg1"/>
                </a:solidFill>
              </a:rPr>
              <a:t>2–4</a:t>
            </a:r>
            <a:r>
              <a:rPr lang="en-US" sz="2000" noProof="0" dirty="0">
                <a:solidFill>
                  <a:schemeClr val="bg1"/>
                </a:solidFill>
              </a:rPr>
              <a:t> </a:t>
            </a:r>
            <a:br>
              <a:rPr lang="en-US" sz="2000" noProof="0" dirty="0">
                <a:solidFill>
                  <a:schemeClr val="bg1"/>
                </a:solidFill>
              </a:rPr>
            </a:br>
            <a:r>
              <a:rPr lang="en-US" sz="2000" noProof="0" dirty="0">
                <a:solidFill>
                  <a:schemeClr val="bg1"/>
                </a:solidFill>
              </a:rPr>
              <a:t>and affects about </a:t>
            </a:r>
            <a:r>
              <a:rPr lang="en-US" sz="2000" b="1" noProof="0" dirty="0">
                <a:solidFill>
                  <a:schemeClr val="bg1"/>
                </a:solidFill>
              </a:rPr>
              <a:t>14.7 million children and adolescents</a:t>
            </a:r>
            <a:r>
              <a:rPr lang="en-US" sz="2000" baseline="30000" noProof="0" dirty="0">
                <a:solidFill>
                  <a:schemeClr val="bg1"/>
                </a:solidFill>
              </a:rPr>
              <a:t>2</a:t>
            </a:r>
          </a:p>
        </p:txBody>
      </p:sp>
      <p:sp>
        <p:nvSpPr>
          <p:cNvPr id="19" name="Oval 18">
            <a:extLst>
              <a:ext uri="{FF2B5EF4-FFF2-40B4-BE49-F238E27FC236}">
                <a16:creationId xmlns:a16="http://schemas.microsoft.com/office/drawing/2014/main" id="{309975F0-E629-C235-9C5D-D690F00FAEFB}"/>
              </a:ext>
            </a:extLst>
          </p:cNvPr>
          <p:cNvSpPr/>
          <p:nvPr/>
        </p:nvSpPr>
        <p:spPr>
          <a:xfrm>
            <a:off x="4150042" y="2491721"/>
            <a:ext cx="2067878" cy="2067878"/>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defRPr/>
            </a:pPr>
            <a:r>
              <a:rPr lang="en-US" sz="1600" b="1" noProof="0" dirty="0">
                <a:solidFill>
                  <a:srgbClr val="FFFFFF"/>
                </a:solidFill>
              </a:rPr>
              <a:t>Prevalence* </a:t>
            </a:r>
            <a:r>
              <a:rPr lang="en-US" sz="1600" noProof="0" dirty="0">
                <a:solidFill>
                  <a:srgbClr val="FFFFFF"/>
                </a:solidFill>
              </a:rPr>
              <a:t>of overweight and obesity in US pediatric population</a:t>
            </a:r>
          </a:p>
        </p:txBody>
      </p:sp>
      <p:sp>
        <p:nvSpPr>
          <p:cNvPr id="20" name="Oval 19">
            <a:extLst>
              <a:ext uri="{FF2B5EF4-FFF2-40B4-BE49-F238E27FC236}">
                <a16:creationId xmlns:a16="http://schemas.microsoft.com/office/drawing/2014/main" id="{2B40C8D1-814F-4AC7-D406-B6AC39052593}"/>
              </a:ext>
            </a:extLst>
          </p:cNvPr>
          <p:cNvSpPr/>
          <p:nvPr/>
        </p:nvSpPr>
        <p:spPr>
          <a:xfrm>
            <a:off x="2936081" y="2756040"/>
            <a:ext cx="1539240" cy="153924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2" name="Graphic 21">
            <a:extLst>
              <a:ext uri="{FF2B5EF4-FFF2-40B4-BE49-F238E27FC236}">
                <a16:creationId xmlns:a16="http://schemas.microsoft.com/office/drawing/2014/main" id="{CAA6C9AB-A90D-BBB8-0FD0-0DA8345A941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47060" y="2954160"/>
            <a:ext cx="1143000" cy="1143000"/>
          </a:xfrm>
          <a:prstGeom prst="rect">
            <a:avLst/>
          </a:prstGeom>
        </p:spPr>
      </p:pic>
      <p:sp>
        <p:nvSpPr>
          <p:cNvPr id="23" name="Oval 22">
            <a:extLst>
              <a:ext uri="{FF2B5EF4-FFF2-40B4-BE49-F238E27FC236}">
                <a16:creationId xmlns:a16="http://schemas.microsoft.com/office/drawing/2014/main" id="{96E1C634-E2F0-DE89-49C5-B7830CE1CA5C}"/>
              </a:ext>
            </a:extLst>
          </p:cNvPr>
          <p:cNvSpPr/>
          <p:nvPr/>
        </p:nvSpPr>
        <p:spPr>
          <a:xfrm>
            <a:off x="7199947" y="2425046"/>
            <a:ext cx="2201228" cy="2201228"/>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defRPr/>
            </a:pPr>
            <a:r>
              <a:rPr lang="en-US" sz="1600" noProof="0" dirty="0">
                <a:solidFill>
                  <a:srgbClr val="FFFFFF"/>
                </a:solidFill>
              </a:rPr>
              <a:t>Has </a:t>
            </a:r>
            <a:r>
              <a:rPr lang="en-US" sz="1600" b="1" noProof="0" dirty="0">
                <a:solidFill>
                  <a:srgbClr val="FFFFFF"/>
                </a:solidFill>
              </a:rPr>
              <a:t>increased </a:t>
            </a:r>
            <a:r>
              <a:rPr lang="en-US" sz="1600" noProof="0" dirty="0">
                <a:solidFill>
                  <a:srgbClr val="FFFFFF"/>
                </a:solidFill>
              </a:rPr>
              <a:t>by </a:t>
            </a:r>
            <a:r>
              <a:rPr lang="en-US" sz="1600" b="1" noProof="0" dirty="0">
                <a:solidFill>
                  <a:srgbClr val="FFFFFF"/>
                </a:solidFill>
              </a:rPr>
              <a:t>9.7% </a:t>
            </a:r>
            <a:r>
              <a:rPr lang="en-US" sz="1600" noProof="0" dirty="0">
                <a:solidFill>
                  <a:srgbClr val="FFFFFF"/>
                </a:solidFill>
              </a:rPr>
              <a:t>and </a:t>
            </a:r>
            <a:r>
              <a:rPr lang="en-US" sz="1600" b="1" noProof="0" dirty="0">
                <a:solidFill>
                  <a:srgbClr val="FFFFFF"/>
                </a:solidFill>
              </a:rPr>
              <a:t>7.45%, </a:t>
            </a:r>
            <a:r>
              <a:rPr lang="en-US" sz="1600" noProof="0" dirty="0">
                <a:solidFill>
                  <a:srgbClr val="FFFFFF"/>
                </a:solidFill>
              </a:rPr>
              <a:t>respectively, </a:t>
            </a:r>
            <a:br>
              <a:rPr lang="en-US" sz="1600" noProof="0" dirty="0">
                <a:solidFill>
                  <a:srgbClr val="FFFFFF"/>
                </a:solidFill>
              </a:rPr>
            </a:br>
            <a:r>
              <a:rPr lang="en-US" sz="1600" noProof="0" dirty="0">
                <a:solidFill>
                  <a:srgbClr val="FFFFFF"/>
                </a:solidFill>
              </a:rPr>
              <a:t>with age over the last two decades</a:t>
            </a:r>
            <a:r>
              <a:rPr lang="en-US" sz="1600" baseline="30000" noProof="0" dirty="0">
                <a:solidFill>
                  <a:srgbClr val="FFFFFF"/>
                </a:solidFill>
              </a:rPr>
              <a:t>1</a:t>
            </a:r>
          </a:p>
        </p:txBody>
      </p:sp>
      <p:cxnSp>
        <p:nvCxnSpPr>
          <p:cNvPr id="25" name="Straight Arrow Connector 24">
            <a:extLst>
              <a:ext uri="{FF2B5EF4-FFF2-40B4-BE49-F238E27FC236}">
                <a16:creationId xmlns:a16="http://schemas.microsoft.com/office/drawing/2014/main" id="{6C10F933-C0D6-CC88-F78A-8932CD78C456}"/>
              </a:ext>
            </a:extLst>
          </p:cNvPr>
          <p:cNvCxnSpPr>
            <a:cxnSpLocks/>
          </p:cNvCxnSpPr>
          <p:nvPr/>
        </p:nvCxnSpPr>
        <p:spPr>
          <a:xfrm>
            <a:off x="6217920" y="3525398"/>
            <a:ext cx="982027" cy="0"/>
          </a:xfrm>
          <a:prstGeom prst="straightConnector1">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8030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241AE08-7095-505A-6452-73C970F835B2}"/>
              </a:ext>
            </a:extLst>
          </p:cNvPr>
          <p:cNvSpPr/>
          <p:nvPr/>
        </p:nvSpPr>
        <p:spPr>
          <a:xfrm>
            <a:off x="0" y="1648016"/>
            <a:ext cx="12192000" cy="416382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D3D28023-B2A7-365F-00DA-16DB90D210F4}"/>
              </a:ext>
            </a:extLst>
          </p:cNvPr>
          <p:cNvSpPr>
            <a:spLocks noGrp="1"/>
          </p:cNvSpPr>
          <p:nvPr>
            <p:ph type="title"/>
          </p:nvPr>
        </p:nvSpPr>
        <p:spPr>
          <a:xfrm>
            <a:off x="536240" y="414320"/>
            <a:ext cx="10896000" cy="1082209"/>
          </a:xfrm>
        </p:spPr>
        <p:txBody>
          <a:bodyPr/>
          <a:lstStyle/>
          <a:p>
            <a:r>
              <a:rPr lang="en-US" noProof="0" dirty="0"/>
              <a:t>Obesity prevalence rates in US by state in 2022–2023</a:t>
            </a:r>
            <a:r>
              <a:rPr lang="en-US" baseline="30000" noProof="0" dirty="0"/>
              <a:t>1</a:t>
            </a:r>
          </a:p>
        </p:txBody>
      </p:sp>
      <p:sp>
        <p:nvSpPr>
          <p:cNvPr id="3" name="Text Placeholder 2">
            <a:extLst>
              <a:ext uri="{FF2B5EF4-FFF2-40B4-BE49-F238E27FC236}">
                <a16:creationId xmlns:a16="http://schemas.microsoft.com/office/drawing/2014/main" id="{52587A74-3A44-8CBF-1EDD-D59E0B54B2F5}"/>
              </a:ext>
            </a:extLst>
          </p:cNvPr>
          <p:cNvSpPr>
            <a:spLocks noGrp="1"/>
          </p:cNvSpPr>
          <p:nvPr>
            <p:ph type="body" sz="quarter" idx="13"/>
          </p:nvPr>
        </p:nvSpPr>
        <p:spPr>
          <a:xfrm>
            <a:off x="536240" y="6020060"/>
            <a:ext cx="10896000" cy="324000"/>
          </a:xfrm>
        </p:spPr>
        <p:txBody>
          <a:bodyPr/>
          <a:lstStyle/>
          <a:p>
            <a:r>
              <a:rPr lang="en-US" dirty="0"/>
              <a:t>1. State</a:t>
            </a:r>
            <a:r>
              <a:rPr lang="en-US" noProof="0" dirty="0"/>
              <a:t> of Childhood Obesity demographic data. </a:t>
            </a:r>
            <a:r>
              <a:rPr lang="en-US" noProof="0" dirty="0">
                <a:hlinkClick r:id="rId3"/>
              </a:rPr>
              <a:t>https://stateofchildhoodobesity.org/demographic-data/ages-6-17/</a:t>
            </a:r>
            <a:r>
              <a:rPr lang="en-US" noProof="0" dirty="0"/>
              <a:t> . Accessed October 2025; 2. Hampl SE et al. Pediatrics 2023;151:e2022060640.</a:t>
            </a:r>
            <a:endParaRPr lang="en-US" dirty="0"/>
          </a:p>
        </p:txBody>
      </p:sp>
      <p:sp>
        <p:nvSpPr>
          <p:cNvPr id="62" name="TextBox 61">
            <a:extLst>
              <a:ext uri="{FF2B5EF4-FFF2-40B4-BE49-F238E27FC236}">
                <a16:creationId xmlns:a16="http://schemas.microsoft.com/office/drawing/2014/main" id="{4BCDBC63-8F59-58D6-1F48-480777B5ECB9}"/>
              </a:ext>
            </a:extLst>
          </p:cNvPr>
          <p:cNvSpPr txBox="1"/>
          <p:nvPr/>
        </p:nvSpPr>
        <p:spPr>
          <a:xfrm>
            <a:off x="764928" y="1698997"/>
            <a:ext cx="2396319" cy="369332"/>
          </a:xfrm>
          <a:prstGeom prst="rect">
            <a:avLst/>
          </a:prstGeom>
          <a:noFill/>
        </p:spPr>
        <p:txBody>
          <a:bodyPr wrap="square">
            <a:spAutoFit/>
          </a:bodyPr>
          <a:lstStyle/>
          <a:p>
            <a:pPr algn="ctr"/>
            <a:r>
              <a:rPr lang="en-US" noProof="0" dirty="0"/>
              <a:t>Children aged </a:t>
            </a:r>
            <a:r>
              <a:rPr lang="en-US" b="1" noProof="0" dirty="0"/>
              <a:t>6</a:t>
            </a:r>
            <a:r>
              <a:rPr lang="en-US" b="1" noProof="0" dirty="0">
                <a:latin typeface="Calibri" panose="020F0502020204030204" pitchFamily="34" charset="0"/>
                <a:cs typeface="Calibri" panose="020F0502020204030204" pitchFamily="34" charset="0"/>
              </a:rPr>
              <a:t>–</a:t>
            </a:r>
            <a:r>
              <a:rPr lang="en-US" b="1" noProof="0" dirty="0"/>
              <a:t>17 </a:t>
            </a:r>
          </a:p>
        </p:txBody>
      </p:sp>
      <p:grpSp>
        <p:nvGrpSpPr>
          <p:cNvPr id="64" name="Group 4">
            <a:extLst>
              <a:ext uri="{FF2B5EF4-FFF2-40B4-BE49-F238E27FC236}">
                <a16:creationId xmlns:a16="http://schemas.microsoft.com/office/drawing/2014/main" id="{1DEB7D36-4339-8D10-7902-158F74DFA5AE}"/>
              </a:ext>
            </a:extLst>
          </p:cNvPr>
          <p:cNvGrpSpPr>
            <a:grpSpLocks noChangeAspect="1"/>
          </p:cNvGrpSpPr>
          <p:nvPr/>
        </p:nvGrpSpPr>
        <p:grpSpPr bwMode="auto">
          <a:xfrm>
            <a:off x="2890801" y="1649053"/>
            <a:ext cx="8647416" cy="4219744"/>
            <a:chOff x="-261" y="0"/>
            <a:chExt cx="5570" cy="2922"/>
          </a:xfrm>
        </p:grpSpPr>
        <p:sp>
          <p:nvSpPr>
            <p:cNvPr id="65" name="Freeform 5">
              <a:extLst>
                <a:ext uri="{FF2B5EF4-FFF2-40B4-BE49-F238E27FC236}">
                  <a16:creationId xmlns:a16="http://schemas.microsoft.com/office/drawing/2014/main" id="{E6F3E22B-8187-35C3-3D3C-FCA3B80CDC79}"/>
                </a:ext>
              </a:extLst>
            </p:cNvPr>
            <p:cNvSpPr>
              <a:spLocks/>
            </p:cNvSpPr>
            <p:nvPr/>
          </p:nvSpPr>
          <p:spPr bwMode="auto">
            <a:xfrm>
              <a:off x="1812" y="549"/>
              <a:ext cx="594" cy="461"/>
            </a:xfrm>
            <a:custGeom>
              <a:avLst/>
              <a:gdLst>
                <a:gd name="T0" fmla="*/ 586 w 594"/>
                <a:gd name="T1" fmla="*/ 287 h 461"/>
                <a:gd name="T2" fmla="*/ 584 w 594"/>
                <a:gd name="T3" fmla="*/ 340 h 461"/>
                <a:gd name="T4" fmla="*/ 584 w 594"/>
                <a:gd name="T5" fmla="*/ 394 h 461"/>
                <a:gd name="T6" fmla="*/ 582 w 594"/>
                <a:gd name="T7" fmla="*/ 447 h 461"/>
                <a:gd name="T8" fmla="*/ 543 w 594"/>
                <a:gd name="T9" fmla="*/ 459 h 461"/>
                <a:gd name="T10" fmla="*/ 489 w 594"/>
                <a:gd name="T11" fmla="*/ 457 h 461"/>
                <a:gd name="T12" fmla="*/ 438 w 594"/>
                <a:gd name="T13" fmla="*/ 453 h 461"/>
                <a:gd name="T14" fmla="*/ 385 w 594"/>
                <a:gd name="T15" fmla="*/ 451 h 461"/>
                <a:gd name="T16" fmla="*/ 334 w 594"/>
                <a:gd name="T17" fmla="*/ 449 h 461"/>
                <a:gd name="T18" fmla="*/ 283 w 594"/>
                <a:gd name="T19" fmla="*/ 445 h 461"/>
                <a:gd name="T20" fmla="*/ 229 w 594"/>
                <a:gd name="T21" fmla="*/ 441 h 461"/>
                <a:gd name="T22" fmla="*/ 178 w 594"/>
                <a:gd name="T23" fmla="*/ 437 h 461"/>
                <a:gd name="T24" fmla="*/ 135 w 594"/>
                <a:gd name="T25" fmla="*/ 433 h 461"/>
                <a:gd name="T26" fmla="*/ 92 w 594"/>
                <a:gd name="T27" fmla="*/ 429 h 461"/>
                <a:gd name="T28" fmla="*/ 51 w 594"/>
                <a:gd name="T29" fmla="*/ 427 h 461"/>
                <a:gd name="T30" fmla="*/ 10 w 594"/>
                <a:gd name="T31" fmla="*/ 422 h 461"/>
                <a:gd name="T32" fmla="*/ 0 w 594"/>
                <a:gd name="T33" fmla="*/ 420 h 461"/>
                <a:gd name="T34" fmla="*/ 0 w 594"/>
                <a:gd name="T35" fmla="*/ 420 h 461"/>
                <a:gd name="T36" fmla="*/ 2 w 594"/>
                <a:gd name="T37" fmla="*/ 394 h 461"/>
                <a:gd name="T38" fmla="*/ 6 w 594"/>
                <a:gd name="T39" fmla="*/ 367 h 461"/>
                <a:gd name="T40" fmla="*/ 8 w 594"/>
                <a:gd name="T41" fmla="*/ 340 h 461"/>
                <a:gd name="T42" fmla="*/ 10 w 594"/>
                <a:gd name="T43" fmla="*/ 316 h 461"/>
                <a:gd name="T44" fmla="*/ 16 w 594"/>
                <a:gd name="T45" fmla="*/ 248 h 461"/>
                <a:gd name="T46" fmla="*/ 23 w 594"/>
                <a:gd name="T47" fmla="*/ 183 h 461"/>
                <a:gd name="T48" fmla="*/ 31 w 594"/>
                <a:gd name="T49" fmla="*/ 117 h 461"/>
                <a:gd name="T50" fmla="*/ 37 w 594"/>
                <a:gd name="T51" fmla="*/ 54 h 461"/>
                <a:gd name="T52" fmla="*/ 37 w 594"/>
                <a:gd name="T53" fmla="*/ 39 h 461"/>
                <a:gd name="T54" fmla="*/ 39 w 594"/>
                <a:gd name="T55" fmla="*/ 27 h 461"/>
                <a:gd name="T56" fmla="*/ 41 w 594"/>
                <a:gd name="T57" fmla="*/ 15 h 461"/>
                <a:gd name="T58" fmla="*/ 41 w 594"/>
                <a:gd name="T59" fmla="*/ 2 h 461"/>
                <a:gd name="T60" fmla="*/ 63 w 594"/>
                <a:gd name="T61" fmla="*/ 2 h 461"/>
                <a:gd name="T62" fmla="*/ 96 w 594"/>
                <a:gd name="T63" fmla="*/ 6 h 461"/>
                <a:gd name="T64" fmla="*/ 131 w 594"/>
                <a:gd name="T65" fmla="*/ 8 h 461"/>
                <a:gd name="T66" fmla="*/ 166 w 594"/>
                <a:gd name="T67" fmla="*/ 13 h 461"/>
                <a:gd name="T68" fmla="*/ 201 w 594"/>
                <a:gd name="T69" fmla="*/ 15 h 461"/>
                <a:gd name="T70" fmla="*/ 233 w 594"/>
                <a:gd name="T71" fmla="*/ 17 h 461"/>
                <a:gd name="T72" fmla="*/ 268 w 594"/>
                <a:gd name="T73" fmla="*/ 21 h 461"/>
                <a:gd name="T74" fmla="*/ 303 w 594"/>
                <a:gd name="T75" fmla="*/ 23 h 461"/>
                <a:gd name="T76" fmla="*/ 338 w 594"/>
                <a:gd name="T77" fmla="*/ 25 h 461"/>
                <a:gd name="T78" fmla="*/ 371 w 594"/>
                <a:gd name="T79" fmla="*/ 27 h 461"/>
                <a:gd name="T80" fmla="*/ 406 w 594"/>
                <a:gd name="T81" fmla="*/ 29 h 461"/>
                <a:gd name="T82" fmla="*/ 440 w 594"/>
                <a:gd name="T83" fmla="*/ 31 h 461"/>
                <a:gd name="T84" fmla="*/ 475 w 594"/>
                <a:gd name="T85" fmla="*/ 33 h 461"/>
                <a:gd name="T86" fmla="*/ 510 w 594"/>
                <a:gd name="T87" fmla="*/ 35 h 461"/>
                <a:gd name="T88" fmla="*/ 543 w 594"/>
                <a:gd name="T89" fmla="*/ 35 h 461"/>
                <a:gd name="T90" fmla="*/ 578 w 594"/>
                <a:gd name="T91" fmla="*/ 37 h 461"/>
                <a:gd name="T92" fmla="*/ 594 w 594"/>
                <a:gd name="T93" fmla="*/ 64 h 461"/>
                <a:gd name="T94" fmla="*/ 592 w 594"/>
                <a:gd name="T95" fmla="*/ 117 h 461"/>
                <a:gd name="T96" fmla="*/ 590 w 594"/>
                <a:gd name="T97" fmla="*/ 168 h 461"/>
                <a:gd name="T98" fmla="*/ 588 w 594"/>
                <a:gd name="T99" fmla="*/ 222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4" h="461">
                  <a:moveTo>
                    <a:pt x="588" y="248"/>
                  </a:moveTo>
                  <a:lnTo>
                    <a:pt x="588" y="261"/>
                  </a:lnTo>
                  <a:lnTo>
                    <a:pt x="588" y="275"/>
                  </a:lnTo>
                  <a:lnTo>
                    <a:pt x="586" y="287"/>
                  </a:lnTo>
                  <a:lnTo>
                    <a:pt x="586" y="302"/>
                  </a:lnTo>
                  <a:lnTo>
                    <a:pt x="586" y="314"/>
                  </a:lnTo>
                  <a:lnTo>
                    <a:pt x="586" y="328"/>
                  </a:lnTo>
                  <a:lnTo>
                    <a:pt x="584" y="340"/>
                  </a:lnTo>
                  <a:lnTo>
                    <a:pt x="584" y="355"/>
                  </a:lnTo>
                  <a:lnTo>
                    <a:pt x="584" y="367"/>
                  </a:lnTo>
                  <a:lnTo>
                    <a:pt x="584" y="381"/>
                  </a:lnTo>
                  <a:lnTo>
                    <a:pt x="584" y="394"/>
                  </a:lnTo>
                  <a:lnTo>
                    <a:pt x="582" y="408"/>
                  </a:lnTo>
                  <a:lnTo>
                    <a:pt x="582" y="420"/>
                  </a:lnTo>
                  <a:lnTo>
                    <a:pt x="582" y="435"/>
                  </a:lnTo>
                  <a:lnTo>
                    <a:pt x="582" y="447"/>
                  </a:lnTo>
                  <a:lnTo>
                    <a:pt x="582" y="461"/>
                  </a:lnTo>
                  <a:lnTo>
                    <a:pt x="567" y="459"/>
                  </a:lnTo>
                  <a:lnTo>
                    <a:pt x="555" y="459"/>
                  </a:lnTo>
                  <a:lnTo>
                    <a:pt x="543" y="459"/>
                  </a:lnTo>
                  <a:lnTo>
                    <a:pt x="528" y="459"/>
                  </a:lnTo>
                  <a:lnTo>
                    <a:pt x="516" y="457"/>
                  </a:lnTo>
                  <a:lnTo>
                    <a:pt x="502" y="457"/>
                  </a:lnTo>
                  <a:lnTo>
                    <a:pt x="489" y="457"/>
                  </a:lnTo>
                  <a:lnTo>
                    <a:pt x="477" y="455"/>
                  </a:lnTo>
                  <a:lnTo>
                    <a:pt x="463" y="455"/>
                  </a:lnTo>
                  <a:lnTo>
                    <a:pt x="451" y="455"/>
                  </a:lnTo>
                  <a:lnTo>
                    <a:pt x="438" y="453"/>
                  </a:lnTo>
                  <a:lnTo>
                    <a:pt x="424" y="453"/>
                  </a:lnTo>
                  <a:lnTo>
                    <a:pt x="412" y="453"/>
                  </a:lnTo>
                  <a:lnTo>
                    <a:pt x="399" y="451"/>
                  </a:lnTo>
                  <a:lnTo>
                    <a:pt x="385" y="451"/>
                  </a:lnTo>
                  <a:lnTo>
                    <a:pt x="373" y="451"/>
                  </a:lnTo>
                  <a:lnTo>
                    <a:pt x="360" y="449"/>
                  </a:lnTo>
                  <a:lnTo>
                    <a:pt x="346" y="449"/>
                  </a:lnTo>
                  <a:lnTo>
                    <a:pt x="334" y="449"/>
                  </a:lnTo>
                  <a:lnTo>
                    <a:pt x="322" y="447"/>
                  </a:lnTo>
                  <a:lnTo>
                    <a:pt x="307" y="447"/>
                  </a:lnTo>
                  <a:lnTo>
                    <a:pt x="295" y="445"/>
                  </a:lnTo>
                  <a:lnTo>
                    <a:pt x="283" y="445"/>
                  </a:lnTo>
                  <a:lnTo>
                    <a:pt x="268" y="443"/>
                  </a:lnTo>
                  <a:lnTo>
                    <a:pt x="256" y="443"/>
                  </a:lnTo>
                  <a:lnTo>
                    <a:pt x="244" y="441"/>
                  </a:lnTo>
                  <a:lnTo>
                    <a:pt x="229" y="441"/>
                  </a:lnTo>
                  <a:lnTo>
                    <a:pt x="217" y="441"/>
                  </a:lnTo>
                  <a:lnTo>
                    <a:pt x="205" y="439"/>
                  </a:lnTo>
                  <a:lnTo>
                    <a:pt x="190" y="439"/>
                  </a:lnTo>
                  <a:lnTo>
                    <a:pt x="178" y="437"/>
                  </a:lnTo>
                  <a:lnTo>
                    <a:pt x="166" y="437"/>
                  </a:lnTo>
                  <a:lnTo>
                    <a:pt x="156" y="435"/>
                  </a:lnTo>
                  <a:lnTo>
                    <a:pt x="145" y="435"/>
                  </a:lnTo>
                  <a:lnTo>
                    <a:pt x="135" y="433"/>
                  </a:lnTo>
                  <a:lnTo>
                    <a:pt x="123" y="433"/>
                  </a:lnTo>
                  <a:lnTo>
                    <a:pt x="113" y="431"/>
                  </a:lnTo>
                  <a:lnTo>
                    <a:pt x="102" y="431"/>
                  </a:lnTo>
                  <a:lnTo>
                    <a:pt x="92" y="429"/>
                  </a:lnTo>
                  <a:lnTo>
                    <a:pt x="82" y="429"/>
                  </a:lnTo>
                  <a:lnTo>
                    <a:pt x="72" y="429"/>
                  </a:lnTo>
                  <a:lnTo>
                    <a:pt x="61" y="427"/>
                  </a:lnTo>
                  <a:lnTo>
                    <a:pt x="51" y="427"/>
                  </a:lnTo>
                  <a:lnTo>
                    <a:pt x="41" y="424"/>
                  </a:lnTo>
                  <a:lnTo>
                    <a:pt x="31" y="424"/>
                  </a:lnTo>
                  <a:lnTo>
                    <a:pt x="20" y="422"/>
                  </a:lnTo>
                  <a:lnTo>
                    <a:pt x="10" y="422"/>
                  </a:lnTo>
                  <a:lnTo>
                    <a:pt x="0" y="420"/>
                  </a:lnTo>
                  <a:lnTo>
                    <a:pt x="0" y="420"/>
                  </a:lnTo>
                  <a:lnTo>
                    <a:pt x="0" y="420"/>
                  </a:lnTo>
                  <a:lnTo>
                    <a:pt x="0" y="420"/>
                  </a:lnTo>
                  <a:lnTo>
                    <a:pt x="0" y="420"/>
                  </a:lnTo>
                  <a:lnTo>
                    <a:pt x="0" y="420"/>
                  </a:lnTo>
                  <a:lnTo>
                    <a:pt x="0" y="420"/>
                  </a:lnTo>
                  <a:lnTo>
                    <a:pt x="0" y="420"/>
                  </a:lnTo>
                  <a:lnTo>
                    <a:pt x="0" y="414"/>
                  </a:lnTo>
                  <a:lnTo>
                    <a:pt x="2" y="408"/>
                  </a:lnTo>
                  <a:lnTo>
                    <a:pt x="2" y="400"/>
                  </a:lnTo>
                  <a:lnTo>
                    <a:pt x="2" y="394"/>
                  </a:lnTo>
                  <a:lnTo>
                    <a:pt x="4" y="388"/>
                  </a:lnTo>
                  <a:lnTo>
                    <a:pt x="4" y="381"/>
                  </a:lnTo>
                  <a:lnTo>
                    <a:pt x="4" y="375"/>
                  </a:lnTo>
                  <a:lnTo>
                    <a:pt x="6" y="367"/>
                  </a:lnTo>
                  <a:lnTo>
                    <a:pt x="6" y="361"/>
                  </a:lnTo>
                  <a:lnTo>
                    <a:pt x="6" y="355"/>
                  </a:lnTo>
                  <a:lnTo>
                    <a:pt x="6" y="349"/>
                  </a:lnTo>
                  <a:lnTo>
                    <a:pt x="8" y="340"/>
                  </a:lnTo>
                  <a:lnTo>
                    <a:pt x="8" y="334"/>
                  </a:lnTo>
                  <a:lnTo>
                    <a:pt x="8" y="328"/>
                  </a:lnTo>
                  <a:lnTo>
                    <a:pt x="10" y="322"/>
                  </a:lnTo>
                  <a:lnTo>
                    <a:pt x="10" y="316"/>
                  </a:lnTo>
                  <a:lnTo>
                    <a:pt x="12" y="299"/>
                  </a:lnTo>
                  <a:lnTo>
                    <a:pt x="14" y="283"/>
                  </a:lnTo>
                  <a:lnTo>
                    <a:pt x="16" y="265"/>
                  </a:lnTo>
                  <a:lnTo>
                    <a:pt x="16" y="248"/>
                  </a:lnTo>
                  <a:lnTo>
                    <a:pt x="18" y="232"/>
                  </a:lnTo>
                  <a:lnTo>
                    <a:pt x="20" y="215"/>
                  </a:lnTo>
                  <a:lnTo>
                    <a:pt x="23" y="199"/>
                  </a:lnTo>
                  <a:lnTo>
                    <a:pt x="23" y="183"/>
                  </a:lnTo>
                  <a:lnTo>
                    <a:pt x="25" y="166"/>
                  </a:lnTo>
                  <a:lnTo>
                    <a:pt x="27" y="150"/>
                  </a:lnTo>
                  <a:lnTo>
                    <a:pt x="29" y="133"/>
                  </a:lnTo>
                  <a:lnTo>
                    <a:pt x="31" y="117"/>
                  </a:lnTo>
                  <a:lnTo>
                    <a:pt x="31" y="101"/>
                  </a:lnTo>
                  <a:lnTo>
                    <a:pt x="33" y="86"/>
                  </a:lnTo>
                  <a:lnTo>
                    <a:pt x="35" y="70"/>
                  </a:lnTo>
                  <a:lnTo>
                    <a:pt x="37" y="54"/>
                  </a:lnTo>
                  <a:lnTo>
                    <a:pt x="37" y="49"/>
                  </a:lnTo>
                  <a:lnTo>
                    <a:pt x="37" y="47"/>
                  </a:lnTo>
                  <a:lnTo>
                    <a:pt x="37" y="43"/>
                  </a:lnTo>
                  <a:lnTo>
                    <a:pt x="37" y="39"/>
                  </a:lnTo>
                  <a:lnTo>
                    <a:pt x="39" y="37"/>
                  </a:lnTo>
                  <a:lnTo>
                    <a:pt x="39" y="33"/>
                  </a:lnTo>
                  <a:lnTo>
                    <a:pt x="39" y="31"/>
                  </a:lnTo>
                  <a:lnTo>
                    <a:pt x="39" y="27"/>
                  </a:lnTo>
                  <a:lnTo>
                    <a:pt x="39" y="25"/>
                  </a:lnTo>
                  <a:lnTo>
                    <a:pt x="39" y="21"/>
                  </a:lnTo>
                  <a:lnTo>
                    <a:pt x="41" y="19"/>
                  </a:lnTo>
                  <a:lnTo>
                    <a:pt x="41" y="15"/>
                  </a:lnTo>
                  <a:lnTo>
                    <a:pt x="41" y="13"/>
                  </a:lnTo>
                  <a:lnTo>
                    <a:pt x="41" y="8"/>
                  </a:lnTo>
                  <a:lnTo>
                    <a:pt x="41" y="4"/>
                  </a:lnTo>
                  <a:lnTo>
                    <a:pt x="41" y="2"/>
                  </a:lnTo>
                  <a:lnTo>
                    <a:pt x="41" y="0"/>
                  </a:lnTo>
                  <a:lnTo>
                    <a:pt x="45" y="0"/>
                  </a:lnTo>
                  <a:lnTo>
                    <a:pt x="55" y="2"/>
                  </a:lnTo>
                  <a:lnTo>
                    <a:pt x="63" y="2"/>
                  </a:lnTo>
                  <a:lnTo>
                    <a:pt x="72" y="2"/>
                  </a:lnTo>
                  <a:lnTo>
                    <a:pt x="80" y="4"/>
                  </a:lnTo>
                  <a:lnTo>
                    <a:pt x="88" y="4"/>
                  </a:lnTo>
                  <a:lnTo>
                    <a:pt x="96" y="6"/>
                  </a:lnTo>
                  <a:lnTo>
                    <a:pt x="106" y="6"/>
                  </a:lnTo>
                  <a:lnTo>
                    <a:pt x="115" y="6"/>
                  </a:lnTo>
                  <a:lnTo>
                    <a:pt x="123" y="8"/>
                  </a:lnTo>
                  <a:lnTo>
                    <a:pt x="131" y="8"/>
                  </a:lnTo>
                  <a:lnTo>
                    <a:pt x="139" y="11"/>
                  </a:lnTo>
                  <a:lnTo>
                    <a:pt x="150" y="11"/>
                  </a:lnTo>
                  <a:lnTo>
                    <a:pt x="158" y="11"/>
                  </a:lnTo>
                  <a:lnTo>
                    <a:pt x="166" y="13"/>
                  </a:lnTo>
                  <a:lnTo>
                    <a:pt x="174" y="13"/>
                  </a:lnTo>
                  <a:lnTo>
                    <a:pt x="182" y="13"/>
                  </a:lnTo>
                  <a:lnTo>
                    <a:pt x="190" y="15"/>
                  </a:lnTo>
                  <a:lnTo>
                    <a:pt x="201" y="15"/>
                  </a:lnTo>
                  <a:lnTo>
                    <a:pt x="209" y="15"/>
                  </a:lnTo>
                  <a:lnTo>
                    <a:pt x="217" y="17"/>
                  </a:lnTo>
                  <a:lnTo>
                    <a:pt x="225" y="17"/>
                  </a:lnTo>
                  <a:lnTo>
                    <a:pt x="233" y="17"/>
                  </a:lnTo>
                  <a:lnTo>
                    <a:pt x="244" y="19"/>
                  </a:lnTo>
                  <a:lnTo>
                    <a:pt x="252" y="19"/>
                  </a:lnTo>
                  <a:lnTo>
                    <a:pt x="260" y="19"/>
                  </a:lnTo>
                  <a:lnTo>
                    <a:pt x="268" y="21"/>
                  </a:lnTo>
                  <a:lnTo>
                    <a:pt x="276" y="21"/>
                  </a:lnTo>
                  <a:lnTo>
                    <a:pt x="287" y="21"/>
                  </a:lnTo>
                  <a:lnTo>
                    <a:pt x="295" y="23"/>
                  </a:lnTo>
                  <a:lnTo>
                    <a:pt x="303" y="23"/>
                  </a:lnTo>
                  <a:lnTo>
                    <a:pt x="311" y="23"/>
                  </a:lnTo>
                  <a:lnTo>
                    <a:pt x="319" y="23"/>
                  </a:lnTo>
                  <a:lnTo>
                    <a:pt x="328" y="25"/>
                  </a:lnTo>
                  <a:lnTo>
                    <a:pt x="338" y="25"/>
                  </a:lnTo>
                  <a:lnTo>
                    <a:pt x="346" y="25"/>
                  </a:lnTo>
                  <a:lnTo>
                    <a:pt x="354" y="27"/>
                  </a:lnTo>
                  <a:lnTo>
                    <a:pt x="363" y="27"/>
                  </a:lnTo>
                  <a:lnTo>
                    <a:pt x="371" y="27"/>
                  </a:lnTo>
                  <a:lnTo>
                    <a:pt x="381" y="27"/>
                  </a:lnTo>
                  <a:lnTo>
                    <a:pt x="389" y="29"/>
                  </a:lnTo>
                  <a:lnTo>
                    <a:pt x="397" y="29"/>
                  </a:lnTo>
                  <a:lnTo>
                    <a:pt x="406" y="29"/>
                  </a:lnTo>
                  <a:lnTo>
                    <a:pt x="414" y="29"/>
                  </a:lnTo>
                  <a:lnTo>
                    <a:pt x="424" y="31"/>
                  </a:lnTo>
                  <a:lnTo>
                    <a:pt x="432" y="31"/>
                  </a:lnTo>
                  <a:lnTo>
                    <a:pt x="440" y="31"/>
                  </a:lnTo>
                  <a:lnTo>
                    <a:pt x="449" y="31"/>
                  </a:lnTo>
                  <a:lnTo>
                    <a:pt x="457" y="33"/>
                  </a:lnTo>
                  <a:lnTo>
                    <a:pt x="467" y="33"/>
                  </a:lnTo>
                  <a:lnTo>
                    <a:pt x="475" y="33"/>
                  </a:lnTo>
                  <a:lnTo>
                    <a:pt x="483" y="33"/>
                  </a:lnTo>
                  <a:lnTo>
                    <a:pt x="492" y="33"/>
                  </a:lnTo>
                  <a:lnTo>
                    <a:pt x="500" y="35"/>
                  </a:lnTo>
                  <a:lnTo>
                    <a:pt x="510" y="35"/>
                  </a:lnTo>
                  <a:lnTo>
                    <a:pt x="518" y="35"/>
                  </a:lnTo>
                  <a:lnTo>
                    <a:pt x="526" y="35"/>
                  </a:lnTo>
                  <a:lnTo>
                    <a:pt x="535" y="35"/>
                  </a:lnTo>
                  <a:lnTo>
                    <a:pt x="543" y="35"/>
                  </a:lnTo>
                  <a:lnTo>
                    <a:pt x="551" y="37"/>
                  </a:lnTo>
                  <a:lnTo>
                    <a:pt x="561" y="37"/>
                  </a:lnTo>
                  <a:lnTo>
                    <a:pt x="569" y="37"/>
                  </a:lnTo>
                  <a:lnTo>
                    <a:pt x="578" y="37"/>
                  </a:lnTo>
                  <a:lnTo>
                    <a:pt x="586" y="37"/>
                  </a:lnTo>
                  <a:lnTo>
                    <a:pt x="594" y="37"/>
                  </a:lnTo>
                  <a:lnTo>
                    <a:pt x="594" y="52"/>
                  </a:lnTo>
                  <a:lnTo>
                    <a:pt x="594" y="64"/>
                  </a:lnTo>
                  <a:lnTo>
                    <a:pt x="594" y="78"/>
                  </a:lnTo>
                  <a:lnTo>
                    <a:pt x="594" y="90"/>
                  </a:lnTo>
                  <a:lnTo>
                    <a:pt x="592" y="103"/>
                  </a:lnTo>
                  <a:lnTo>
                    <a:pt x="592" y="117"/>
                  </a:lnTo>
                  <a:lnTo>
                    <a:pt x="592" y="129"/>
                  </a:lnTo>
                  <a:lnTo>
                    <a:pt x="592" y="144"/>
                  </a:lnTo>
                  <a:lnTo>
                    <a:pt x="592" y="156"/>
                  </a:lnTo>
                  <a:lnTo>
                    <a:pt x="590" y="168"/>
                  </a:lnTo>
                  <a:lnTo>
                    <a:pt x="590" y="183"/>
                  </a:lnTo>
                  <a:lnTo>
                    <a:pt x="590" y="195"/>
                  </a:lnTo>
                  <a:lnTo>
                    <a:pt x="590" y="209"/>
                  </a:lnTo>
                  <a:lnTo>
                    <a:pt x="588" y="222"/>
                  </a:lnTo>
                  <a:lnTo>
                    <a:pt x="588" y="236"/>
                  </a:lnTo>
                  <a:lnTo>
                    <a:pt x="588" y="248"/>
                  </a:lnTo>
                  <a:lnTo>
                    <a:pt x="588" y="248"/>
                  </a:lnTo>
                  <a:close/>
                </a:path>
              </a:pathLst>
            </a:custGeom>
            <a:solidFill>
              <a:schemeClr val="bg1">
                <a:lumMod val="75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WY</a:t>
              </a:r>
            </a:p>
          </p:txBody>
        </p:sp>
        <p:sp>
          <p:nvSpPr>
            <p:cNvPr id="66" name="Freeform 6">
              <a:extLst>
                <a:ext uri="{FF2B5EF4-FFF2-40B4-BE49-F238E27FC236}">
                  <a16:creationId xmlns:a16="http://schemas.microsoft.com/office/drawing/2014/main" id="{34993969-87FF-8AE9-4198-B27F78F19B28}"/>
                </a:ext>
              </a:extLst>
            </p:cNvPr>
            <p:cNvSpPr>
              <a:spLocks/>
            </p:cNvSpPr>
            <p:nvPr/>
          </p:nvSpPr>
          <p:spPr bwMode="auto">
            <a:xfrm>
              <a:off x="4212" y="910"/>
              <a:ext cx="387" cy="379"/>
            </a:xfrm>
            <a:custGeom>
              <a:avLst/>
              <a:gdLst>
                <a:gd name="T0" fmla="*/ 262 w 387"/>
                <a:gd name="T1" fmla="*/ 117 h 379"/>
                <a:gd name="T2" fmla="*/ 273 w 387"/>
                <a:gd name="T3" fmla="*/ 102 h 379"/>
                <a:gd name="T4" fmla="*/ 289 w 387"/>
                <a:gd name="T5" fmla="*/ 94 h 379"/>
                <a:gd name="T6" fmla="*/ 293 w 387"/>
                <a:gd name="T7" fmla="*/ 86 h 379"/>
                <a:gd name="T8" fmla="*/ 299 w 387"/>
                <a:gd name="T9" fmla="*/ 82 h 379"/>
                <a:gd name="T10" fmla="*/ 303 w 387"/>
                <a:gd name="T11" fmla="*/ 86 h 379"/>
                <a:gd name="T12" fmla="*/ 324 w 387"/>
                <a:gd name="T13" fmla="*/ 80 h 379"/>
                <a:gd name="T14" fmla="*/ 338 w 387"/>
                <a:gd name="T15" fmla="*/ 68 h 379"/>
                <a:gd name="T16" fmla="*/ 369 w 387"/>
                <a:gd name="T17" fmla="*/ 68 h 379"/>
                <a:gd name="T18" fmla="*/ 375 w 387"/>
                <a:gd name="T19" fmla="*/ 74 h 379"/>
                <a:gd name="T20" fmla="*/ 381 w 387"/>
                <a:gd name="T21" fmla="*/ 82 h 379"/>
                <a:gd name="T22" fmla="*/ 385 w 387"/>
                <a:gd name="T23" fmla="*/ 111 h 379"/>
                <a:gd name="T24" fmla="*/ 336 w 387"/>
                <a:gd name="T25" fmla="*/ 92 h 379"/>
                <a:gd name="T26" fmla="*/ 334 w 387"/>
                <a:gd name="T27" fmla="*/ 113 h 379"/>
                <a:gd name="T28" fmla="*/ 334 w 387"/>
                <a:gd name="T29" fmla="*/ 123 h 379"/>
                <a:gd name="T30" fmla="*/ 324 w 387"/>
                <a:gd name="T31" fmla="*/ 145 h 379"/>
                <a:gd name="T32" fmla="*/ 316 w 387"/>
                <a:gd name="T33" fmla="*/ 156 h 379"/>
                <a:gd name="T34" fmla="*/ 305 w 387"/>
                <a:gd name="T35" fmla="*/ 170 h 379"/>
                <a:gd name="T36" fmla="*/ 289 w 387"/>
                <a:gd name="T37" fmla="*/ 180 h 379"/>
                <a:gd name="T38" fmla="*/ 283 w 387"/>
                <a:gd name="T39" fmla="*/ 199 h 379"/>
                <a:gd name="T40" fmla="*/ 262 w 387"/>
                <a:gd name="T41" fmla="*/ 213 h 379"/>
                <a:gd name="T42" fmla="*/ 244 w 387"/>
                <a:gd name="T43" fmla="*/ 203 h 379"/>
                <a:gd name="T44" fmla="*/ 242 w 387"/>
                <a:gd name="T45" fmla="*/ 219 h 379"/>
                <a:gd name="T46" fmla="*/ 236 w 387"/>
                <a:gd name="T47" fmla="*/ 236 h 379"/>
                <a:gd name="T48" fmla="*/ 230 w 387"/>
                <a:gd name="T49" fmla="*/ 252 h 379"/>
                <a:gd name="T50" fmla="*/ 211 w 387"/>
                <a:gd name="T51" fmla="*/ 297 h 379"/>
                <a:gd name="T52" fmla="*/ 213 w 387"/>
                <a:gd name="T53" fmla="*/ 316 h 379"/>
                <a:gd name="T54" fmla="*/ 211 w 387"/>
                <a:gd name="T55" fmla="*/ 326 h 379"/>
                <a:gd name="T56" fmla="*/ 195 w 387"/>
                <a:gd name="T57" fmla="*/ 338 h 379"/>
                <a:gd name="T58" fmla="*/ 174 w 387"/>
                <a:gd name="T59" fmla="*/ 348 h 379"/>
                <a:gd name="T60" fmla="*/ 168 w 387"/>
                <a:gd name="T61" fmla="*/ 344 h 379"/>
                <a:gd name="T62" fmla="*/ 164 w 387"/>
                <a:gd name="T63" fmla="*/ 352 h 379"/>
                <a:gd name="T64" fmla="*/ 137 w 387"/>
                <a:gd name="T65" fmla="*/ 369 h 379"/>
                <a:gd name="T66" fmla="*/ 125 w 387"/>
                <a:gd name="T67" fmla="*/ 363 h 379"/>
                <a:gd name="T68" fmla="*/ 113 w 387"/>
                <a:gd name="T69" fmla="*/ 371 h 379"/>
                <a:gd name="T70" fmla="*/ 90 w 387"/>
                <a:gd name="T71" fmla="*/ 375 h 379"/>
                <a:gd name="T72" fmla="*/ 80 w 387"/>
                <a:gd name="T73" fmla="*/ 369 h 379"/>
                <a:gd name="T74" fmla="*/ 72 w 387"/>
                <a:gd name="T75" fmla="*/ 359 h 379"/>
                <a:gd name="T76" fmla="*/ 70 w 387"/>
                <a:gd name="T77" fmla="*/ 350 h 379"/>
                <a:gd name="T78" fmla="*/ 51 w 387"/>
                <a:gd name="T79" fmla="*/ 346 h 379"/>
                <a:gd name="T80" fmla="*/ 37 w 387"/>
                <a:gd name="T81" fmla="*/ 338 h 379"/>
                <a:gd name="T82" fmla="*/ 23 w 387"/>
                <a:gd name="T83" fmla="*/ 318 h 379"/>
                <a:gd name="T84" fmla="*/ 10 w 387"/>
                <a:gd name="T85" fmla="*/ 305 h 379"/>
                <a:gd name="T86" fmla="*/ 2 w 387"/>
                <a:gd name="T87" fmla="*/ 287 h 379"/>
                <a:gd name="T88" fmla="*/ 4 w 387"/>
                <a:gd name="T89" fmla="*/ 279 h 379"/>
                <a:gd name="T90" fmla="*/ 6 w 387"/>
                <a:gd name="T91" fmla="*/ 264 h 379"/>
                <a:gd name="T92" fmla="*/ 31 w 387"/>
                <a:gd name="T93" fmla="*/ 236 h 379"/>
                <a:gd name="T94" fmla="*/ 29 w 387"/>
                <a:gd name="T95" fmla="*/ 207 h 379"/>
                <a:gd name="T96" fmla="*/ 49 w 387"/>
                <a:gd name="T97" fmla="*/ 201 h 379"/>
                <a:gd name="T98" fmla="*/ 53 w 387"/>
                <a:gd name="T99" fmla="*/ 199 h 379"/>
                <a:gd name="T100" fmla="*/ 53 w 387"/>
                <a:gd name="T101" fmla="*/ 186 h 379"/>
                <a:gd name="T102" fmla="*/ 64 w 387"/>
                <a:gd name="T103" fmla="*/ 162 h 379"/>
                <a:gd name="T104" fmla="*/ 82 w 387"/>
                <a:gd name="T105" fmla="*/ 148 h 379"/>
                <a:gd name="T106" fmla="*/ 107 w 387"/>
                <a:gd name="T107" fmla="*/ 129 h 379"/>
                <a:gd name="T108" fmla="*/ 121 w 387"/>
                <a:gd name="T109" fmla="*/ 98 h 379"/>
                <a:gd name="T110" fmla="*/ 123 w 387"/>
                <a:gd name="T111" fmla="*/ 80 h 379"/>
                <a:gd name="T112" fmla="*/ 125 w 387"/>
                <a:gd name="T113" fmla="*/ 61 h 379"/>
                <a:gd name="T114" fmla="*/ 129 w 387"/>
                <a:gd name="T115" fmla="*/ 31 h 379"/>
                <a:gd name="T116" fmla="*/ 121 w 387"/>
                <a:gd name="T117" fmla="*/ 6 h 379"/>
                <a:gd name="T118" fmla="*/ 131 w 387"/>
                <a:gd name="T119" fmla="*/ 2 h 379"/>
                <a:gd name="T120" fmla="*/ 170 w 387"/>
                <a:gd name="T121" fmla="*/ 9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7" h="379">
                  <a:moveTo>
                    <a:pt x="236" y="82"/>
                  </a:moveTo>
                  <a:lnTo>
                    <a:pt x="244" y="135"/>
                  </a:lnTo>
                  <a:lnTo>
                    <a:pt x="246" y="137"/>
                  </a:lnTo>
                  <a:lnTo>
                    <a:pt x="246" y="137"/>
                  </a:lnTo>
                  <a:lnTo>
                    <a:pt x="246" y="135"/>
                  </a:lnTo>
                  <a:lnTo>
                    <a:pt x="248" y="135"/>
                  </a:lnTo>
                  <a:lnTo>
                    <a:pt x="254" y="125"/>
                  </a:lnTo>
                  <a:lnTo>
                    <a:pt x="256" y="125"/>
                  </a:lnTo>
                  <a:lnTo>
                    <a:pt x="258" y="123"/>
                  </a:lnTo>
                  <a:lnTo>
                    <a:pt x="260" y="123"/>
                  </a:lnTo>
                  <a:lnTo>
                    <a:pt x="260" y="123"/>
                  </a:lnTo>
                  <a:lnTo>
                    <a:pt x="260" y="121"/>
                  </a:lnTo>
                  <a:lnTo>
                    <a:pt x="260" y="119"/>
                  </a:lnTo>
                  <a:lnTo>
                    <a:pt x="262" y="117"/>
                  </a:lnTo>
                  <a:lnTo>
                    <a:pt x="264" y="115"/>
                  </a:lnTo>
                  <a:lnTo>
                    <a:pt x="266" y="113"/>
                  </a:lnTo>
                  <a:lnTo>
                    <a:pt x="266" y="113"/>
                  </a:lnTo>
                  <a:lnTo>
                    <a:pt x="268" y="113"/>
                  </a:lnTo>
                  <a:lnTo>
                    <a:pt x="268" y="111"/>
                  </a:lnTo>
                  <a:lnTo>
                    <a:pt x="271" y="109"/>
                  </a:lnTo>
                  <a:lnTo>
                    <a:pt x="271" y="109"/>
                  </a:lnTo>
                  <a:lnTo>
                    <a:pt x="271" y="109"/>
                  </a:lnTo>
                  <a:lnTo>
                    <a:pt x="271" y="109"/>
                  </a:lnTo>
                  <a:lnTo>
                    <a:pt x="271" y="107"/>
                  </a:lnTo>
                  <a:lnTo>
                    <a:pt x="271" y="104"/>
                  </a:lnTo>
                  <a:lnTo>
                    <a:pt x="271" y="104"/>
                  </a:lnTo>
                  <a:lnTo>
                    <a:pt x="271" y="102"/>
                  </a:lnTo>
                  <a:lnTo>
                    <a:pt x="273" y="102"/>
                  </a:lnTo>
                  <a:lnTo>
                    <a:pt x="275" y="100"/>
                  </a:lnTo>
                  <a:lnTo>
                    <a:pt x="275" y="100"/>
                  </a:lnTo>
                  <a:lnTo>
                    <a:pt x="277" y="100"/>
                  </a:lnTo>
                  <a:lnTo>
                    <a:pt x="277" y="100"/>
                  </a:lnTo>
                  <a:lnTo>
                    <a:pt x="279" y="100"/>
                  </a:lnTo>
                  <a:lnTo>
                    <a:pt x="281" y="102"/>
                  </a:lnTo>
                  <a:lnTo>
                    <a:pt x="281" y="102"/>
                  </a:lnTo>
                  <a:lnTo>
                    <a:pt x="283" y="102"/>
                  </a:lnTo>
                  <a:lnTo>
                    <a:pt x="283" y="102"/>
                  </a:lnTo>
                  <a:lnTo>
                    <a:pt x="285" y="102"/>
                  </a:lnTo>
                  <a:lnTo>
                    <a:pt x="285" y="102"/>
                  </a:lnTo>
                  <a:lnTo>
                    <a:pt x="285" y="100"/>
                  </a:lnTo>
                  <a:lnTo>
                    <a:pt x="285" y="100"/>
                  </a:lnTo>
                  <a:lnTo>
                    <a:pt x="289" y="94"/>
                  </a:lnTo>
                  <a:lnTo>
                    <a:pt x="289" y="92"/>
                  </a:lnTo>
                  <a:lnTo>
                    <a:pt x="291" y="90"/>
                  </a:lnTo>
                  <a:lnTo>
                    <a:pt x="291" y="90"/>
                  </a:lnTo>
                  <a:lnTo>
                    <a:pt x="291" y="90"/>
                  </a:lnTo>
                  <a:lnTo>
                    <a:pt x="291" y="90"/>
                  </a:lnTo>
                  <a:lnTo>
                    <a:pt x="291" y="88"/>
                  </a:lnTo>
                  <a:lnTo>
                    <a:pt x="291" y="88"/>
                  </a:lnTo>
                  <a:lnTo>
                    <a:pt x="293" y="88"/>
                  </a:lnTo>
                  <a:lnTo>
                    <a:pt x="293" y="88"/>
                  </a:lnTo>
                  <a:lnTo>
                    <a:pt x="293" y="88"/>
                  </a:lnTo>
                  <a:lnTo>
                    <a:pt x="293" y="88"/>
                  </a:lnTo>
                  <a:lnTo>
                    <a:pt x="293" y="86"/>
                  </a:lnTo>
                  <a:lnTo>
                    <a:pt x="293" y="86"/>
                  </a:lnTo>
                  <a:lnTo>
                    <a:pt x="293" y="86"/>
                  </a:lnTo>
                  <a:lnTo>
                    <a:pt x="293" y="86"/>
                  </a:lnTo>
                  <a:lnTo>
                    <a:pt x="293" y="84"/>
                  </a:lnTo>
                  <a:lnTo>
                    <a:pt x="295" y="82"/>
                  </a:lnTo>
                  <a:lnTo>
                    <a:pt x="295" y="82"/>
                  </a:lnTo>
                  <a:lnTo>
                    <a:pt x="295" y="80"/>
                  </a:lnTo>
                  <a:lnTo>
                    <a:pt x="295" y="80"/>
                  </a:lnTo>
                  <a:lnTo>
                    <a:pt x="295" y="80"/>
                  </a:lnTo>
                  <a:lnTo>
                    <a:pt x="295" y="80"/>
                  </a:lnTo>
                  <a:lnTo>
                    <a:pt x="295" y="80"/>
                  </a:lnTo>
                  <a:lnTo>
                    <a:pt x="297" y="80"/>
                  </a:lnTo>
                  <a:lnTo>
                    <a:pt x="297" y="80"/>
                  </a:lnTo>
                  <a:lnTo>
                    <a:pt x="297" y="82"/>
                  </a:lnTo>
                  <a:lnTo>
                    <a:pt x="299" y="82"/>
                  </a:lnTo>
                  <a:lnTo>
                    <a:pt x="299" y="82"/>
                  </a:lnTo>
                  <a:lnTo>
                    <a:pt x="299" y="82"/>
                  </a:lnTo>
                  <a:lnTo>
                    <a:pt x="299" y="82"/>
                  </a:lnTo>
                  <a:lnTo>
                    <a:pt x="297" y="84"/>
                  </a:lnTo>
                  <a:lnTo>
                    <a:pt x="297" y="84"/>
                  </a:lnTo>
                  <a:lnTo>
                    <a:pt x="297" y="84"/>
                  </a:lnTo>
                  <a:lnTo>
                    <a:pt x="297" y="84"/>
                  </a:lnTo>
                  <a:lnTo>
                    <a:pt x="297" y="84"/>
                  </a:lnTo>
                  <a:lnTo>
                    <a:pt x="297" y="84"/>
                  </a:lnTo>
                  <a:lnTo>
                    <a:pt x="297" y="86"/>
                  </a:lnTo>
                  <a:lnTo>
                    <a:pt x="297" y="86"/>
                  </a:lnTo>
                  <a:lnTo>
                    <a:pt x="299" y="86"/>
                  </a:lnTo>
                  <a:lnTo>
                    <a:pt x="299" y="86"/>
                  </a:lnTo>
                  <a:lnTo>
                    <a:pt x="299" y="86"/>
                  </a:lnTo>
                  <a:lnTo>
                    <a:pt x="303" y="86"/>
                  </a:lnTo>
                  <a:lnTo>
                    <a:pt x="303" y="88"/>
                  </a:lnTo>
                  <a:lnTo>
                    <a:pt x="303" y="88"/>
                  </a:lnTo>
                  <a:lnTo>
                    <a:pt x="305" y="88"/>
                  </a:lnTo>
                  <a:lnTo>
                    <a:pt x="307" y="88"/>
                  </a:lnTo>
                  <a:lnTo>
                    <a:pt x="314" y="88"/>
                  </a:lnTo>
                  <a:lnTo>
                    <a:pt x="314" y="88"/>
                  </a:lnTo>
                  <a:lnTo>
                    <a:pt x="318" y="86"/>
                  </a:lnTo>
                  <a:lnTo>
                    <a:pt x="322" y="86"/>
                  </a:lnTo>
                  <a:lnTo>
                    <a:pt x="326" y="84"/>
                  </a:lnTo>
                  <a:lnTo>
                    <a:pt x="326" y="82"/>
                  </a:lnTo>
                  <a:lnTo>
                    <a:pt x="324" y="82"/>
                  </a:lnTo>
                  <a:lnTo>
                    <a:pt x="324" y="82"/>
                  </a:lnTo>
                  <a:lnTo>
                    <a:pt x="324" y="80"/>
                  </a:lnTo>
                  <a:lnTo>
                    <a:pt x="324" y="80"/>
                  </a:lnTo>
                  <a:lnTo>
                    <a:pt x="326" y="80"/>
                  </a:lnTo>
                  <a:lnTo>
                    <a:pt x="326" y="78"/>
                  </a:lnTo>
                  <a:lnTo>
                    <a:pt x="324" y="76"/>
                  </a:lnTo>
                  <a:lnTo>
                    <a:pt x="324" y="76"/>
                  </a:lnTo>
                  <a:lnTo>
                    <a:pt x="326" y="76"/>
                  </a:lnTo>
                  <a:lnTo>
                    <a:pt x="328" y="76"/>
                  </a:lnTo>
                  <a:lnTo>
                    <a:pt x="328" y="74"/>
                  </a:lnTo>
                  <a:lnTo>
                    <a:pt x="330" y="74"/>
                  </a:lnTo>
                  <a:lnTo>
                    <a:pt x="332" y="72"/>
                  </a:lnTo>
                  <a:lnTo>
                    <a:pt x="334" y="72"/>
                  </a:lnTo>
                  <a:lnTo>
                    <a:pt x="336" y="72"/>
                  </a:lnTo>
                  <a:lnTo>
                    <a:pt x="336" y="72"/>
                  </a:lnTo>
                  <a:lnTo>
                    <a:pt x="338" y="70"/>
                  </a:lnTo>
                  <a:lnTo>
                    <a:pt x="338" y="68"/>
                  </a:lnTo>
                  <a:lnTo>
                    <a:pt x="340" y="66"/>
                  </a:lnTo>
                  <a:lnTo>
                    <a:pt x="340" y="63"/>
                  </a:lnTo>
                  <a:lnTo>
                    <a:pt x="342" y="63"/>
                  </a:lnTo>
                  <a:lnTo>
                    <a:pt x="342" y="63"/>
                  </a:lnTo>
                  <a:lnTo>
                    <a:pt x="346" y="63"/>
                  </a:lnTo>
                  <a:lnTo>
                    <a:pt x="350" y="63"/>
                  </a:lnTo>
                  <a:lnTo>
                    <a:pt x="359" y="70"/>
                  </a:lnTo>
                  <a:lnTo>
                    <a:pt x="361" y="70"/>
                  </a:lnTo>
                  <a:lnTo>
                    <a:pt x="363" y="70"/>
                  </a:lnTo>
                  <a:lnTo>
                    <a:pt x="365" y="70"/>
                  </a:lnTo>
                  <a:lnTo>
                    <a:pt x="365" y="70"/>
                  </a:lnTo>
                  <a:lnTo>
                    <a:pt x="367" y="70"/>
                  </a:lnTo>
                  <a:lnTo>
                    <a:pt x="369" y="70"/>
                  </a:lnTo>
                  <a:lnTo>
                    <a:pt x="369" y="68"/>
                  </a:lnTo>
                  <a:lnTo>
                    <a:pt x="369" y="68"/>
                  </a:lnTo>
                  <a:lnTo>
                    <a:pt x="371" y="68"/>
                  </a:lnTo>
                  <a:lnTo>
                    <a:pt x="371" y="68"/>
                  </a:lnTo>
                  <a:lnTo>
                    <a:pt x="373" y="68"/>
                  </a:lnTo>
                  <a:lnTo>
                    <a:pt x="375" y="70"/>
                  </a:lnTo>
                  <a:lnTo>
                    <a:pt x="375" y="70"/>
                  </a:lnTo>
                  <a:lnTo>
                    <a:pt x="373" y="72"/>
                  </a:lnTo>
                  <a:lnTo>
                    <a:pt x="371" y="74"/>
                  </a:lnTo>
                  <a:lnTo>
                    <a:pt x="371" y="74"/>
                  </a:lnTo>
                  <a:lnTo>
                    <a:pt x="373" y="78"/>
                  </a:lnTo>
                  <a:lnTo>
                    <a:pt x="375" y="78"/>
                  </a:lnTo>
                  <a:lnTo>
                    <a:pt x="375" y="76"/>
                  </a:lnTo>
                  <a:lnTo>
                    <a:pt x="375" y="76"/>
                  </a:lnTo>
                  <a:lnTo>
                    <a:pt x="375" y="74"/>
                  </a:lnTo>
                  <a:lnTo>
                    <a:pt x="375" y="74"/>
                  </a:lnTo>
                  <a:lnTo>
                    <a:pt x="377" y="76"/>
                  </a:lnTo>
                  <a:lnTo>
                    <a:pt x="377" y="76"/>
                  </a:lnTo>
                  <a:lnTo>
                    <a:pt x="375" y="78"/>
                  </a:lnTo>
                  <a:lnTo>
                    <a:pt x="375" y="78"/>
                  </a:lnTo>
                  <a:lnTo>
                    <a:pt x="377" y="80"/>
                  </a:lnTo>
                  <a:lnTo>
                    <a:pt x="379" y="78"/>
                  </a:lnTo>
                  <a:lnTo>
                    <a:pt x="379" y="78"/>
                  </a:lnTo>
                  <a:lnTo>
                    <a:pt x="381" y="78"/>
                  </a:lnTo>
                  <a:lnTo>
                    <a:pt x="381" y="78"/>
                  </a:lnTo>
                  <a:lnTo>
                    <a:pt x="381" y="78"/>
                  </a:lnTo>
                  <a:lnTo>
                    <a:pt x="379" y="80"/>
                  </a:lnTo>
                  <a:lnTo>
                    <a:pt x="379" y="82"/>
                  </a:lnTo>
                  <a:lnTo>
                    <a:pt x="381" y="82"/>
                  </a:lnTo>
                  <a:lnTo>
                    <a:pt x="379" y="84"/>
                  </a:lnTo>
                  <a:lnTo>
                    <a:pt x="381" y="84"/>
                  </a:lnTo>
                  <a:lnTo>
                    <a:pt x="385" y="86"/>
                  </a:lnTo>
                  <a:lnTo>
                    <a:pt x="385" y="88"/>
                  </a:lnTo>
                  <a:lnTo>
                    <a:pt x="385" y="88"/>
                  </a:lnTo>
                  <a:lnTo>
                    <a:pt x="385" y="92"/>
                  </a:lnTo>
                  <a:lnTo>
                    <a:pt x="385" y="92"/>
                  </a:lnTo>
                  <a:lnTo>
                    <a:pt x="387" y="94"/>
                  </a:lnTo>
                  <a:lnTo>
                    <a:pt x="387" y="94"/>
                  </a:lnTo>
                  <a:lnTo>
                    <a:pt x="387" y="96"/>
                  </a:lnTo>
                  <a:lnTo>
                    <a:pt x="387" y="96"/>
                  </a:lnTo>
                  <a:lnTo>
                    <a:pt x="387" y="100"/>
                  </a:lnTo>
                  <a:lnTo>
                    <a:pt x="385" y="104"/>
                  </a:lnTo>
                  <a:lnTo>
                    <a:pt x="385" y="111"/>
                  </a:lnTo>
                  <a:lnTo>
                    <a:pt x="383" y="113"/>
                  </a:lnTo>
                  <a:lnTo>
                    <a:pt x="383" y="115"/>
                  </a:lnTo>
                  <a:lnTo>
                    <a:pt x="383" y="117"/>
                  </a:lnTo>
                  <a:lnTo>
                    <a:pt x="383" y="115"/>
                  </a:lnTo>
                  <a:lnTo>
                    <a:pt x="381" y="115"/>
                  </a:lnTo>
                  <a:lnTo>
                    <a:pt x="377" y="113"/>
                  </a:lnTo>
                  <a:lnTo>
                    <a:pt x="371" y="111"/>
                  </a:lnTo>
                  <a:lnTo>
                    <a:pt x="365" y="107"/>
                  </a:lnTo>
                  <a:lnTo>
                    <a:pt x="361" y="104"/>
                  </a:lnTo>
                  <a:lnTo>
                    <a:pt x="354" y="100"/>
                  </a:lnTo>
                  <a:lnTo>
                    <a:pt x="348" y="98"/>
                  </a:lnTo>
                  <a:lnTo>
                    <a:pt x="344" y="96"/>
                  </a:lnTo>
                  <a:lnTo>
                    <a:pt x="338" y="92"/>
                  </a:lnTo>
                  <a:lnTo>
                    <a:pt x="336" y="92"/>
                  </a:lnTo>
                  <a:lnTo>
                    <a:pt x="336" y="92"/>
                  </a:lnTo>
                  <a:lnTo>
                    <a:pt x="334" y="94"/>
                  </a:lnTo>
                  <a:lnTo>
                    <a:pt x="334" y="96"/>
                  </a:lnTo>
                  <a:lnTo>
                    <a:pt x="334" y="96"/>
                  </a:lnTo>
                  <a:lnTo>
                    <a:pt x="334" y="98"/>
                  </a:lnTo>
                  <a:lnTo>
                    <a:pt x="336" y="100"/>
                  </a:lnTo>
                  <a:lnTo>
                    <a:pt x="336" y="102"/>
                  </a:lnTo>
                  <a:lnTo>
                    <a:pt x="336" y="104"/>
                  </a:lnTo>
                  <a:lnTo>
                    <a:pt x="336" y="104"/>
                  </a:lnTo>
                  <a:lnTo>
                    <a:pt x="336" y="104"/>
                  </a:lnTo>
                  <a:lnTo>
                    <a:pt x="336" y="109"/>
                  </a:lnTo>
                  <a:lnTo>
                    <a:pt x="334" y="111"/>
                  </a:lnTo>
                  <a:lnTo>
                    <a:pt x="334" y="113"/>
                  </a:lnTo>
                  <a:lnTo>
                    <a:pt x="334" y="113"/>
                  </a:lnTo>
                  <a:lnTo>
                    <a:pt x="334" y="113"/>
                  </a:lnTo>
                  <a:lnTo>
                    <a:pt x="334" y="113"/>
                  </a:lnTo>
                  <a:lnTo>
                    <a:pt x="334" y="115"/>
                  </a:lnTo>
                  <a:lnTo>
                    <a:pt x="334" y="115"/>
                  </a:lnTo>
                  <a:lnTo>
                    <a:pt x="334" y="115"/>
                  </a:lnTo>
                  <a:lnTo>
                    <a:pt x="334" y="117"/>
                  </a:lnTo>
                  <a:lnTo>
                    <a:pt x="334" y="117"/>
                  </a:lnTo>
                  <a:lnTo>
                    <a:pt x="334" y="119"/>
                  </a:lnTo>
                  <a:lnTo>
                    <a:pt x="334" y="119"/>
                  </a:lnTo>
                  <a:lnTo>
                    <a:pt x="334" y="121"/>
                  </a:lnTo>
                  <a:lnTo>
                    <a:pt x="334" y="121"/>
                  </a:lnTo>
                  <a:lnTo>
                    <a:pt x="334" y="121"/>
                  </a:lnTo>
                  <a:lnTo>
                    <a:pt x="334" y="123"/>
                  </a:lnTo>
                  <a:lnTo>
                    <a:pt x="334" y="123"/>
                  </a:lnTo>
                  <a:lnTo>
                    <a:pt x="334" y="123"/>
                  </a:lnTo>
                  <a:lnTo>
                    <a:pt x="334" y="123"/>
                  </a:lnTo>
                  <a:lnTo>
                    <a:pt x="334" y="125"/>
                  </a:lnTo>
                  <a:lnTo>
                    <a:pt x="332" y="129"/>
                  </a:lnTo>
                  <a:lnTo>
                    <a:pt x="330" y="131"/>
                  </a:lnTo>
                  <a:lnTo>
                    <a:pt x="328" y="135"/>
                  </a:lnTo>
                  <a:lnTo>
                    <a:pt x="326" y="139"/>
                  </a:lnTo>
                  <a:lnTo>
                    <a:pt x="326" y="139"/>
                  </a:lnTo>
                  <a:lnTo>
                    <a:pt x="326" y="139"/>
                  </a:lnTo>
                  <a:lnTo>
                    <a:pt x="326" y="139"/>
                  </a:lnTo>
                  <a:lnTo>
                    <a:pt x="326" y="139"/>
                  </a:lnTo>
                  <a:lnTo>
                    <a:pt x="326" y="141"/>
                  </a:lnTo>
                  <a:lnTo>
                    <a:pt x="326" y="141"/>
                  </a:lnTo>
                  <a:lnTo>
                    <a:pt x="324" y="145"/>
                  </a:lnTo>
                  <a:lnTo>
                    <a:pt x="324" y="145"/>
                  </a:lnTo>
                  <a:lnTo>
                    <a:pt x="324" y="145"/>
                  </a:lnTo>
                  <a:lnTo>
                    <a:pt x="322" y="148"/>
                  </a:lnTo>
                  <a:lnTo>
                    <a:pt x="322" y="148"/>
                  </a:lnTo>
                  <a:lnTo>
                    <a:pt x="322" y="148"/>
                  </a:lnTo>
                  <a:lnTo>
                    <a:pt x="320" y="148"/>
                  </a:lnTo>
                  <a:lnTo>
                    <a:pt x="320" y="150"/>
                  </a:lnTo>
                  <a:lnTo>
                    <a:pt x="320" y="152"/>
                  </a:lnTo>
                  <a:lnTo>
                    <a:pt x="320" y="152"/>
                  </a:lnTo>
                  <a:lnTo>
                    <a:pt x="320" y="152"/>
                  </a:lnTo>
                  <a:lnTo>
                    <a:pt x="318" y="154"/>
                  </a:lnTo>
                  <a:lnTo>
                    <a:pt x="316" y="154"/>
                  </a:lnTo>
                  <a:lnTo>
                    <a:pt x="316" y="154"/>
                  </a:lnTo>
                  <a:lnTo>
                    <a:pt x="316" y="156"/>
                  </a:lnTo>
                  <a:lnTo>
                    <a:pt x="316" y="154"/>
                  </a:lnTo>
                  <a:lnTo>
                    <a:pt x="314" y="154"/>
                  </a:lnTo>
                  <a:lnTo>
                    <a:pt x="314" y="154"/>
                  </a:lnTo>
                  <a:lnTo>
                    <a:pt x="314" y="154"/>
                  </a:lnTo>
                  <a:lnTo>
                    <a:pt x="314" y="154"/>
                  </a:lnTo>
                  <a:lnTo>
                    <a:pt x="314" y="154"/>
                  </a:lnTo>
                  <a:lnTo>
                    <a:pt x="314" y="154"/>
                  </a:lnTo>
                  <a:lnTo>
                    <a:pt x="311" y="154"/>
                  </a:lnTo>
                  <a:lnTo>
                    <a:pt x="311" y="158"/>
                  </a:lnTo>
                  <a:lnTo>
                    <a:pt x="309" y="162"/>
                  </a:lnTo>
                  <a:lnTo>
                    <a:pt x="307" y="166"/>
                  </a:lnTo>
                  <a:lnTo>
                    <a:pt x="305" y="170"/>
                  </a:lnTo>
                  <a:lnTo>
                    <a:pt x="305" y="170"/>
                  </a:lnTo>
                  <a:lnTo>
                    <a:pt x="305" y="170"/>
                  </a:lnTo>
                  <a:lnTo>
                    <a:pt x="303" y="170"/>
                  </a:lnTo>
                  <a:lnTo>
                    <a:pt x="301" y="170"/>
                  </a:lnTo>
                  <a:lnTo>
                    <a:pt x="297" y="168"/>
                  </a:lnTo>
                  <a:lnTo>
                    <a:pt x="293" y="166"/>
                  </a:lnTo>
                  <a:lnTo>
                    <a:pt x="293" y="166"/>
                  </a:lnTo>
                  <a:lnTo>
                    <a:pt x="293" y="168"/>
                  </a:lnTo>
                  <a:lnTo>
                    <a:pt x="291" y="172"/>
                  </a:lnTo>
                  <a:lnTo>
                    <a:pt x="289" y="174"/>
                  </a:lnTo>
                  <a:lnTo>
                    <a:pt x="289" y="174"/>
                  </a:lnTo>
                  <a:lnTo>
                    <a:pt x="289" y="174"/>
                  </a:lnTo>
                  <a:lnTo>
                    <a:pt x="289" y="176"/>
                  </a:lnTo>
                  <a:lnTo>
                    <a:pt x="289" y="176"/>
                  </a:lnTo>
                  <a:lnTo>
                    <a:pt x="289" y="178"/>
                  </a:lnTo>
                  <a:lnTo>
                    <a:pt x="289" y="180"/>
                  </a:lnTo>
                  <a:lnTo>
                    <a:pt x="287" y="180"/>
                  </a:lnTo>
                  <a:lnTo>
                    <a:pt x="289" y="186"/>
                  </a:lnTo>
                  <a:lnTo>
                    <a:pt x="289" y="186"/>
                  </a:lnTo>
                  <a:lnTo>
                    <a:pt x="287" y="186"/>
                  </a:lnTo>
                  <a:lnTo>
                    <a:pt x="287" y="189"/>
                  </a:lnTo>
                  <a:lnTo>
                    <a:pt x="287" y="189"/>
                  </a:lnTo>
                  <a:lnTo>
                    <a:pt x="285" y="191"/>
                  </a:lnTo>
                  <a:lnTo>
                    <a:pt x="285" y="191"/>
                  </a:lnTo>
                  <a:lnTo>
                    <a:pt x="285" y="193"/>
                  </a:lnTo>
                  <a:lnTo>
                    <a:pt x="285" y="193"/>
                  </a:lnTo>
                  <a:lnTo>
                    <a:pt x="285" y="195"/>
                  </a:lnTo>
                  <a:lnTo>
                    <a:pt x="283" y="197"/>
                  </a:lnTo>
                  <a:lnTo>
                    <a:pt x="283" y="199"/>
                  </a:lnTo>
                  <a:lnTo>
                    <a:pt x="283" y="199"/>
                  </a:lnTo>
                  <a:lnTo>
                    <a:pt x="283" y="199"/>
                  </a:lnTo>
                  <a:lnTo>
                    <a:pt x="283" y="199"/>
                  </a:lnTo>
                  <a:lnTo>
                    <a:pt x="283" y="203"/>
                  </a:lnTo>
                  <a:lnTo>
                    <a:pt x="283" y="203"/>
                  </a:lnTo>
                  <a:lnTo>
                    <a:pt x="283" y="205"/>
                  </a:lnTo>
                  <a:lnTo>
                    <a:pt x="281" y="207"/>
                  </a:lnTo>
                  <a:lnTo>
                    <a:pt x="281" y="211"/>
                  </a:lnTo>
                  <a:lnTo>
                    <a:pt x="277" y="215"/>
                  </a:lnTo>
                  <a:lnTo>
                    <a:pt x="277" y="215"/>
                  </a:lnTo>
                  <a:lnTo>
                    <a:pt x="277" y="215"/>
                  </a:lnTo>
                  <a:lnTo>
                    <a:pt x="277" y="215"/>
                  </a:lnTo>
                  <a:lnTo>
                    <a:pt x="271" y="215"/>
                  </a:lnTo>
                  <a:lnTo>
                    <a:pt x="266" y="215"/>
                  </a:lnTo>
                  <a:lnTo>
                    <a:pt x="262" y="213"/>
                  </a:lnTo>
                  <a:lnTo>
                    <a:pt x="258" y="213"/>
                  </a:lnTo>
                  <a:lnTo>
                    <a:pt x="258" y="213"/>
                  </a:lnTo>
                  <a:lnTo>
                    <a:pt x="258" y="213"/>
                  </a:lnTo>
                  <a:lnTo>
                    <a:pt x="258" y="213"/>
                  </a:lnTo>
                  <a:lnTo>
                    <a:pt x="258" y="211"/>
                  </a:lnTo>
                  <a:lnTo>
                    <a:pt x="258" y="211"/>
                  </a:lnTo>
                  <a:lnTo>
                    <a:pt x="258" y="211"/>
                  </a:lnTo>
                  <a:lnTo>
                    <a:pt x="258" y="211"/>
                  </a:lnTo>
                  <a:lnTo>
                    <a:pt x="258" y="211"/>
                  </a:lnTo>
                  <a:lnTo>
                    <a:pt x="252" y="205"/>
                  </a:lnTo>
                  <a:lnTo>
                    <a:pt x="252" y="205"/>
                  </a:lnTo>
                  <a:lnTo>
                    <a:pt x="252" y="205"/>
                  </a:lnTo>
                  <a:lnTo>
                    <a:pt x="252" y="205"/>
                  </a:lnTo>
                  <a:lnTo>
                    <a:pt x="244" y="203"/>
                  </a:lnTo>
                  <a:lnTo>
                    <a:pt x="244" y="203"/>
                  </a:lnTo>
                  <a:lnTo>
                    <a:pt x="244" y="205"/>
                  </a:lnTo>
                  <a:lnTo>
                    <a:pt x="244" y="205"/>
                  </a:lnTo>
                  <a:lnTo>
                    <a:pt x="244" y="207"/>
                  </a:lnTo>
                  <a:lnTo>
                    <a:pt x="244" y="207"/>
                  </a:lnTo>
                  <a:lnTo>
                    <a:pt x="244" y="209"/>
                  </a:lnTo>
                  <a:lnTo>
                    <a:pt x="244" y="209"/>
                  </a:lnTo>
                  <a:lnTo>
                    <a:pt x="244" y="209"/>
                  </a:lnTo>
                  <a:lnTo>
                    <a:pt x="244" y="211"/>
                  </a:lnTo>
                  <a:lnTo>
                    <a:pt x="244" y="211"/>
                  </a:lnTo>
                  <a:lnTo>
                    <a:pt x="242" y="213"/>
                  </a:lnTo>
                  <a:lnTo>
                    <a:pt x="242" y="215"/>
                  </a:lnTo>
                  <a:lnTo>
                    <a:pt x="242" y="215"/>
                  </a:lnTo>
                  <a:lnTo>
                    <a:pt x="242" y="219"/>
                  </a:lnTo>
                  <a:lnTo>
                    <a:pt x="242" y="221"/>
                  </a:lnTo>
                  <a:lnTo>
                    <a:pt x="242" y="221"/>
                  </a:lnTo>
                  <a:lnTo>
                    <a:pt x="242" y="223"/>
                  </a:lnTo>
                  <a:lnTo>
                    <a:pt x="242" y="225"/>
                  </a:lnTo>
                  <a:lnTo>
                    <a:pt x="242" y="227"/>
                  </a:lnTo>
                  <a:lnTo>
                    <a:pt x="240" y="229"/>
                  </a:lnTo>
                  <a:lnTo>
                    <a:pt x="240" y="229"/>
                  </a:lnTo>
                  <a:lnTo>
                    <a:pt x="238" y="229"/>
                  </a:lnTo>
                  <a:lnTo>
                    <a:pt x="238" y="229"/>
                  </a:lnTo>
                  <a:lnTo>
                    <a:pt x="238" y="232"/>
                  </a:lnTo>
                  <a:lnTo>
                    <a:pt x="238" y="232"/>
                  </a:lnTo>
                  <a:lnTo>
                    <a:pt x="238" y="234"/>
                  </a:lnTo>
                  <a:lnTo>
                    <a:pt x="238" y="234"/>
                  </a:lnTo>
                  <a:lnTo>
                    <a:pt x="236" y="236"/>
                  </a:lnTo>
                  <a:lnTo>
                    <a:pt x="236" y="236"/>
                  </a:lnTo>
                  <a:lnTo>
                    <a:pt x="238" y="238"/>
                  </a:lnTo>
                  <a:lnTo>
                    <a:pt x="238" y="238"/>
                  </a:lnTo>
                  <a:lnTo>
                    <a:pt x="238" y="238"/>
                  </a:lnTo>
                  <a:lnTo>
                    <a:pt x="238" y="240"/>
                  </a:lnTo>
                  <a:lnTo>
                    <a:pt x="238" y="240"/>
                  </a:lnTo>
                  <a:lnTo>
                    <a:pt x="238" y="240"/>
                  </a:lnTo>
                  <a:lnTo>
                    <a:pt x="236" y="242"/>
                  </a:lnTo>
                  <a:lnTo>
                    <a:pt x="234" y="244"/>
                  </a:lnTo>
                  <a:lnTo>
                    <a:pt x="234" y="244"/>
                  </a:lnTo>
                  <a:lnTo>
                    <a:pt x="232" y="248"/>
                  </a:lnTo>
                  <a:lnTo>
                    <a:pt x="230" y="252"/>
                  </a:lnTo>
                  <a:lnTo>
                    <a:pt x="230" y="252"/>
                  </a:lnTo>
                  <a:lnTo>
                    <a:pt x="230" y="252"/>
                  </a:lnTo>
                  <a:lnTo>
                    <a:pt x="230" y="254"/>
                  </a:lnTo>
                  <a:lnTo>
                    <a:pt x="230" y="254"/>
                  </a:lnTo>
                  <a:lnTo>
                    <a:pt x="230" y="254"/>
                  </a:lnTo>
                  <a:lnTo>
                    <a:pt x="230" y="262"/>
                  </a:lnTo>
                  <a:lnTo>
                    <a:pt x="228" y="266"/>
                  </a:lnTo>
                  <a:lnTo>
                    <a:pt x="225" y="270"/>
                  </a:lnTo>
                  <a:lnTo>
                    <a:pt x="223" y="275"/>
                  </a:lnTo>
                  <a:lnTo>
                    <a:pt x="219" y="281"/>
                  </a:lnTo>
                  <a:lnTo>
                    <a:pt x="217" y="285"/>
                  </a:lnTo>
                  <a:lnTo>
                    <a:pt x="215" y="289"/>
                  </a:lnTo>
                  <a:lnTo>
                    <a:pt x="211" y="295"/>
                  </a:lnTo>
                  <a:lnTo>
                    <a:pt x="211" y="295"/>
                  </a:lnTo>
                  <a:lnTo>
                    <a:pt x="211" y="297"/>
                  </a:lnTo>
                  <a:lnTo>
                    <a:pt x="211" y="297"/>
                  </a:lnTo>
                  <a:lnTo>
                    <a:pt x="209" y="303"/>
                  </a:lnTo>
                  <a:lnTo>
                    <a:pt x="207" y="309"/>
                  </a:lnTo>
                  <a:lnTo>
                    <a:pt x="207" y="309"/>
                  </a:lnTo>
                  <a:lnTo>
                    <a:pt x="207" y="311"/>
                  </a:lnTo>
                  <a:lnTo>
                    <a:pt x="207" y="311"/>
                  </a:lnTo>
                  <a:lnTo>
                    <a:pt x="207" y="311"/>
                  </a:lnTo>
                  <a:lnTo>
                    <a:pt x="209" y="311"/>
                  </a:lnTo>
                  <a:lnTo>
                    <a:pt x="209" y="311"/>
                  </a:lnTo>
                  <a:lnTo>
                    <a:pt x="213" y="314"/>
                  </a:lnTo>
                  <a:lnTo>
                    <a:pt x="213" y="314"/>
                  </a:lnTo>
                  <a:lnTo>
                    <a:pt x="213" y="314"/>
                  </a:lnTo>
                  <a:lnTo>
                    <a:pt x="213" y="316"/>
                  </a:lnTo>
                  <a:lnTo>
                    <a:pt x="213" y="316"/>
                  </a:lnTo>
                  <a:lnTo>
                    <a:pt x="213" y="316"/>
                  </a:lnTo>
                  <a:lnTo>
                    <a:pt x="213" y="318"/>
                  </a:lnTo>
                  <a:lnTo>
                    <a:pt x="211" y="318"/>
                  </a:lnTo>
                  <a:lnTo>
                    <a:pt x="209" y="320"/>
                  </a:lnTo>
                  <a:lnTo>
                    <a:pt x="209" y="320"/>
                  </a:lnTo>
                  <a:lnTo>
                    <a:pt x="209" y="320"/>
                  </a:lnTo>
                  <a:lnTo>
                    <a:pt x="209" y="322"/>
                  </a:lnTo>
                  <a:lnTo>
                    <a:pt x="207" y="322"/>
                  </a:lnTo>
                  <a:lnTo>
                    <a:pt x="207" y="324"/>
                  </a:lnTo>
                  <a:lnTo>
                    <a:pt x="207" y="324"/>
                  </a:lnTo>
                  <a:lnTo>
                    <a:pt x="209" y="324"/>
                  </a:lnTo>
                  <a:lnTo>
                    <a:pt x="209" y="324"/>
                  </a:lnTo>
                  <a:lnTo>
                    <a:pt x="209" y="324"/>
                  </a:lnTo>
                  <a:lnTo>
                    <a:pt x="209" y="326"/>
                  </a:lnTo>
                  <a:lnTo>
                    <a:pt x="211" y="326"/>
                  </a:lnTo>
                  <a:lnTo>
                    <a:pt x="211" y="326"/>
                  </a:lnTo>
                  <a:lnTo>
                    <a:pt x="211" y="328"/>
                  </a:lnTo>
                  <a:lnTo>
                    <a:pt x="209" y="328"/>
                  </a:lnTo>
                  <a:lnTo>
                    <a:pt x="201" y="336"/>
                  </a:lnTo>
                  <a:lnTo>
                    <a:pt x="199" y="338"/>
                  </a:lnTo>
                  <a:lnTo>
                    <a:pt x="199" y="338"/>
                  </a:lnTo>
                  <a:lnTo>
                    <a:pt x="197" y="338"/>
                  </a:lnTo>
                  <a:lnTo>
                    <a:pt x="197" y="338"/>
                  </a:lnTo>
                  <a:lnTo>
                    <a:pt x="197" y="338"/>
                  </a:lnTo>
                  <a:lnTo>
                    <a:pt x="197" y="338"/>
                  </a:lnTo>
                  <a:lnTo>
                    <a:pt x="197" y="338"/>
                  </a:lnTo>
                  <a:lnTo>
                    <a:pt x="195" y="338"/>
                  </a:lnTo>
                  <a:lnTo>
                    <a:pt x="195" y="338"/>
                  </a:lnTo>
                  <a:lnTo>
                    <a:pt x="195" y="338"/>
                  </a:lnTo>
                  <a:lnTo>
                    <a:pt x="195" y="336"/>
                  </a:lnTo>
                  <a:lnTo>
                    <a:pt x="195" y="336"/>
                  </a:lnTo>
                  <a:lnTo>
                    <a:pt x="195" y="336"/>
                  </a:lnTo>
                  <a:lnTo>
                    <a:pt x="195" y="336"/>
                  </a:lnTo>
                  <a:lnTo>
                    <a:pt x="193" y="336"/>
                  </a:lnTo>
                  <a:lnTo>
                    <a:pt x="193" y="336"/>
                  </a:lnTo>
                  <a:lnTo>
                    <a:pt x="191" y="336"/>
                  </a:lnTo>
                  <a:lnTo>
                    <a:pt x="189" y="336"/>
                  </a:lnTo>
                  <a:lnTo>
                    <a:pt x="187" y="338"/>
                  </a:lnTo>
                  <a:lnTo>
                    <a:pt x="182" y="342"/>
                  </a:lnTo>
                  <a:lnTo>
                    <a:pt x="178" y="344"/>
                  </a:lnTo>
                  <a:lnTo>
                    <a:pt x="174" y="348"/>
                  </a:lnTo>
                  <a:lnTo>
                    <a:pt x="174" y="348"/>
                  </a:lnTo>
                  <a:lnTo>
                    <a:pt x="174" y="348"/>
                  </a:lnTo>
                  <a:lnTo>
                    <a:pt x="174" y="348"/>
                  </a:lnTo>
                  <a:lnTo>
                    <a:pt x="174" y="348"/>
                  </a:lnTo>
                  <a:lnTo>
                    <a:pt x="174" y="348"/>
                  </a:lnTo>
                  <a:lnTo>
                    <a:pt x="172" y="348"/>
                  </a:lnTo>
                  <a:lnTo>
                    <a:pt x="172" y="346"/>
                  </a:lnTo>
                  <a:lnTo>
                    <a:pt x="172" y="346"/>
                  </a:lnTo>
                  <a:lnTo>
                    <a:pt x="172" y="346"/>
                  </a:lnTo>
                  <a:lnTo>
                    <a:pt x="170" y="346"/>
                  </a:lnTo>
                  <a:lnTo>
                    <a:pt x="170" y="346"/>
                  </a:lnTo>
                  <a:lnTo>
                    <a:pt x="170" y="346"/>
                  </a:lnTo>
                  <a:lnTo>
                    <a:pt x="170" y="346"/>
                  </a:lnTo>
                  <a:lnTo>
                    <a:pt x="170" y="344"/>
                  </a:lnTo>
                  <a:lnTo>
                    <a:pt x="168" y="344"/>
                  </a:lnTo>
                  <a:lnTo>
                    <a:pt x="168" y="344"/>
                  </a:lnTo>
                  <a:lnTo>
                    <a:pt x="166" y="344"/>
                  </a:lnTo>
                  <a:lnTo>
                    <a:pt x="166" y="344"/>
                  </a:lnTo>
                  <a:lnTo>
                    <a:pt x="164" y="344"/>
                  </a:lnTo>
                  <a:lnTo>
                    <a:pt x="164" y="346"/>
                  </a:lnTo>
                  <a:lnTo>
                    <a:pt x="164" y="346"/>
                  </a:lnTo>
                  <a:lnTo>
                    <a:pt x="162" y="346"/>
                  </a:lnTo>
                  <a:lnTo>
                    <a:pt x="162" y="348"/>
                  </a:lnTo>
                  <a:lnTo>
                    <a:pt x="162" y="348"/>
                  </a:lnTo>
                  <a:lnTo>
                    <a:pt x="162" y="348"/>
                  </a:lnTo>
                  <a:lnTo>
                    <a:pt x="162" y="348"/>
                  </a:lnTo>
                  <a:lnTo>
                    <a:pt x="162" y="350"/>
                  </a:lnTo>
                  <a:lnTo>
                    <a:pt x="162" y="350"/>
                  </a:lnTo>
                  <a:lnTo>
                    <a:pt x="164" y="352"/>
                  </a:lnTo>
                  <a:lnTo>
                    <a:pt x="164" y="352"/>
                  </a:lnTo>
                  <a:lnTo>
                    <a:pt x="164" y="354"/>
                  </a:lnTo>
                  <a:lnTo>
                    <a:pt x="164" y="354"/>
                  </a:lnTo>
                  <a:lnTo>
                    <a:pt x="164" y="357"/>
                  </a:lnTo>
                  <a:lnTo>
                    <a:pt x="164" y="357"/>
                  </a:lnTo>
                  <a:lnTo>
                    <a:pt x="158" y="361"/>
                  </a:lnTo>
                  <a:lnTo>
                    <a:pt x="158" y="361"/>
                  </a:lnTo>
                  <a:lnTo>
                    <a:pt x="158" y="361"/>
                  </a:lnTo>
                  <a:lnTo>
                    <a:pt x="156" y="361"/>
                  </a:lnTo>
                  <a:lnTo>
                    <a:pt x="156" y="361"/>
                  </a:lnTo>
                  <a:lnTo>
                    <a:pt x="154" y="361"/>
                  </a:lnTo>
                  <a:lnTo>
                    <a:pt x="152" y="363"/>
                  </a:lnTo>
                  <a:lnTo>
                    <a:pt x="152" y="363"/>
                  </a:lnTo>
                  <a:lnTo>
                    <a:pt x="144" y="365"/>
                  </a:lnTo>
                  <a:lnTo>
                    <a:pt x="137" y="369"/>
                  </a:lnTo>
                  <a:lnTo>
                    <a:pt x="135" y="371"/>
                  </a:lnTo>
                  <a:lnTo>
                    <a:pt x="135" y="369"/>
                  </a:lnTo>
                  <a:lnTo>
                    <a:pt x="135" y="369"/>
                  </a:lnTo>
                  <a:lnTo>
                    <a:pt x="135" y="369"/>
                  </a:lnTo>
                  <a:lnTo>
                    <a:pt x="135" y="369"/>
                  </a:lnTo>
                  <a:lnTo>
                    <a:pt x="135" y="369"/>
                  </a:lnTo>
                  <a:lnTo>
                    <a:pt x="133" y="369"/>
                  </a:lnTo>
                  <a:lnTo>
                    <a:pt x="133" y="367"/>
                  </a:lnTo>
                  <a:lnTo>
                    <a:pt x="129" y="365"/>
                  </a:lnTo>
                  <a:lnTo>
                    <a:pt x="127" y="365"/>
                  </a:lnTo>
                  <a:lnTo>
                    <a:pt x="127" y="365"/>
                  </a:lnTo>
                  <a:lnTo>
                    <a:pt x="125" y="363"/>
                  </a:lnTo>
                  <a:lnTo>
                    <a:pt x="125" y="363"/>
                  </a:lnTo>
                  <a:lnTo>
                    <a:pt x="125" y="363"/>
                  </a:lnTo>
                  <a:lnTo>
                    <a:pt x="123" y="363"/>
                  </a:lnTo>
                  <a:lnTo>
                    <a:pt x="123" y="363"/>
                  </a:lnTo>
                  <a:lnTo>
                    <a:pt x="121" y="363"/>
                  </a:lnTo>
                  <a:lnTo>
                    <a:pt x="121" y="363"/>
                  </a:lnTo>
                  <a:lnTo>
                    <a:pt x="121" y="365"/>
                  </a:lnTo>
                  <a:lnTo>
                    <a:pt x="121" y="365"/>
                  </a:lnTo>
                  <a:lnTo>
                    <a:pt x="121" y="367"/>
                  </a:lnTo>
                  <a:lnTo>
                    <a:pt x="121" y="367"/>
                  </a:lnTo>
                  <a:lnTo>
                    <a:pt x="119" y="369"/>
                  </a:lnTo>
                  <a:lnTo>
                    <a:pt x="119" y="369"/>
                  </a:lnTo>
                  <a:lnTo>
                    <a:pt x="119" y="371"/>
                  </a:lnTo>
                  <a:lnTo>
                    <a:pt x="115" y="371"/>
                  </a:lnTo>
                  <a:lnTo>
                    <a:pt x="113" y="371"/>
                  </a:lnTo>
                  <a:lnTo>
                    <a:pt x="113" y="371"/>
                  </a:lnTo>
                  <a:lnTo>
                    <a:pt x="113" y="373"/>
                  </a:lnTo>
                  <a:lnTo>
                    <a:pt x="109" y="377"/>
                  </a:lnTo>
                  <a:lnTo>
                    <a:pt x="109" y="379"/>
                  </a:lnTo>
                  <a:lnTo>
                    <a:pt x="109" y="379"/>
                  </a:lnTo>
                  <a:lnTo>
                    <a:pt x="107" y="379"/>
                  </a:lnTo>
                  <a:lnTo>
                    <a:pt x="101" y="379"/>
                  </a:lnTo>
                  <a:lnTo>
                    <a:pt x="101" y="379"/>
                  </a:lnTo>
                  <a:lnTo>
                    <a:pt x="96" y="379"/>
                  </a:lnTo>
                  <a:lnTo>
                    <a:pt x="94" y="377"/>
                  </a:lnTo>
                  <a:lnTo>
                    <a:pt x="94" y="377"/>
                  </a:lnTo>
                  <a:lnTo>
                    <a:pt x="92" y="377"/>
                  </a:lnTo>
                  <a:lnTo>
                    <a:pt x="90" y="375"/>
                  </a:lnTo>
                  <a:lnTo>
                    <a:pt x="90" y="375"/>
                  </a:lnTo>
                  <a:lnTo>
                    <a:pt x="90" y="375"/>
                  </a:lnTo>
                  <a:lnTo>
                    <a:pt x="90" y="373"/>
                  </a:lnTo>
                  <a:lnTo>
                    <a:pt x="90" y="373"/>
                  </a:lnTo>
                  <a:lnTo>
                    <a:pt x="88" y="373"/>
                  </a:lnTo>
                  <a:lnTo>
                    <a:pt x="86" y="373"/>
                  </a:lnTo>
                  <a:lnTo>
                    <a:pt x="86" y="373"/>
                  </a:lnTo>
                  <a:lnTo>
                    <a:pt x="84" y="375"/>
                  </a:lnTo>
                  <a:lnTo>
                    <a:pt x="84" y="373"/>
                  </a:lnTo>
                  <a:lnTo>
                    <a:pt x="82" y="373"/>
                  </a:lnTo>
                  <a:lnTo>
                    <a:pt x="82" y="373"/>
                  </a:lnTo>
                  <a:lnTo>
                    <a:pt x="82" y="373"/>
                  </a:lnTo>
                  <a:lnTo>
                    <a:pt x="82" y="373"/>
                  </a:lnTo>
                  <a:lnTo>
                    <a:pt x="80" y="371"/>
                  </a:lnTo>
                  <a:lnTo>
                    <a:pt x="80" y="371"/>
                  </a:lnTo>
                  <a:lnTo>
                    <a:pt x="80" y="369"/>
                  </a:lnTo>
                  <a:lnTo>
                    <a:pt x="78" y="369"/>
                  </a:lnTo>
                  <a:lnTo>
                    <a:pt x="74" y="367"/>
                  </a:lnTo>
                  <a:lnTo>
                    <a:pt x="74" y="367"/>
                  </a:lnTo>
                  <a:lnTo>
                    <a:pt x="74" y="367"/>
                  </a:lnTo>
                  <a:lnTo>
                    <a:pt x="74" y="365"/>
                  </a:lnTo>
                  <a:lnTo>
                    <a:pt x="74" y="365"/>
                  </a:lnTo>
                  <a:lnTo>
                    <a:pt x="72" y="365"/>
                  </a:lnTo>
                  <a:lnTo>
                    <a:pt x="72" y="363"/>
                  </a:lnTo>
                  <a:lnTo>
                    <a:pt x="72" y="361"/>
                  </a:lnTo>
                  <a:lnTo>
                    <a:pt x="72" y="361"/>
                  </a:lnTo>
                  <a:lnTo>
                    <a:pt x="72" y="361"/>
                  </a:lnTo>
                  <a:lnTo>
                    <a:pt x="72" y="361"/>
                  </a:lnTo>
                  <a:lnTo>
                    <a:pt x="72" y="359"/>
                  </a:lnTo>
                  <a:lnTo>
                    <a:pt x="72" y="359"/>
                  </a:lnTo>
                  <a:lnTo>
                    <a:pt x="72" y="359"/>
                  </a:lnTo>
                  <a:lnTo>
                    <a:pt x="68" y="357"/>
                  </a:lnTo>
                  <a:lnTo>
                    <a:pt x="68" y="357"/>
                  </a:lnTo>
                  <a:lnTo>
                    <a:pt x="68" y="357"/>
                  </a:lnTo>
                  <a:lnTo>
                    <a:pt x="68" y="357"/>
                  </a:lnTo>
                  <a:lnTo>
                    <a:pt x="68" y="354"/>
                  </a:lnTo>
                  <a:lnTo>
                    <a:pt x="68" y="354"/>
                  </a:lnTo>
                  <a:lnTo>
                    <a:pt x="70" y="352"/>
                  </a:lnTo>
                  <a:lnTo>
                    <a:pt x="70" y="352"/>
                  </a:lnTo>
                  <a:lnTo>
                    <a:pt x="70" y="352"/>
                  </a:lnTo>
                  <a:lnTo>
                    <a:pt x="70" y="352"/>
                  </a:lnTo>
                  <a:lnTo>
                    <a:pt x="70" y="352"/>
                  </a:lnTo>
                  <a:lnTo>
                    <a:pt x="70" y="350"/>
                  </a:lnTo>
                  <a:lnTo>
                    <a:pt x="70" y="350"/>
                  </a:lnTo>
                  <a:lnTo>
                    <a:pt x="68" y="350"/>
                  </a:lnTo>
                  <a:lnTo>
                    <a:pt x="68" y="350"/>
                  </a:lnTo>
                  <a:lnTo>
                    <a:pt x="68" y="348"/>
                  </a:lnTo>
                  <a:lnTo>
                    <a:pt x="66" y="348"/>
                  </a:lnTo>
                  <a:lnTo>
                    <a:pt x="66" y="348"/>
                  </a:lnTo>
                  <a:lnTo>
                    <a:pt x="62" y="350"/>
                  </a:lnTo>
                  <a:lnTo>
                    <a:pt x="62" y="350"/>
                  </a:lnTo>
                  <a:lnTo>
                    <a:pt x="53" y="348"/>
                  </a:lnTo>
                  <a:lnTo>
                    <a:pt x="53" y="348"/>
                  </a:lnTo>
                  <a:lnTo>
                    <a:pt x="51" y="348"/>
                  </a:lnTo>
                  <a:lnTo>
                    <a:pt x="51" y="346"/>
                  </a:lnTo>
                  <a:lnTo>
                    <a:pt x="51" y="346"/>
                  </a:lnTo>
                  <a:lnTo>
                    <a:pt x="51" y="346"/>
                  </a:lnTo>
                  <a:lnTo>
                    <a:pt x="51" y="346"/>
                  </a:lnTo>
                  <a:lnTo>
                    <a:pt x="51" y="344"/>
                  </a:lnTo>
                  <a:lnTo>
                    <a:pt x="51" y="344"/>
                  </a:lnTo>
                  <a:lnTo>
                    <a:pt x="47" y="342"/>
                  </a:lnTo>
                  <a:lnTo>
                    <a:pt x="47" y="342"/>
                  </a:lnTo>
                  <a:lnTo>
                    <a:pt x="47" y="342"/>
                  </a:lnTo>
                  <a:lnTo>
                    <a:pt x="45" y="342"/>
                  </a:lnTo>
                  <a:lnTo>
                    <a:pt x="45" y="342"/>
                  </a:lnTo>
                  <a:lnTo>
                    <a:pt x="43" y="340"/>
                  </a:lnTo>
                  <a:lnTo>
                    <a:pt x="43" y="340"/>
                  </a:lnTo>
                  <a:lnTo>
                    <a:pt x="43" y="340"/>
                  </a:lnTo>
                  <a:lnTo>
                    <a:pt x="41" y="340"/>
                  </a:lnTo>
                  <a:lnTo>
                    <a:pt x="37" y="338"/>
                  </a:lnTo>
                  <a:lnTo>
                    <a:pt x="37" y="338"/>
                  </a:lnTo>
                  <a:lnTo>
                    <a:pt x="37" y="338"/>
                  </a:lnTo>
                  <a:lnTo>
                    <a:pt x="37" y="336"/>
                  </a:lnTo>
                  <a:lnTo>
                    <a:pt x="35" y="334"/>
                  </a:lnTo>
                  <a:lnTo>
                    <a:pt x="35" y="332"/>
                  </a:lnTo>
                  <a:lnTo>
                    <a:pt x="35" y="332"/>
                  </a:lnTo>
                  <a:lnTo>
                    <a:pt x="33" y="332"/>
                  </a:lnTo>
                  <a:lnTo>
                    <a:pt x="33" y="330"/>
                  </a:lnTo>
                  <a:lnTo>
                    <a:pt x="25" y="326"/>
                  </a:lnTo>
                  <a:lnTo>
                    <a:pt x="25" y="324"/>
                  </a:lnTo>
                  <a:lnTo>
                    <a:pt x="25" y="324"/>
                  </a:lnTo>
                  <a:lnTo>
                    <a:pt x="25" y="324"/>
                  </a:lnTo>
                  <a:lnTo>
                    <a:pt x="25" y="320"/>
                  </a:lnTo>
                  <a:lnTo>
                    <a:pt x="23" y="320"/>
                  </a:lnTo>
                  <a:lnTo>
                    <a:pt x="23" y="318"/>
                  </a:lnTo>
                  <a:lnTo>
                    <a:pt x="23" y="318"/>
                  </a:lnTo>
                  <a:lnTo>
                    <a:pt x="23" y="318"/>
                  </a:lnTo>
                  <a:lnTo>
                    <a:pt x="21" y="318"/>
                  </a:lnTo>
                  <a:lnTo>
                    <a:pt x="17" y="316"/>
                  </a:lnTo>
                  <a:lnTo>
                    <a:pt x="17" y="314"/>
                  </a:lnTo>
                  <a:lnTo>
                    <a:pt x="17" y="314"/>
                  </a:lnTo>
                  <a:lnTo>
                    <a:pt x="17" y="314"/>
                  </a:lnTo>
                  <a:lnTo>
                    <a:pt x="17" y="311"/>
                  </a:lnTo>
                  <a:lnTo>
                    <a:pt x="19" y="311"/>
                  </a:lnTo>
                  <a:lnTo>
                    <a:pt x="19" y="311"/>
                  </a:lnTo>
                  <a:lnTo>
                    <a:pt x="17" y="309"/>
                  </a:lnTo>
                  <a:lnTo>
                    <a:pt x="17" y="309"/>
                  </a:lnTo>
                  <a:lnTo>
                    <a:pt x="17" y="309"/>
                  </a:lnTo>
                  <a:lnTo>
                    <a:pt x="17" y="309"/>
                  </a:lnTo>
                  <a:lnTo>
                    <a:pt x="10" y="305"/>
                  </a:lnTo>
                  <a:lnTo>
                    <a:pt x="10" y="305"/>
                  </a:lnTo>
                  <a:lnTo>
                    <a:pt x="10" y="303"/>
                  </a:lnTo>
                  <a:lnTo>
                    <a:pt x="8" y="301"/>
                  </a:lnTo>
                  <a:lnTo>
                    <a:pt x="8" y="301"/>
                  </a:lnTo>
                  <a:lnTo>
                    <a:pt x="0" y="293"/>
                  </a:lnTo>
                  <a:lnTo>
                    <a:pt x="0" y="293"/>
                  </a:lnTo>
                  <a:lnTo>
                    <a:pt x="0" y="291"/>
                  </a:lnTo>
                  <a:lnTo>
                    <a:pt x="0" y="291"/>
                  </a:lnTo>
                  <a:lnTo>
                    <a:pt x="0" y="291"/>
                  </a:lnTo>
                  <a:lnTo>
                    <a:pt x="0" y="291"/>
                  </a:lnTo>
                  <a:lnTo>
                    <a:pt x="0" y="291"/>
                  </a:lnTo>
                  <a:lnTo>
                    <a:pt x="2" y="289"/>
                  </a:lnTo>
                  <a:lnTo>
                    <a:pt x="2" y="289"/>
                  </a:lnTo>
                  <a:lnTo>
                    <a:pt x="2" y="287"/>
                  </a:lnTo>
                  <a:lnTo>
                    <a:pt x="2" y="287"/>
                  </a:lnTo>
                  <a:lnTo>
                    <a:pt x="2" y="287"/>
                  </a:lnTo>
                  <a:lnTo>
                    <a:pt x="2" y="285"/>
                  </a:lnTo>
                  <a:lnTo>
                    <a:pt x="2" y="285"/>
                  </a:lnTo>
                  <a:lnTo>
                    <a:pt x="2" y="285"/>
                  </a:lnTo>
                  <a:lnTo>
                    <a:pt x="2" y="283"/>
                  </a:lnTo>
                  <a:lnTo>
                    <a:pt x="2" y="283"/>
                  </a:lnTo>
                  <a:lnTo>
                    <a:pt x="4" y="283"/>
                  </a:lnTo>
                  <a:lnTo>
                    <a:pt x="4" y="283"/>
                  </a:lnTo>
                  <a:lnTo>
                    <a:pt x="4" y="283"/>
                  </a:lnTo>
                  <a:lnTo>
                    <a:pt x="4" y="283"/>
                  </a:lnTo>
                  <a:lnTo>
                    <a:pt x="4" y="281"/>
                  </a:lnTo>
                  <a:lnTo>
                    <a:pt x="4" y="281"/>
                  </a:lnTo>
                  <a:lnTo>
                    <a:pt x="4" y="279"/>
                  </a:lnTo>
                  <a:lnTo>
                    <a:pt x="4" y="277"/>
                  </a:lnTo>
                  <a:lnTo>
                    <a:pt x="4" y="277"/>
                  </a:lnTo>
                  <a:lnTo>
                    <a:pt x="2" y="275"/>
                  </a:lnTo>
                  <a:lnTo>
                    <a:pt x="2" y="275"/>
                  </a:lnTo>
                  <a:lnTo>
                    <a:pt x="0" y="270"/>
                  </a:lnTo>
                  <a:lnTo>
                    <a:pt x="0" y="270"/>
                  </a:lnTo>
                  <a:lnTo>
                    <a:pt x="0" y="270"/>
                  </a:lnTo>
                  <a:lnTo>
                    <a:pt x="0" y="268"/>
                  </a:lnTo>
                  <a:lnTo>
                    <a:pt x="0" y="266"/>
                  </a:lnTo>
                  <a:lnTo>
                    <a:pt x="0" y="264"/>
                  </a:lnTo>
                  <a:lnTo>
                    <a:pt x="0" y="264"/>
                  </a:lnTo>
                  <a:lnTo>
                    <a:pt x="0" y="264"/>
                  </a:lnTo>
                  <a:lnTo>
                    <a:pt x="2" y="266"/>
                  </a:lnTo>
                  <a:lnTo>
                    <a:pt x="6" y="264"/>
                  </a:lnTo>
                  <a:lnTo>
                    <a:pt x="12" y="260"/>
                  </a:lnTo>
                  <a:lnTo>
                    <a:pt x="19" y="260"/>
                  </a:lnTo>
                  <a:lnTo>
                    <a:pt x="21" y="258"/>
                  </a:lnTo>
                  <a:lnTo>
                    <a:pt x="23" y="256"/>
                  </a:lnTo>
                  <a:lnTo>
                    <a:pt x="23" y="254"/>
                  </a:lnTo>
                  <a:lnTo>
                    <a:pt x="23" y="244"/>
                  </a:lnTo>
                  <a:lnTo>
                    <a:pt x="23" y="242"/>
                  </a:lnTo>
                  <a:lnTo>
                    <a:pt x="25" y="242"/>
                  </a:lnTo>
                  <a:lnTo>
                    <a:pt x="29" y="242"/>
                  </a:lnTo>
                  <a:lnTo>
                    <a:pt x="31" y="240"/>
                  </a:lnTo>
                  <a:lnTo>
                    <a:pt x="31" y="238"/>
                  </a:lnTo>
                  <a:lnTo>
                    <a:pt x="31" y="238"/>
                  </a:lnTo>
                  <a:lnTo>
                    <a:pt x="31" y="236"/>
                  </a:lnTo>
                  <a:lnTo>
                    <a:pt x="31" y="236"/>
                  </a:lnTo>
                  <a:lnTo>
                    <a:pt x="29" y="234"/>
                  </a:lnTo>
                  <a:lnTo>
                    <a:pt x="29" y="232"/>
                  </a:lnTo>
                  <a:lnTo>
                    <a:pt x="29" y="229"/>
                  </a:lnTo>
                  <a:lnTo>
                    <a:pt x="29" y="227"/>
                  </a:lnTo>
                  <a:lnTo>
                    <a:pt x="27" y="225"/>
                  </a:lnTo>
                  <a:lnTo>
                    <a:pt x="27" y="225"/>
                  </a:lnTo>
                  <a:lnTo>
                    <a:pt x="25" y="223"/>
                  </a:lnTo>
                  <a:lnTo>
                    <a:pt x="25" y="221"/>
                  </a:lnTo>
                  <a:lnTo>
                    <a:pt x="27" y="219"/>
                  </a:lnTo>
                  <a:lnTo>
                    <a:pt x="29" y="217"/>
                  </a:lnTo>
                  <a:lnTo>
                    <a:pt x="29" y="215"/>
                  </a:lnTo>
                  <a:lnTo>
                    <a:pt x="29" y="213"/>
                  </a:lnTo>
                  <a:lnTo>
                    <a:pt x="29" y="211"/>
                  </a:lnTo>
                  <a:lnTo>
                    <a:pt x="29" y="207"/>
                  </a:lnTo>
                  <a:lnTo>
                    <a:pt x="31" y="205"/>
                  </a:lnTo>
                  <a:lnTo>
                    <a:pt x="33" y="199"/>
                  </a:lnTo>
                  <a:lnTo>
                    <a:pt x="35" y="195"/>
                  </a:lnTo>
                  <a:lnTo>
                    <a:pt x="37" y="193"/>
                  </a:lnTo>
                  <a:lnTo>
                    <a:pt x="39" y="193"/>
                  </a:lnTo>
                  <a:lnTo>
                    <a:pt x="41" y="193"/>
                  </a:lnTo>
                  <a:lnTo>
                    <a:pt x="41" y="195"/>
                  </a:lnTo>
                  <a:lnTo>
                    <a:pt x="45" y="195"/>
                  </a:lnTo>
                  <a:lnTo>
                    <a:pt x="45" y="197"/>
                  </a:lnTo>
                  <a:lnTo>
                    <a:pt x="47" y="199"/>
                  </a:lnTo>
                  <a:lnTo>
                    <a:pt x="47" y="199"/>
                  </a:lnTo>
                  <a:lnTo>
                    <a:pt x="47" y="201"/>
                  </a:lnTo>
                  <a:lnTo>
                    <a:pt x="49" y="201"/>
                  </a:lnTo>
                  <a:lnTo>
                    <a:pt x="49" y="201"/>
                  </a:lnTo>
                  <a:lnTo>
                    <a:pt x="49" y="201"/>
                  </a:lnTo>
                  <a:lnTo>
                    <a:pt x="47" y="203"/>
                  </a:lnTo>
                  <a:lnTo>
                    <a:pt x="47" y="203"/>
                  </a:lnTo>
                  <a:lnTo>
                    <a:pt x="47" y="203"/>
                  </a:lnTo>
                  <a:lnTo>
                    <a:pt x="47" y="205"/>
                  </a:lnTo>
                  <a:lnTo>
                    <a:pt x="47" y="205"/>
                  </a:lnTo>
                  <a:lnTo>
                    <a:pt x="47" y="205"/>
                  </a:lnTo>
                  <a:lnTo>
                    <a:pt x="47" y="207"/>
                  </a:lnTo>
                  <a:lnTo>
                    <a:pt x="49" y="207"/>
                  </a:lnTo>
                  <a:lnTo>
                    <a:pt x="51" y="205"/>
                  </a:lnTo>
                  <a:lnTo>
                    <a:pt x="53" y="203"/>
                  </a:lnTo>
                  <a:lnTo>
                    <a:pt x="53" y="203"/>
                  </a:lnTo>
                  <a:lnTo>
                    <a:pt x="53" y="199"/>
                  </a:lnTo>
                  <a:lnTo>
                    <a:pt x="53" y="199"/>
                  </a:lnTo>
                  <a:lnTo>
                    <a:pt x="55" y="197"/>
                  </a:lnTo>
                  <a:lnTo>
                    <a:pt x="55" y="197"/>
                  </a:lnTo>
                  <a:lnTo>
                    <a:pt x="58" y="199"/>
                  </a:lnTo>
                  <a:lnTo>
                    <a:pt x="58" y="199"/>
                  </a:lnTo>
                  <a:lnTo>
                    <a:pt x="60" y="199"/>
                  </a:lnTo>
                  <a:lnTo>
                    <a:pt x="60" y="197"/>
                  </a:lnTo>
                  <a:lnTo>
                    <a:pt x="60" y="197"/>
                  </a:lnTo>
                  <a:lnTo>
                    <a:pt x="58" y="195"/>
                  </a:lnTo>
                  <a:lnTo>
                    <a:pt x="58" y="191"/>
                  </a:lnTo>
                  <a:lnTo>
                    <a:pt x="58" y="189"/>
                  </a:lnTo>
                  <a:lnTo>
                    <a:pt x="55" y="189"/>
                  </a:lnTo>
                  <a:lnTo>
                    <a:pt x="55" y="189"/>
                  </a:lnTo>
                  <a:lnTo>
                    <a:pt x="55" y="186"/>
                  </a:lnTo>
                  <a:lnTo>
                    <a:pt x="53" y="186"/>
                  </a:lnTo>
                  <a:lnTo>
                    <a:pt x="53" y="186"/>
                  </a:lnTo>
                  <a:lnTo>
                    <a:pt x="53" y="184"/>
                  </a:lnTo>
                  <a:lnTo>
                    <a:pt x="53" y="184"/>
                  </a:lnTo>
                  <a:lnTo>
                    <a:pt x="53" y="184"/>
                  </a:lnTo>
                  <a:lnTo>
                    <a:pt x="58" y="182"/>
                  </a:lnTo>
                  <a:lnTo>
                    <a:pt x="58" y="180"/>
                  </a:lnTo>
                  <a:lnTo>
                    <a:pt x="58" y="178"/>
                  </a:lnTo>
                  <a:lnTo>
                    <a:pt x="58" y="174"/>
                  </a:lnTo>
                  <a:lnTo>
                    <a:pt x="58" y="172"/>
                  </a:lnTo>
                  <a:lnTo>
                    <a:pt x="58" y="172"/>
                  </a:lnTo>
                  <a:lnTo>
                    <a:pt x="60" y="166"/>
                  </a:lnTo>
                  <a:lnTo>
                    <a:pt x="62" y="162"/>
                  </a:lnTo>
                  <a:lnTo>
                    <a:pt x="62" y="162"/>
                  </a:lnTo>
                  <a:lnTo>
                    <a:pt x="64" y="162"/>
                  </a:lnTo>
                  <a:lnTo>
                    <a:pt x="66" y="160"/>
                  </a:lnTo>
                  <a:lnTo>
                    <a:pt x="68" y="160"/>
                  </a:lnTo>
                  <a:lnTo>
                    <a:pt x="68" y="160"/>
                  </a:lnTo>
                  <a:lnTo>
                    <a:pt x="68" y="160"/>
                  </a:lnTo>
                  <a:lnTo>
                    <a:pt x="68" y="160"/>
                  </a:lnTo>
                  <a:lnTo>
                    <a:pt x="70" y="160"/>
                  </a:lnTo>
                  <a:lnTo>
                    <a:pt x="70" y="158"/>
                  </a:lnTo>
                  <a:lnTo>
                    <a:pt x="70" y="154"/>
                  </a:lnTo>
                  <a:lnTo>
                    <a:pt x="70" y="152"/>
                  </a:lnTo>
                  <a:lnTo>
                    <a:pt x="76" y="145"/>
                  </a:lnTo>
                  <a:lnTo>
                    <a:pt x="76" y="145"/>
                  </a:lnTo>
                  <a:lnTo>
                    <a:pt x="80" y="143"/>
                  </a:lnTo>
                  <a:lnTo>
                    <a:pt x="82" y="145"/>
                  </a:lnTo>
                  <a:lnTo>
                    <a:pt x="82" y="148"/>
                  </a:lnTo>
                  <a:lnTo>
                    <a:pt x="84" y="148"/>
                  </a:lnTo>
                  <a:lnTo>
                    <a:pt x="86" y="150"/>
                  </a:lnTo>
                  <a:lnTo>
                    <a:pt x="88" y="150"/>
                  </a:lnTo>
                  <a:lnTo>
                    <a:pt x="90" y="145"/>
                  </a:lnTo>
                  <a:lnTo>
                    <a:pt x="92" y="145"/>
                  </a:lnTo>
                  <a:lnTo>
                    <a:pt x="94" y="143"/>
                  </a:lnTo>
                  <a:lnTo>
                    <a:pt x="94" y="143"/>
                  </a:lnTo>
                  <a:lnTo>
                    <a:pt x="96" y="141"/>
                  </a:lnTo>
                  <a:lnTo>
                    <a:pt x="98" y="141"/>
                  </a:lnTo>
                  <a:lnTo>
                    <a:pt x="101" y="137"/>
                  </a:lnTo>
                  <a:lnTo>
                    <a:pt x="101" y="137"/>
                  </a:lnTo>
                  <a:lnTo>
                    <a:pt x="105" y="135"/>
                  </a:lnTo>
                  <a:lnTo>
                    <a:pt x="105" y="133"/>
                  </a:lnTo>
                  <a:lnTo>
                    <a:pt x="107" y="129"/>
                  </a:lnTo>
                  <a:lnTo>
                    <a:pt x="109" y="125"/>
                  </a:lnTo>
                  <a:lnTo>
                    <a:pt x="117" y="117"/>
                  </a:lnTo>
                  <a:lnTo>
                    <a:pt x="121" y="113"/>
                  </a:lnTo>
                  <a:lnTo>
                    <a:pt x="121" y="113"/>
                  </a:lnTo>
                  <a:lnTo>
                    <a:pt x="123" y="109"/>
                  </a:lnTo>
                  <a:lnTo>
                    <a:pt x="123" y="109"/>
                  </a:lnTo>
                  <a:lnTo>
                    <a:pt x="121" y="107"/>
                  </a:lnTo>
                  <a:lnTo>
                    <a:pt x="121" y="107"/>
                  </a:lnTo>
                  <a:lnTo>
                    <a:pt x="121" y="107"/>
                  </a:lnTo>
                  <a:lnTo>
                    <a:pt x="123" y="104"/>
                  </a:lnTo>
                  <a:lnTo>
                    <a:pt x="123" y="102"/>
                  </a:lnTo>
                  <a:lnTo>
                    <a:pt x="123" y="100"/>
                  </a:lnTo>
                  <a:lnTo>
                    <a:pt x="121" y="100"/>
                  </a:lnTo>
                  <a:lnTo>
                    <a:pt x="121" y="98"/>
                  </a:lnTo>
                  <a:lnTo>
                    <a:pt x="119" y="98"/>
                  </a:lnTo>
                  <a:lnTo>
                    <a:pt x="119" y="96"/>
                  </a:lnTo>
                  <a:lnTo>
                    <a:pt x="121" y="96"/>
                  </a:lnTo>
                  <a:lnTo>
                    <a:pt x="121" y="94"/>
                  </a:lnTo>
                  <a:lnTo>
                    <a:pt x="121" y="92"/>
                  </a:lnTo>
                  <a:lnTo>
                    <a:pt x="121" y="90"/>
                  </a:lnTo>
                  <a:lnTo>
                    <a:pt x="123" y="90"/>
                  </a:lnTo>
                  <a:lnTo>
                    <a:pt x="123" y="88"/>
                  </a:lnTo>
                  <a:lnTo>
                    <a:pt x="123" y="86"/>
                  </a:lnTo>
                  <a:lnTo>
                    <a:pt x="123" y="86"/>
                  </a:lnTo>
                  <a:lnTo>
                    <a:pt x="123" y="84"/>
                  </a:lnTo>
                  <a:lnTo>
                    <a:pt x="123" y="84"/>
                  </a:lnTo>
                  <a:lnTo>
                    <a:pt x="123" y="82"/>
                  </a:lnTo>
                  <a:lnTo>
                    <a:pt x="123" y="80"/>
                  </a:lnTo>
                  <a:lnTo>
                    <a:pt x="123" y="80"/>
                  </a:lnTo>
                  <a:lnTo>
                    <a:pt x="125" y="82"/>
                  </a:lnTo>
                  <a:lnTo>
                    <a:pt x="125" y="80"/>
                  </a:lnTo>
                  <a:lnTo>
                    <a:pt x="125" y="80"/>
                  </a:lnTo>
                  <a:lnTo>
                    <a:pt x="125" y="78"/>
                  </a:lnTo>
                  <a:lnTo>
                    <a:pt x="125" y="78"/>
                  </a:lnTo>
                  <a:lnTo>
                    <a:pt x="125" y="78"/>
                  </a:lnTo>
                  <a:lnTo>
                    <a:pt x="125" y="76"/>
                  </a:lnTo>
                  <a:lnTo>
                    <a:pt x="125" y="74"/>
                  </a:lnTo>
                  <a:lnTo>
                    <a:pt x="125" y="72"/>
                  </a:lnTo>
                  <a:lnTo>
                    <a:pt x="125" y="70"/>
                  </a:lnTo>
                  <a:lnTo>
                    <a:pt x="125" y="66"/>
                  </a:lnTo>
                  <a:lnTo>
                    <a:pt x="125" y="63"/>
                  </a:lnTo>
                  <a:lnTo>
                    <a:pt x="125" y="61"/>
                  </a:lnTo>
                  <a:lnTo>
                    <a:pt x="127" y="57"/>
                  </a:lnTo>
                  <a:lnTo>
                    <a:pt x="127" y="55"/>
                  </a:lnTo>
                  <a:lnTo>
                    <a:pt x="127" y="51"/>
                  </a:lnTo>
                  <a:lnTo>
                    <a:pt x="127" y="49"/>
                  </a:lnTo>
                  <a:lnTo>
                    <a:pt x="127" y="43"/>
                  </a:lnTo>
                  <a:lnTo>
                    <a:pt x="129" y="43"/>
                  </a:lnTo>
                  <a:lnTo>
                    <a:pt x="131" y="41"/>
                  </a:lnTo>
                  <a:lnTo>
                    <a:pt x="131" y="41"/>
                  </a:lnTo>
                  <a:lnTo>
                    <a:pt x="131" y="37"/>
                  </a:lnTo>
                  <a:lnTo>
                    <a:pt x="131" y="37"/>
                  </a:lnTo>
                  <a:lnTo>
                    <a:pt x="131" y="35"/>
                  </a:lnTo>
                  <a:lnTo>
                    <a:pt x="129" y="33"/>
                  </a:lnTo>
                  <a:lnTo>
                    <a:pt x="129" y="31"/>
                  </a:lnTo>
                  <a:lnTo>
                    <a:pt x="129" y="31"/>
                  </a:lnTo>
                  <a:lnTo>
                    <a:pt x="129" y="31"/>
                  </a:lnTo>
                  <a:lnTo>
                    <a:pt x="129" y="31"/>
                  </a:lnTo>
                  <a:lnTo>
                    <a:pt x="129" y="29"/>
                  </a:lnTo>
                  <a:lnTo>
                    <a:pt x="129" y="29"/>
                  </a:lnTo>
                  <a:lnTo>
                    <a:pt x="127" y="29"/>
                  </a:lnTo>
                  <a:lnTo>
                    <a:pt x="127" y="27"/>
                  </a:lnTo>
                  <a:lnTo>
                    <a:pt x="129" y="23"/>
                  </a:lnTo>
                  <a:lnTo>
                    <a:pt x="129" y="20"/>
                  </a:lnTo>
                  <a:lnTo>
                    <a:pt x="127" y="18"/>
                  </a:lnTo>
                  <a:lnTo>
                    <a:pt x="127" y="16"/>
                  </a:lnTo>
                  <a:lnTo>
                    <a:pt x="125" y="14"/>
                  </a:lnTo>
                  <a:lnTo>
                    <a:pt x="121" y="10"/>
                  </a:lnTo>
                  <a:lnTo>
                    <a:pt x="121" y="8"/>
                  </a:lnTo>
                  <a:lnTo>
                    <a:pt x="121" y="6"/>
                  </a:lnTo>
                  <a:lnTo>
                    <a:pt x="123" y="6"/>
                  </a:lnTo>
                  <a:lnTo>
                    <a:pt x="123" y="4"/>
                  </a:lnTo>
                  <a:lnTo>
                    <a:pt x="127" y="4"/>
                  </a:lnTo>
                  <a:lnTo>
                    <a:pt x="127" y="4"/>
                  </a:lnTo>
                  <a:lnTo>
                    <a:pt x="131" y="2"/>
                  </a:lnTo>
                  <a:lnTo>
                    <a:pt x="131" y="0"/>
                  </a:lnTo>
                  <a:lnTo>
                    <a:pt x="131" y="0"/>
                  </a:lnTo>
                  <a:lnTo>
                    <a:pt x="131" y="0"/>
                  </a:lnTo>
                  <a:lnTo>
                    <a:pt x="131" y="0"/>
                  </a:lnTo>
                  <a:lnTo>
                    <a:pt x="131" y="0"/>
                  </a:lnTo>
                  <a:lnTo>
                    <a:pt x="131" y="2"/>
                  </a:lnTo>
                  <a:lnTo>
                    <a:pt x="131" y="2"/>
                  </a:lnTo>
                  <a:lnTo>
                    <a:pt x="131" y="2"/>
                  </a:lnTo>
                  <a:lnTo>
                    <a:pt x="131" y="2"/>
                  </a:lnTo>
                  <a:lnTo>
                    <a:pt x="133" y="10"/>
                  </a:lnTo>
                  <a:lnTo>
                    <a:pt x="135" y="18"/>
                  </a:lnTo>
                  <a:lnTo>
                    <a:pt x="137" y="27"/>
                  </a:lnTo>
                  <a:lnTo>
                    <a:pt x="137" y="35"/>
                  </a:lnTo>
                  <a:lnTo>
                    <a:pt x="139" y="43"/>
                  </a:lnTo>
                  <a:lnTo>
                    <a:pt x="141" y="51"/>
                  </a:lnTo>
                  <a:lnTo>
                    <a:pt x="144" y="59"/>
                  </a:lnTo>
                  <a:lnTo>
                    <a:pt x="144" y="70"/>
                  </a:lnTo>
                  <a:lnTo>
                    <a:pt x="146" y="76"/>
                  </a:lnTo>
                  <a:lnTo>
                    <a:pt x="148" y="84"/>
                  </a:lnTo>
                  <a:lnTo>
                    <a:pt x="148" y="90"/>
                  </a:lnTo>
                  <a:lnTo>
                    <a:pt x="150" y="98"/>
                  </a:lnTo>
                  <a:lnTo>
                    <a:pt x="160" y="96"/>
                  </a:lnTo>
                  <a:lnTo>
                    <a:pt x="170" y="94"/>
                  </a:lnTo>
                  <a:lnTo>
                    <a:pt x="182" y="92"/>
                  </a:lnTo>
                  <a:lnTo>
                    <a:pt x="193" y="90"/>
                  </a:lnTo>
                  <a:lnTo>
                    <a:pt x="203" y="88"/>
                  </a:lnTo>
                  <a:lnTo>
                    <a:pt x="213" y="86"/>
                  </a:lnTo>
                  <a:lnTo>
                    <a:pt x="225" y="84"/>
                  </a:lnTo>
                  <a:lnTo>
                    <a:pt x="236" y="82"/>
                  </a:lnTo>
                  <a:lnTo>
                    <a:pt x="236" y="82"/>
                  </a:lnTo>
                  <a:close/>
                </a:path>
              </a:pathLst>
            </a:custGeom>
            <a:solidFill>
              <a:schemeClr val="accent1"/>
            </a:solidFill>
            <a:ln w="3175" cap="rnd">
              <a:solidFill>
                <a:schemeClr val="bg1"/>
              </a:solidFill>
              <a:prstDash val="solid"/>
              <a:round/>
              <a:headEnd/>
              <a:tailEnd/>
            </a:ln>
          </p:spPr>
          <p:txBody>
            <a:bodyPr vert="horz" wrap="square" lIns="0" tIns="144000" rIns="144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WV</a:t>
              </a:r>
            </a:p>
          </p:txBody>
        </p:sp>
        <p:sp>
          <p:nvSpPr>
            <p:cNvPr id="67" name="Freeform 7">
              <a:extLst>
                <a:ext uri="{FF2B5EF4-FFF2-40B4-BE49-F238E27FC236}">
                  <a16:creationId xmlns:a16="http://schemas.microsoft.com/office/drawing/2014/main" id="{B4D06EF0-6D16-B911-C65F-CCF4DA420AC9}"/>
                </a:ext>
              </a:extLst>
            </p:cNvPr>
            <p:cNvSpPr>
              <a:spLocks noEditPoints="1"/>
            </p:cNvSpPr>
            <p:nvPr/>
          </p:nvSpPr>
          <p:spPr bwMode="auto">
            <a:xfrm>
              <a:off x="3283" y="345"/>
              <a:ext cx="475" cy="478"/>
            </a:xfrm>
            <a:custGeom>
              <a:avLst/>
              <a:gdLst>
                <a:gd name="T0" fmla="*/ 167 w 475"/>
                <a:gd name="T1" fmla="*/ 23 h 478"/>
                <a:gd name="T2" fmla="*/ 172 w 475"/>
                <a:gd name="T3" fmla="*/ 13 h 478"/>
                <a:gd name="T4" fmla="*/ 139 w 475"/>
                <a:gd name="T5" fmla="*/ 17 h 478"/>
                <a:gd name="T6" fmla="*/ 417 w 475"/>
                <a:gd name="T7" fmla="*/ 213 h 478"/>
                <a:gd name="T8" fmla="*/ 395 w 475"/>
                <a:gd name="T9" fmla="*/ 244 h 478"/>
                <a:gd name="T10" fmla="*/ 395 w 475"/>
                <a:gd name="T11" fmla="*/ 226 h 478"/>
                <a:gd name="T12" fmla="*/ 415 w 475"/>
                <a:gd name="T13" fmla="*/ 197 h 478"/>
                <a:gd name="T14" fmla="*/ 409 w 475"/>
                <a:gd name="T15" fmla="*/ 177 h 478"/>
                <a:gd name="T16" fmla="*/ 409 w 475"/>
                <a:gd name="T17" fmla="*/ 154 h 478"/>
                <a:gd name="T18" fmla="*/ 395 w 475"/>
                <a:gd name="T19" fmla="*/ 158 h 478"/>
                <a:gd name="T20" fmla="*/ 399 w 475"/>
                <a:gd name="T21" fmla="*/ 144 h 478"/>
                <a:gd name="T22" fmla="*/ 397 w 475"/>
                <a:gd name="T23" fmla="*/ 127 h 478"/>
                <a:gd name="T24" fmla="*/ 389 w 475"/>
                <a:gd name="T25" fmla="*/ 119 h 478"/>
                <a:gd name="T26" fmla="*/ 376 w 475"/>
                <a:gd name="T27" fmla="*/ 117 h 478"/>
                <a:gd name="T28" fmla="*/ 370 w 475"/>
                <a:gd name="T29" fmla="*/ 103 h 478"/>
                <a:gd name="T30" fmla="*/ 354 w 475"/>
                <a:gd name="T31" fmla="*/ 99 h 478"/>
                <a:gd name="T32" fmla="*/ 339 w 475"/>
                <a:gd name="T33" fmla="*/ 97 h 478"/>
                <a:gd name="T34" fmla="*/ 325 w 475"/>
                <a:gd name="T35" fmla="*/ 97 h 478"/>
                <a:gd name="T36" fmla="*/ 311 w 475"/>
                <a:gd name="T37" fmla="*/ 97 h 478"/>
                <a:gd name="T38" fmla="*/ 243 w 475"/>
                <a:gd name="T39" fmla="*/ 80 h 478"/>
                <a:gd name="T40" fmla="*/ 202 w 475"/>
                <a:gd name="T41" fmla="*/ 60 h 478"/>
                <a:gd name="T42" fmla="*/ 190 w 475"/>
                <a:gd name="T43" fmla="*/ 56 h 478"/>
                <a:gd name="T44" fmla="*/ 157 w 475"/>
                <a:gd name="T45" fmla="*/ 41 h 478"/>
                <a:gd name="T46" fmla="*/ 145 w 475"/>
                <a:gd name="T47" fmla="*/ 50 h 478"/>
                <a:gd name="T48" fmla="*/ 155 w 475"/>
                <a:gd name="T49" fmla="*/ 21 h 478"/>
                <a:gd name="T50" fmla="*/ 145 w 475"/>
                <a:gd name="T51" fmla="*/ 17 h 478"/>
                <a:gd name="T52" fmla="*/ 133 w 475"/>
                <a:gd name="T53" fmla="*/ 23 h 478"/>
                <a:gd name="T54" fmla="*/ 122 w 475"/>
                <a:gd name="T55" fmla="*/ 29 h 478"/>
                <a:gd name="T56" fmla="*/ 57 w 475"/>
                <a:gd name="T57" fmla="*/ 47 h 478"/>
                <a:gd name="T58" fmla="*/ 47 w 475"/>
                <a:gd name="T59" fmla="*/ 52 h 478"/>
                <a:gd name="T60" fmla="*/ 40 w 475"/>
                <a:gd name="T61" fmla="*/ 78 h 478"/>
                <a:gd name="T62" fmla="*/ 34 w 475"/>
                <a:gd name="T63" fmla="*/ 121 h 478"/>
                <a:gd name="T64" fmla="*/ 16 w 475"/>
                <a:gd name="T65" fmla="*/ 134 h 478"/>
                <a:gd name="T66" fmla="*/ 12 w 475"/>
                <a:gd name="T67" fmla="*/ 173 h 478"/>
                <a:gd name="T68" fmla="*/ 12 w 475"/>
                <a:gd name="T69" fmla="*/ 203 h 478"/>
                <a:gd name="T70" fmla="*/ 16 w 475"/>
                <a:gd name="T71" fmla="*/ 238 h 478"/>
                <a:gd name="T72" fmla="*/ 45 w 475"/>
                <a:gd name="T73" fmla="*/ 271 h 478"/>
                <a:gd name="T74" fmla="*/ 108 w 475"/>
                <a:gd name="T75" fmla="*/ 322 h 478"/>
                <a:gd name="T76" fmla="*/ 133 w 475"/>
                <a:gd name="T77" fmla="*/ 332 h 478"/>
                <a:gd name="T78" fmla="*/ 145 w 475"/>
                <a:gd name="T79" fmla="*/ 351 h 478"/>
                <a:gd name="T80" fmla="*/ 147 w 475"/>
                <a:gd name="T81" fmla="*/ 379 h 478"/>
                <a:gd name="T82" fmla="*/ 155 w 475"/>
                <a:gd name="T83" fmla="*/ 414 h 478"/>
                <a:gd name="T84" fmla="*/ 169 w 475"/>
                <a:gd name="T85" fmla="*/ 459 h 478"/>
                <a:gd name="T86" fmla="*/ 204 w 475"/>
                <a:gd name="T87" fmla="*/ 478 h 478"/>
                <a:gd name="T88" fmla="*/ 247 w 475"/>
                <a:gd name="T89" fmla="*/ 476 h 478"/>
                <a:gd name="T90" fmla="*/ 432 w 475"/>
                <a:gd name="T91" fmla="*/ 449 h 478"/>
                <a:gd name="T92" fmla="*/ 426 w 475"/>
                <a:gd name="T93" fmla="*/ 410 h 478"/>
                <a:gd name="T94" fmla="*/ 419 w 475"/>
                <a:gd name="T95" fmla="*/ 384 h 478"/>
                <a:gd name="T96" fmla="*/ 428 w 475"/>
                <a:gd name="T97" fmla="*/ 328 h 478"/>
                <a:gd name="T98" fmla="*/ 426 w 475"/>
                <a:gd name="T99" fmla="*/ 298 h 478"/>
                <a:gd name="T100" fmla="*/ 434 w 475"/>
                <a:gd name="T101" fmla="*/ 259 h 478"/>
                <a:gd name="T102" fmla="*/ 157 w 475"/>
                <a:gd name="T103" fmla="*/ 19 h 478"/>
                <a:gd name="T104" fmla="*/ 182 w 475"/>
                <a:gd name="T105" fmla="*/ 2 h 478"/>
                <a:gd name="T106" fmla="*/ 473 w 475"/>
                <a:gd name="T107" fmla="*/ 144 h 478"/>
                <a:gd name="T108" fmla="*/ 475 w 475"/>
                <a:gd name="T109" fmla="*/ 152 h 478"/>
                <a:gd name="T110" fmla="*/ 458 w 475"/>
                <a:gd name="T111" fmla="*/ 160 h 478"/>
                <a:gd name="T112" fmla="*/ 446 w 475"/>
                <a:gd name="T113" fmla="*/ 175 h 478"/>
                <a:gd name="T114" fmla="*/ 440 w 475"/>
                <a:gd name="T115" fmla="*/ 207 h 478"/>
                <a:gd name="T116" fmla="*/ 458 w 475"/>
                <a:gd name="T117" fmla="*/ 183 h 478"/>
                <a:gd name="T118" fmla="*/ 460 w 475"/>
                <a:gd name="T119" fmla="*/ 173 h 478"/>
                <a:gd name="T120" fmla="*/ 466 w 475"/>
                <a:gd name="T121" fmla="*/ 16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5" h="478">
                  <a:moveTo>
                    <a:pt x="153" y="33"/>
                  </a:moveTo>
                  <a:lnTo>
                    <a:pt x="155" y="35"/>
                  </a:lnTo>
                  <a:lnTo>
                    <a:pt x="155" y="37"/>
                  </a:lnTo>
                  <a:lnTo>
                    <a:pt x="159" y="33"/>
                  </a:lnTo>
                  <a:lnTo>
                    <a:pt x="163" y="33"/>
                  </a:lnTo>
                  <a:lnTo>
                    <a:pt x="163" y="31"/>
                  </a:lnTo>
                  <a:lnTo>
                    <a:pt x="163" y="31"/>
                  </a:lnTo>
                  <a:lnTo>
                    <a:pt x="163" y="29"/>
                  </a:lnTo>
                  <a:lnTo>
                    <a:pt x="165" y="27"/>
                  </a:lnTo>
                  <a:lnTo>
                    <a:pt x="167" y="27"/>
                  </a:lnTo>
                  <a:lnTo>
                    <a:pt x="169" y="27"/>
                  </a:lnTo>
                  <a:lnTo>
                    <a:pt x="169" y="25"/>
                  </a:lnTo>
                  <a:lnTo>
                    <a:pt x="169" y="25"/>
                  </a:lnTo>
                  <a:lnTo>
                    <a:pt x="167" y="23"/>
                  </a:lnTo>
                  <a:lnTo>
                    <a:pt x="167" y="23"/>
                  </a:lnTo>
                  <a:lnTo>
                    <a:pt x="163" y="25"/>
                  </a:lnTo>
                  <a:lnTo>
                    <a:pt x="161" y="27"/>
                  </a:lnTo>
                  <a:lnTo>
                    <a:pt x="161" y="29"/>
                  </a:lnTo>
                  <a:lnTo>
                    <a:pt x="155" y="31"/>
                  </a:lnTo>
                  <a:lnTo>
                    <a:pt x="153" y="33"/>
                  </a:lnTo>
                  <a:close/>
                  <a:moveTo>
                    <a:pt x="167" y="19"/>
                  </a:moveTo>
                  <a:lnTo>
                    <a:pt x="169" y="19"/>
                  </a:lnTo>
                  <a:lnTo>
                    <a:pt x="172" y="19"/>
                  </a:lnTo>
                  <a:lnTo>
                    <a:pt x="172" y="19"/>
                  </a:lnTo>
                  <a:lnTo>
                    <a:pt x="172" y="17"/>
                  </a:lnTo>
                  <a:lnTo>
                    <a:pt x="172" y="17"/>
                  </a:lnTo>
                  <a:lnTo>
                    <a:pt x="172" y="15"/>
                  </a:lnTo>
                  <a:lnTo>
                    <a:pt x="174" y="15"/>
                  </a:lnTo>
                  <a:lnTo>
                    <a:pt x="174" y="13"/>
                  </a:lnTo>
                  <a:lnTo>
                    <a:pt x="172" y="13"/>
                  </a:lnTo>
                  <a:lnTo>
                    <a:pt x="169" y="15"/>
                  </a:lnTo>
                  <a:lnTo>
                    <a:pt x="165" y="15"/>
                  </a:lnTo>
                  <a:lnTo>
                    <a:pt x="163" y="17"/>
                  </a:lnTo>
                  <a:lnTo>
                    <a:pt x="163" y="19"/>
                  </a:lnTo>
                  <a:lnTo>
                    <a:pt x="163" y="19"/>
                  </a:lnTo>
                  <a:lnTo>
                    <a:pt x="167" y="19"/>
                  </a:lnTo>
                  <a:close/>
                  <a:moveTo>
                    <a:pt x="139" y="17"/>
                  </a:moveTo>
                  <a:lnTo>
                    <a:pt x="141" y="15"/>
                  </a:lnTo>
                  <a:lnTo>
                    <a:pt x="141" y="15"/>
                  </a:lnTo>
                  <a:lnTo>
                    <a:pt x="143" y="13"/>
                  </a:lnTo>
                  <a:lnTo>
                    <a:pt x="141" y="11"/>
                  </a:lnTo>
                  <a:lnTo>
                    <a:pt x="141" y="13"/>
                  </a:lnTo>
                  <a:lnTo>
                    <a:pt x="139" y="15"/>
                  </a:lnTo>
                  <a:lnTo>
                    <a:pt x="139" y="15"/>
                  </a:lnTo>
                  <a:lnTo>
                    <a:pt x="139" y="17"/>
                  </a:lnTo>
                  <a:close/>
                  <a:moveTo>
                    <a:pt x="444" y="211"/>
                  </a:moveTo>
                  <a:lnTo>
                    <a:pt x="442" y="211"/>
                  </a:lnTo>
                  <a:lnTo>
                    <a:pt x="440" y="209"/>
                  </a:lnTo>
                  <a:lnTo>
                    <a:pt x="436" y="205"/>
                  </a:lnTo>
                  <a:lnTo>
                    <a:pt x="434" y="205"/>
                  </a:lnTo>
                  <a:lnTo>
                    <a:pt x="432" y="205"/>
                  </a:lnTo>
                  <a:lnTo>
                    <a:pt x="432" y="207"/>
                  </a:lnTo>
                  <a:lnTo>
                    <a:pt x="430" y="207"/>
                  </a:lnTo>
                  <a:lnTo>
                    <a:pt x="426" y="209"/>
                  </a:lnTo>
                  <a:lnTo>
                    <a:pt x="426" y="211"/>
                  </a:lnTo>
                  <a:lnTo>
                    <a:pt x="426" y="209"/>
                  </a:lnTo>
                  <a:lnTo>
                    <a:pt x="423" y="209"/>
                  </a:lnTo>
                  <a:lnTo>
                    <a:pt x="421" y="211"/>
                  </a:lnTo>
                  <a:lnTo>
                    <a:pt x="419" y="211"/>
                  </a:lnTo>
                  <a:lnTo>
                    <a:pt x="417" y="213"/>
                  </a:lnTo>
                  <a:lnTo>
                    <a:pt x="415" y="220"/>
                  </a:lnTo>
                  <a:lnTo>
                    <a:pt x="413" y="224"/>
                  </a:lnTo>
                  <a:lnTo>
                    <a:pt x="415" y="226"/>
                  </a:lnTo>
                  <a:lnTo>
                    <a:pt x="413" y="228"/>
                  </a:lnTo>
                  <a:lnTo>
                    <a:pt x="413" y="230"/>
                  </a:lnTo>
                  <a:lnTo>
                    <a:pt x="413" y="230"/>
                  </a:lnTo>
                  <a:lnTo>
                    <a:pt x="411" y="232"/>
                  </a:lnTo>
                  <a:lnTo>
                    <a:pt x="407" y="234"/>
                  </a:lnTo>
                  <a:lnTo>
                    <a:pt x="403" y="238"/>
                  </a:lnTo>
                  <a:lnTo>
                    <a:pt x="401" y="238"/>
                  </a:lnTo>
                  <a:lnTo>
                    <a:pt x="401" y="240"/>
                  </a:lnTo>
                  <a:lnTo>
                    <a:pt x="401" y="244"/>
                  </a:lnTo>
                  <a:lnTo>
                    <a:pt x="399" y="244"/>
                  </a:lnTo>
                  <a:lnTo>
                    <a:pt x="397" y="244"/>
                  </a:lnTo>
                  <a:lnTo>
                    <a:pt x="395" y="244"/>
                  </a:lnTo>
                  <a:lnTo>
                    <a:pt x="393" y="244"/>
                  </a:lnTo>
                  <a:lnTo>
                    <a:pt x="393" y="242"/>
                  </a:lnTo>
                  <a:lnTo>
                    <a:pt x="391" y="242"/>
                  </a:lnTo>
                  <a:lnTo>
                    <a:pt x="391" y="240"/>
                  </a:lnTo>
                  <a:lnTo>
                    <a:pt x="393" y="238"/>
                  </a:lnTo>
                  <a:lnTo>
                    <a:pt x="393" y="236"/>
                  </a:lnTo>
                  <a:lnTo>
                    <a:pt x="393" y="234"/>
                  </a:lnTo>
                  <a:lnTo>
                    <a:pt x="393" y="234"/>
                  </a:lnTo>
                  <a:lnTo>
                    <a:pt x="393" y="232"/>
                  </a:lnTo>
                  <a:lnTo>
                    <a:pt x="395" y="232"/>
                  </a:lnTo>
                  <a:lnTo>
                    <a:pt x="395" y="232"/>
                  </a:lnTo>
                  <a:lnTo>
                    <a:pt x="393" y="230"/>
                  </a:lnTo>
                  <a:lnTo>
                    <a:pt x="393" y="230"/>
                  </a:lnTo>
                  <a:lnTo>
                    <a:pt x="393" y="226"/>
                  </a:lnTo>
                  <a:lnTo>
                    <a:pt x="395" y="226"/>
                  </a:lnTo>
                  <a:lnTo>
                    <a:pt x="395" y="224"/>
                  </a:lnTo>
                  <a:lnTo>
                    <a:pt x="397" y="222"/>
                  </a:lnTo>
                  <a:lnTo>
                    <a:pt x="397" y="222"/>
                  </a:lnTo>
                  <a:lnTo>
                    <a:pt x="397" y="220"/>
                  </a:lnTo>
                  <a:lnTo>
                    <a:pt x="397" y="220"/>
                  </a:lnTo>
                  <a:lnTo>
                    <a:pt x="397" y="218"/>
                  </a:lnTo>
                  <a:lnTo>
                    <a:pt x="399" y="218"/>
                  </a:lnTo>
                  <a:lnTo>
                    <a:pt x="399" y="216"/>
                  </a:lnTo>
                  <a:lnTo>
                    <a:pt x="403" y="209"/>
                  </a:lnTo>
                  <a:lnTo>
                    <a:pt x="403" y="207"/>
                  </a:lnTo>
                  <a:lnTo>
                    <a:pt x="403" y="205"/>
                  </a:lnTo>
                  <a:lnTo>
                    <a:pt x="403" y="201"/>
                  </a:lnTo>
                  <a:lnTo>
                    <a:pt x="407" y="199"/>
                  </a:lnTo>
                  <a:lnTo>
                    <a:pt x="413" y="197"/>
                  </a:lnTo>
                  <a:lnTo>
                    <a:pt x="415" y="197"/>
                  </a:lnTo>
                  <a:lnTo>
                    <a:pt x="417" y="195"/>
                  </a:lnTo>
                  <a:lnTo>
                    <a:pt x="417" y="193"/>
                  </a:lnTo>
                  <a:lnTo>
                    <a:pt x="417" y="191"/>
                  </a:lnTo>
                  <a:lnTo>
                    <a:pt x="417" y="189"/>
                  </a:lnTo>
                  <a:lnTo>
                    <a:pt x="417" y="189"/>
                  </a:lnTo>
                  <a:lnTo>
                    <a:pt x="417" y="187"/>
                  </a:lnTo>
                  <a:lnTo>
                    <a:pt x="419" y="185"/>
                  </a:lnTo>
                  <a:lnTo>
                    <a:pt x="419" y="183"/>
                  </a:lnTo>
                  <a:lnTo>
                    <a:pt x="415" y="183"/>
                  </a:lnTo>
                  <a:lnTo>
                    <a:pt x="413" y="181"/>
                  </a:lnTo>
                  <a:lnTo>
                    <a:pt x="413" y="181"/>
                  </a:lnTo>
                  <a:lnTo>
                    <a:pt x="413" y="181"/>
                  </a:lnTo>
                  <a:lnTo>
                    <a:pt x="411" y="179"/>
                  </a:lnTo>
                  <a:lnTo>
                    <a:pt x="411" y="177"/>
                  </a:lnTo>
                  <a:lnTo>
                    <a:pt x="409" y="177"/>
                  </a:lnTo>
                  <a:lnTo>
                    <a:pt x="409" y="175"/>
                  </a:lnTo>
                  <a:lnTo>
                    <a:pt x="407" y="175"/>
                  </a:lnTo>
                  <a:lnTo>
                    <a:pt x="407" y="170"/>
                  </a:lnTo>
                  <a:lnTo>
                    <a:pt x="409" y="170"/>
                  </a:lnTo>
                  <a:lnTo>
                    <a:pt x="409" y="166"/>
                  </a:lnTo>
                  <a:lnTo>
                    <a:pt x="411" y="160"/>
                  </a:lnTo>
                  <a:lnTo>
                    <a:pt x="411" y="160"/>
                  </a:lnTo>
                  <a:lnTo>
                    <a:pt x="413" y="158"/>
                  </a:lnTo>
                  <a:lnTo>
                    <a:pt x="413" y="158"/>
                  </a:lnTo>
                  <a:lnTo>
                    <a:pt x="413" y="158"/>
                  </a:lnTo>
                  <a:lnTo>
                    <a:pt x="413" y="156"/>
                  </a:lnTo>
                  <a:lnTo>
                    <a:pt x="411" y="156"/>
                  </a:lnTo>
                  <a:lnTo>
                    <a:pt x="411" y="156"/>
                  </a:lnTo>
                  <a:lnTo>
                    <a:pt x="411" y="154"/>
                  </a:lnTo>
                  <a:lnTo>
                    <a:pt x="409" y="154"/>
                  </a:lnTo>
                  <a:lnTo>
                    <a:pt x="409" y="154"/>
                  </a:lnTo>
                  <a:lnTo>
                    <a:pt x="409" y="154"/>
                  </a:lnTo>
                  <a:lnTo>
                    <a:pt x="403" y="158"/>
                  </a:lnTo>
                  <a:lnTo>
                    <a:pt x="403" y="158"/>
                  </a:lnTo>
                  <a:lnTo>
                    <a:pt x="403" y="158"/>
                  </a:lnTo>
                  <a:lnTo>
                    <a:pt x="401" y="158"/>
                  </a:lnTo>
                  <a:lnTo>
                    <a:pt x="399" y="158"/>
                  </a:lnTo>
                  <a:lnTo>
                    <a:pt x="399" y="158"/>
                  </a:lnTo>
                  <a:lnTo>
                    <a:pt x="399" y="158"/>
                  </a:lnTo>
                  <a:lnTo>
                    <a:pt x="399" y="158"/>
                  </a:lnTo>
                  <a:lnTo>
                    <a:pt x="397" y="160"/>
                  </a:lnTo>
                  <a:lnTo>
                    <a:pt x="397" y="160"/>
                  </a:lnTo>
                  <a:lnTo>
                    <a:pt x="395" y="158"/>
                  </a:lnTo>
                  <a:lnTo>
                    <a:pt x="395" y="158"/>
                  </a:lnTo>
                  <a:lnTo>
                    <a:pt x="395" y="158"/>
                  </a:lnTo>
                  <a:lnTo>
                    <a:pt x="395" y="156"/>
                  </a:lnTo>
                  <a:lnTo>
                    <a:pt x="395" y="154"/>
                  </a:lnTo>
                  <a:lnTo>
                    <a:pt x="395" y="154"/>
                  </a:lnTo>
                  <a:lnTo>
                    <a:pt x="395" y="152"/>
                  </a:lnTo>
                  <a:lnTo>
                    <a:pt x="395" y="152"/>
                  </a:lnTo>
                  <a:lnTo>
                    <a:pt x="395" y="150"/>
                  </a:lnTo>
                  <a:lnTo>
                    <a:pt x="395" y="150"/>
                  </a:lnTo>
                  <a:lnTo>
                    <a:pt x="395" y="150"/>
                  </a:lnTo>
                  <a:lnTo>
                    <a:pt x="397" y="148"/>
                  </a:lnTo>
                  <a:lnTo>
                    <a:pt x="399" y="148"/>
                  </a:lnTo>
                  <a:lnTo>
                    <a:pt x="399" y="146"/>
                  </a:lnTo>
                  <a:lnTo>
                    <a:pt x="399" y="146"/>
                  </a:lnTo>
                  <a:lnTo>
                    <a:pt x="399" y="144"/>
                  </a:lnTo>
                  <a:lnTo>
                    <a:pt x="399" y="144"/>
                  </a:lnTo>
                  <a:lnTo>
                    <a:pt x="399" y="144"/>
                  </a:lnTo>
                  <a:lnTo>
                    <a:pt x="399" y="144"/>
                  </a:lnTo>
                  <a:lnTo>
                    <a:pt x="399" y="140"/>
                  </a:lnTo>
                  <a:lnTo>
                    <a:pt x="397" y="138"/>
                  </a:lnTo>
                  <a:lnTo>
                    <a:pt x="397" y="138"/>
                  </a:lnTo>
                  <a:lnTo>
                    <a:pt x="397" y="136"/>
                  </a:lnTo>
                  <a:lnTo>
                    <a:pt x="399" y="136"/>
                  </a:lnTo>
                  <a:lnTo>
                    <a:pt x="399" y="136"/>
                  </a:lnTo>
                  <a:lnTo>
                    <a:pt x="399" y="136"/>
                  </a:lnTo>
                  <a:lnTo>
                    <a:pt x="399" y="136"/>
                  </a:lnTo>
                  <a:lnTo>
                    <a:pt x="399" y="134"/>
                  </a:lnTo>
                  <a:lnTo>
                    <a:pt x="399" y="134"/>
                  </a:lnTo>
                  <a:lnTo>
                    <a:pt x="399" y="132"/>
                  </a:lnTo>
                  <a:lnTo>
                    <a:pt x="399" y="132"/>
                  </a:lnTo>
                  <a:lnTo>
                    <a:pt x="397" y="129"/>
                  </a:lnTo>
                  <a:lnTo>
                    <a:pt x="397" y="127"/>
                  </a:lnTo>
                  <a:lnTo>
                    <a:pt x="397" y="127"/>
                  </a:lnTo>
                  <a:lnTo>
                    <a:pt x="397" y="127"/>
                  </a:lnTo>
                  <a:lnTo>
                    <a:pt x="397" y="125"/>
                  </a:lnTo>
                  <a:lnTo>
                    <a:pt x="397" y="125"/>
                  </a:lnTo>
                  <a:lnTo>
                    <a:pt x="397" y="125"/>
                  </a:lnTo>
                  <a:lnTo>
                    <a:pt x="397" y="125"/>
                  </a:lnTo>
                  <a:lnTo>
                    <a:pt x="397" y="125"/>
                  </a:lnTo>
                  <a:lnTo>
                    <a:pt x="397" y="123"/>
                  </a:lnTo>
                  <a:lnTo>
                    <a:pt x="395" y="123"/>
                  </a:lnTo>
                  <a:lnTo>
                    <a:pt x="395" y="121"/>
                  </a:lnTo>
                  <a:lnTo>
                    <a:pt x="393" y="121"/>
                  </a:lnTo>
                  <a:lnTo>
                    <a:pt x="391" y="121"/>
                  </a:lnTo>
                  <a:lnTo>
                    <a:pt x="391" y="119"/>
                  </a:lnTo>
                  <a:lnTo>
                    <a:pt x="391" y="119"/>
                  </a:lnTo>
                  <a:lnTo>
                    <a:pt x="389" y="119"/>
                  </a:lnTo>
                  <a:lnTo>
                    <a:pt x="389" y="119"/>
                  </a:lnTo>
                  <a:lnTo>
                    <a:pt x="389" y="117"/>
                  </a:lnTo>
                  <a:lnTo>
                    <a:pt x="389" y="117"/>
                  </a:lnTo>
                  <a:lnTo>
                    <a:pt x="385" y="117"/>
                  </a:lnTo>
                  <a:lnTo>
                    <a:pt x="382" y="117"/>
                  </a:lnTo>
                  <a:lnTo>
                    <a:pt x="382" y="117"/>
                  </a:lnTo>
                  <a:lnTo>
                    <a:pt x="382" y="117"/>
                  </a:lnTo>
                  <a:lnTo>
                    <a:pt x="382" y="117"/>
                  </a:lnTo>
                  <a:lnTo>
                    <a:pt x="380" y="115"/>
                  </a:lnTo>
                  <a:lnTo>
                    <a:pt x="380" y="115"/>
                  </a:lnTo>
                  <a:lnTo>
                    <a:pt x="380" y="115"/>
                  </a:lnTo>
                  <a:lnTo>
                    <a:pt x="380" y="115"/>
                  </a:lnTo>
                  <a:lnTo>
                    <a:pt x="378" y="117"/>
                  </a:lnTo>
                  <a:lnTo>
                    <a:pt x="376" y="117"/>
                  </a:lnTo>
                  <a:lnTo>
                    <a:pt x="376" y="117"/>
                  </a:lnTo>
                  <a:lnTo>
                    <a:pt x="374" y="117"/>
                  </a:lnTo>
                  <a:lnTo>
                    <a:pt x="374" y="115"/>
                  </a:lnTo>
                  <a:lnTo>
                    <a:pt x="372" y="115"/>
                  </a:lnTo>
                  <a:lnTo>
                    <a:pt x="372" y="115"/>
                  </a:lnTo>
                  <a:lnTo>
                    <a:pt x="370" y="115"/>
                  </a:lnTo>
                  <a:lnTo>
                    <a:pt x="370" y="113"/>
                  </a:lnTo>
                  <a:lnTo>
                    <a:pt x="370" y="113"/>
                  </a:lnTo>
                  <a:lnTo>
                    <a:pt x="370" y="113"/>
                  </a:lnTo>
                  <a:lnTo>
                    <a:pt x="370" y="111"/>
                  </a:lnTo>
                  <a:lnTo>
                    <a:pt x="372" y="109"/>
                  </a:lnTo>
                  <a:lnTo>
                    <a:pt x="372" y="109"/>
                  </a:lnTo>
                  <a:lnTo>
                    <a:pt x="372" y="109"/>
                  </a:lnTo>
                  <a:lnTo>
                    <a:pt x="372" y="107"/>
                  </a:lnTo>
                  <a:lnTo>
                    <a:pt x="372" y="107"/>
                  </a:lnTo>
                  <a:lnTo>
                    <a:pt x="370" y="103"/>
                  </a:lnTo>
                  <a:lnTo>
                    <a:pt x="370" y="103"/>
                  </a:lnTo>
                  <a:lnTo>
                    <a:pt x="368" y="101"/>
                  </a:lnTo>
                  <a:lnTo>
                    <a:pt x="368" y="101"/>
                  </a:lnTo>
                  <a:lnTo>
                    <a:pt x="366" y="101"/>
                  </a:lnTo>
                  <a:lnTo>
                    <a:pt x="364" y="101"/>
                  </a:lnTo>
                  <a:lnTo>
                    <a:pt x="364" y="99"/>
                  </a:lnTo>
                  <a:lnTo>
                    <a:pt x="364" y="99"/>
                  </a:lnTo>
                  <a:lnTo>
                    <a:pt x="362" y="101"/>
                  </a:lnTo>
                  <a:lnTo>
                    <a:pt x="362" y="101"/>
                  </a:lnTo>
                  <a:lnTo>
                    <a:pt x="362" y="101"/>
                  </a:lnTo>
                  <a:lnTo>
                    <a:pt x="360" y="101"/>
                  </a:lnTo>
                  <a:lnTo>
                    <a:pt x="358" y="99"/>
                  </a:lnTo>
                  <a:lnTo>
                    <a:pt x="358" y="99"/>
                  </a:lnTo>
                  <a:lnTo>
                    <a:pt x="356" y="99"/>
                  </a:lnTo>
                  <a:lnTo>
                    <a:pt x="354" y="99"/>
                  </a:lnTo>
                  <a:lnTo>
                    <a:pt x="354" y="99"/>
                  </a:lnTo>
                  <a:lnTo>
                    <a:pt x="352" y="99"/>
                  </a:lnTo>
                  <a:lnTo>
                    <a:pt x="350" y="97"/>
                  </a:lnTo>
                  <a:lnTo>
                    <a:pt x="350" y="97"/>
                  </a:lnTo>
                  <a:lnTo>
                    <a:pt x="350" y="97"/>
                  </a:lnTo>
                  <a:lnTo>
                    <a:pt x="348" y="99"/>
                  </a:lnTo>
                  <a:lnTo>
                    <a:pt x="346" y="99"/>
                  </a:lnTo>
                  <a:lnTo>
                    <a:pt x="346" y="99"/>
                  </a:lnTo>
                  <a:lnTo>
                    <a:pt x="344" y="97"/>
                  </a:lnTo>
                  <a:lnTo>
                    <a:pt x="342" y="97"/>
                  </a:lnTo>
                  <a:lnTo>
                    <a:pt x="342" y="97"/>
                  </a:lnTo>
                  <a:lnTo>
                    <a:pt x="342" y="97"/>
                  </a:lnTo>
                  <a:lnTo>
                    <a:pt x="342" y="97"/>
                  </a:lnTo>
                  <a:lnTo>
                    <a:pt x="339" y="97"/>
                  </a:lnTo>
                  <a:lnTo>
                    <a:pt x="339" y="97"/>
                  </a:lnTo>
                  <a:lnTo>
                    <a:pt x="337" y="97"/>
                  </a:lnTo>
                  <a:lnTo>
                    <a:pt x="337" y="95"/>
                  </a:lnTo>
                  <a:lnTo>
                    <a:pt x="335" y="95"/>
                  </a:lnTo>
                  <a:lnTo>
                    <a:pt x="335" y="97"/>
                  </a:lnTo>
                  <a:lnTo>
                    <a:pt x="335" y="97"/>
                  </a:lnTo>
                  <a:lnTo>
                    <a:pt x="333" y="97"/>
                  </a:lnTo>
                  <a:lnTo>
                    <a:pt x="333" y="97"/>
                  </a:lnTo>
                  <a:lnTo>
                    <a:pt x="333" y="97"/>
                  </a:lnTo>
                  <a:lnTo>
                    <a:pt x="333" y="97"/>
                  </a:lnTo>
                  <a:lnTo>
                    <a:pt x="331" y="97"/>
                  </a:lnTo>
                  <a:lnTo>
                    <a:pt x="331" y="97"/>
                  </a:lnTo>
                  <a:lnTo>
                    <a:pt x="329" y="99"/>
                  </a:lnTo>
                  <a:lnTo>
                    <a:pt x="329" y="99"/>
                  </a:lnTo>
                  <a:lnTo>
                    <a:pt x="329" y="99"/>
                  </a:lnTo>
                  <a:lnTo>
                    <a:pt x="325" y="97"/>
                  </a:lnTo>
                  <a:lnTo>
                    <a:pt x="323" y="97"/>
                  </a:lnTo>
                  <a:lnTo>
                    <a:pt x="323" y="97"/>
                  </a:lnTo>
                  <a:lnTo>
                    <a:pt x="321" y="97"/>
                  </a:lnTo>
                  <a:lnTo>
                    <a:pt x="321" y="97"/>
                  </a:lnTo>
                  <a:lnTo>
                    <a:pt x="321" y="97"/>
                  </a:lnTo>
                  <a:lnTo>
                    <a:pt x="319" y="97"/>
                  </a:lnTo>
                  <a:lnTo>
                    <a:pt x="319" y="97"/>
                  </a:lnTo>
                  <a:lnTo>
                    <a:pt x="317" y="97"/>
                  </a:lnTo>
                  <a:lnTo>
                    <a:pt x="317" y="97"/>
                  </a:lnTo>
                  <a:lnTo>
                    <a:pt x="317" y="97"/>
                  </a:lnTo>
                  <a:lnTo>
                    <a:pt x="315" y="97"/>
                  </a:lnTo>
                  <a:lnTo>
                    <a:pt x="315" y="97"/>
                  </a:lnTo>
                  <a:lnTo>
                    <a:pt x="313" y="97"/>
                  </a:lnTo>
                  <a:lnTo>
                    <a:pt x="313" y="97"/>
                  </a:lnTo>
                  <a:lnTo>
                    <a:pt x="311" y="97"/>
                  </a:lnTo>
                  <a:lnTo>
                    <a:pt x="307" y="95"/>
                  </a:lnTo>
                  <a:lnTo>
                    <a:pt x="301" y="93"/>
                  </a:lnTo>
                  <a:lnTo>
                    <a:pt x="296" y="91"/>
                  </a:lnTo>
                  <a:lnTo>
                    <a:pt x="292" y="88"/>
                  </a:lnTo>
                  <a:lnTo>
                    <a:pt x="290" y="88"/>
                  </a:lnTo>
                  <a:lnTo>
                    <a:pt x="286" y="86"/>
                  </a:lnTo>
                  <a:lnTo>
                    <a:pt x="286" y="86"/>
                  </a:lnTo>
                  <a:lnTo>
                    <a:pt x="284" y="86"/>
                  </a:lnTo>
                  <a:lnTo>
                    <a:pt x="280" y="86"/>
                  </a:lnTo>
                  <a:lnTo>
                    <a:pt x="276" y="84"/>
                  </a:lnTo>
                  <a:lnTo>
                    <a:pt x="270" y="84"/>
                  </a:lnTo>
                  <a:lnTo>
                    <a:pt x="264" y="84"/>
                  </a:lnTo>
                  <a:lnTo>
                    <a:pt x="258" y="82"/>
                  </a:lnTo>
                  <a:lnTo>
                    <a:pt x="249" y="82"/>
                  </a:lnTo>
                  <a:lnTo>
                    <a:pt x="243" y="80"/>
                  </a:lnTo>
                  <a:lnTo>
                    <a:pt x="237" y="78"/>
                  </a:lnTo>
                  <a:lnTo>
                    <a:pt x="229" y="78"/>
                  </a:lnTo>
                  <a:lnTo>
                    <a:pt x="225" y="76"/>
                  </a:lnTo>
                  <a:lnTo>
                    <a:pt x="219" y="76"/>
                  </a:lnTo>
                  <a:lnTo>
                    <a:pt x="217" y="76"/>
                  </a:lnTo>
                  <a:lnTo>
                    <a:pt x="213" y="76"/>
                  </a:lnTo>
                  <a:lnTo>
                    <a:pt x="213" y="76"/>
                  </a:lnTo>
                  <a:lnTo>
                    <a:pt x="210" y="74"/>
                  </a:lnTo>
                  <a:lnTo>
                    <a:pt x="210" y="74"/>
                  </a:lnTo>
                  <a:lnTo>
                    <a:pt x="210" y="74"/>
                  </a:lnTo>
                  <a:lnTo>
                    <a:pt x="208" y="72"/>
                  </a:lnTo>
                  <a:lnTo>
                    <a:pt x="206" y="70"/>
                  </a:lnTo>
                  <a:lnTo>
                    <a:pt x="204" y="66"/>
                  </a:lnTo>
                  <a:lnTo>
                    <a:pt x="204" y="62"/>
                  </a:lnTo>
                  <a:lnTo>
                    <a:pt x="202" y="60"/>
                  </a:lnTo>
                  <a:lnTo>
                    <a:pt x="202" y="60"/>
                  </a:lnTo>
                  <a:lnTo>
                    <a:pt x="200" y="58"/>
                  </a:lnTo>
                  <a:lnTo>
                    <a:pt x="200" y="58"/>
                  </a:lnTo>
                  <a:lnTo>
                    <a:pt x="198" y="58"/>
                  </a:lnTo>
                  <a:lnTo>
                    <a:pt x="198" y="58"/>
                  </a:lnTo>
                  <a:lnTo>
                    <a:pt x="196" y="58"/>
                  </a:lnTo>
                  <a:lnTo>
                    <a:pt x="196" y="58"/>
                  </a:lnTo>
                  <a:lnTo>
                    <a:pt x="196" y="56"/>
                  </a:lnTo>
                  <a:lnTo>
                    <a:pt x="194" y="56"/>
                  </a:lnTo>
                  <a:lnTo>
                    <a:pt x="194" y="56"/>
                  </a:lnTo>
                  <a:lnTo>
                    <a:pt x="192" y="56"/>
                  </a:lnTo>
                  <a:lnTo>
                    <a:pt x="192" y="54"/>
                  </a:lnTo>
                  <a:lnTo>
                    <a:pt x="192" y="54"/>
                  </a:lnTo>
                  <a:lnTo>
                    <a:pt x="190" y="54"/>
                  </a:lnTo>
                  <a:lnTo>
                    <a:pt x="190" y="56"/>
                  </a:lnTo>
                  <a:lnTo>
                    <a:pt x="188" y="56"/>
                  </a:lnTo>
                  <a:lnTo>
                    <a:pt x="188" y="56"/>
                  </a:lnTo>
                  <a:lnTo>
                    <a:pt x="188" y="56"/>
                  </a:lnTo>
                  <a:lnTo>
                    <a:pt x="186" y="56"/>
                  </a:lnTo>
                  <a:lnTo>
                    <a:pt x="186" y="56"/>
                  </a:lnTo>
                  <a:lnTo>
                    <a:pt x="186" y="54"/>
                  </a:lnTo>
                  <a:lnTo>
                    <a:pt x="186" y="52"/>
                  </a:lnTo>
                  <a:lnTo>
                    <a:pt x="186" y="52"/>
                  </a:lnTo>
                  <a:lnTo>
                    <a:pt x="184" y="54"/>
                  </a:lnTo>
                  <a:lnTo>
                    <a:pt x="182" y="54"/>
                  </a:lnTo>
                  <a:lnTo>
                    <a:pt x="180" y="52"/>
                  </a:lnTo>
                  <a:lnTo>
                    <a:pt x="174" y="50"/>
                  </a:lnTo>
                  <a:lnTo>
                    <a:pt x="165" y="47"/>
                  </a:lnTo>
                  <a:lnTo>
                    <a:pt x="159" y="43"/>
                  </a:lnTo>
                  <a:lnTo>
                    <a:pt x="157" y="41"/>
                  </a:lnTo>
                  <a:lnTo>
                    <a:pt x="159" y="41"/>
                  </a:lnTo>
                  <a:lnTo>
                    <a:pt x="159" y="43"/>
                  </a:lnTo>
                  <a:lnTo>
                    <a:pt x="159" y="43"/>
                  </a:lnTo>
                  <a:lnTo>
                    <a:pt x="159" y="43"/>
                  </a:lnTo>
                  <a:lnTo>
                    <a:pt x="157" y="43"/>
                  </a:lnTo>
                  <a:lnTo>
                    <a:pt x="157" y="45"/>
                  </a:lnTo>
                  <a:lnTo>
                    <a:pt x="157" y="45"/>
                  </a:lnTo>
                  <a:lnTo>
                    <a:pt x="159" y="45"/>
                  </a:lnTo>
                  <a:lnTo>
                    <a:pt x="159" y="47"/>
                  </a:lnTo>
                  <a:lnTo>
                    <a:pt x="157" y="50"/>
                  </a:lnTo>
                  <a:lnTo>
                    <a:pt x="147" y="54"/>
                  </a:lnTo>
                  <a:lnTo>
                    <a:pt x="145" y="54"/>
                  </a:lnTo>
                  <a:lnTo>
                    <a:pt x="143" y="54"/>
                  </a:lnTo>
                  <a:lnTo>
                    <a:pt x="145" y="52"/>
                  </a:lnTo>
                  <a:lnTo>
                    <a:pt x="145" y="50"/>
                  </a:lnTo>
                  <a:lnTo>
                    <a:pt x="149" y="43"/>
                  </a:lnTo>
                  <a:lnTo>
                    <a:pt x="149" y="41"/>
                  </a:lnTo>
                  <a:lnTo>
                    <a:pt x="149" y="41"/>
                  </a:lnTo>
                  <a:lnTo>
                    <a:pt x="149" y="39"/>
                  </a:lnTo>
                  <a:lnTo>
                    <a:pt x="149" y="39"/>
                  </a:lnTo>
                  <a:lnTo>
                    <a:pt x="149" y="37"/>
                  </a:lnTo>
                  <a:lnTo>
                    <a:pt x="149" y="35"/>
                  </a:lnTo>
                  <a:lnTo>
                    <a:pt x="149" y="33"/>
                  </a:lnTo>
                  <a:lnTo>
                    <a:pt x="151" y="31"/>
                  </a:lnTo>
                  <a:lnTo>
                    <a:pt x="151" y="31"/>
                  </a:lnTo>
                  <a:lnTo>
                    <a:pt x="153" y="25"/>
                  </a:lnTo>
                  <a:lnTo>
                    <a:pt x="155" y="25"/>
                  </a:lnTo>
                  <a:lnTo>
                    <a:pt x="155" y="23"/>
                  </a:lnTo>
                  <a:lnTo>
                    <a:pt x="153" y="23"/>
                  </a:lnTo>
                  <a:lnTo>
                    <a:pt x="155" y="21"/>
                  </a:lnTo>
                  <a:lnTo>
                    <a:pt x="155" y="21"/>
                  </a:lnTo>
                  <a:lnTo>
                    <a:pt x="155" y="21"/>
                  </a:lnTo>
                  <a:lnTo>
                    <a:pt x="153" y="19"/>
                  </a:lnTo>
                  <a:lnTo>
                    <a:pt x="153" y="17"/>
                  </a:lnTo>
                  <a:lnTo>
                    <a:pt x="153" y="17"/>
                  </a:lnTo>
                  <a:lnTo>
                    <a:pt x="151" y="17"/>
                  </a:lnTo>
                  <a:lnTo>
                    <a:pt x="149" y="17"/>
                  </a:lnTo>
                  <a:lnTo>
                    <a:pt x="149" y="17"/>
                  </a:lnTo>
                  <a:lnTo>
                    <a:pt x="149" y="15"/>
                  </a:lnTo>
                  <a:lnTo>
                    <a:pt x="149" y="15"/>
                  </a:lnTo>
                  <a:lnTo>
                    <a:pt x="149" y="15"/>
                  </a:lnTo>
                  <a:lnTo>
                    <a:pt x="147" y="15"/>
                  </a:lnTo>
                  <a:lnTo>
                    <a:pt x="147" y="15"/>
                  </a:lnTo>
                  <a:lnTo>
                    <a:pt x="145" y="15"/>
                  </a:lnTo>
                  <a:lnTo>
                    <a:pt x="145" y="17"/>
                  </a:lnTo>
                  <a:lnTo>
                    <a:pt x="145" y="17"/>
                  </a:lnTo>
                  <a:lnTo>
                    <a:pt x="145" y="17"/>
                  </a:lnTo>
                  <a:lnTo>
                    <a:pt x="145" y="17"/>
                  </a:lnTo>
                  <a:lnTo>
                    <a:pt x="143" y="19"/>
                  </a:lnTo>
                  <a:lnTo>
                    <a:pt x="143" y="19"/>
                  </a:lnTo>
                  <a:lnTo>
                    <a:pt x="141" y="19"/>
                  </a:lnTo>
                  <a:lnTo>
                    <a:pt x="141" y="17"/>
                  </a:lnTo>
                  <a:lnTo>
                    <a:pt x="139" y="17"/>
                  </a:lnTo>
                  <a:lnTo>
                    <a:pt x="139" y="19"/>
                  </a:lnTo>
                  <a:lnTo>
                    <a:pt x="139" y="19"/>
                  </a:lnTo>
                  <a:lnTo>
                    <a:pt x="139" y="19"/>
                  </a:lnTo>
                  <a:lnTo>
                    <a:pt x="139" y="19"/>
                  </a:lnTo>
                  <a:lnTo>
                    <a:pt x="135" y="21"/>
                  </a:lnTo>
                  <a:lnTo>
                    <a:pt x="135" y="21"/>
                  </a:lnTo>
                  <a:lnTo>
                    <a:pt x="133" y="23"/>
                  </a:lnTo>
                  <a:lnTo>
                    <a:pt x="133" y="23"/>
                  </a:lnTo>
                  <a:lnTo>
                    <a:pt x="133" y="23"/>
                  </a:lnTo>
                  <a:lnTo>
                    <a:pt x="133" y="23"/>
                  </a:lnTo>
                  <a:lnTo>
                    <a:pt x="131" y="25"/>
                  </a:lnTo>
                  <a:lnTo>
                    <a:pt x="131" y="25"/>
                  </a:lnTo>
                  <a:lnTo>
                    <a:pt x="131" y="25"/>
                  </a:lnTo>
                  <a:lnTo>
                    <a:pt x="129" y="27"/>
                  </a:lnTo>
                  <a:lnTo>
                    <a:pt x="129" y="27"/>
                  </a:lnTo>
                  <a:lnTo>
                    <a:pt x="126" y="27"/>
                  </a:lnTo>
                  <a:lnTo>
                    <a:pt x="126" y="27"/>
                  </a:lnTo>
                  <a:lnTo>
                    <a:pt x="126" y="27"/>
                  </a:lnTo>
                  <a:lnTo>
                    <a:pt x="126" y="27"/>
                  </a:lnTo>
                  <a:lnTo>
                    <a:pt x="126" y="25"/>
                  </a:lnTo>
                  <a:lnTo>
                    <a:pt x="124" y="27"/>
                  </a:lnTo>
                  <a:lnTo>
                    <a:pt x="122" y="29"/>
                  </a:lnTo>
                  <a:lnTo>
                    <a:pt x="122" y="27"/>
                  </a:lnTo>
                  <a:lnTo>
                    <a:pt x="122" y="25"/>
                  </a:lnTo>
                  <a:lnTo>
                    <a:pt x="120" y="27"/>
                  </a:lnTo>
                  <a:lnTo>
                    <a:pt x="116" y="29"/>
                  </a:lnTo>
                  <a:lnTo>
                    <a:pt x="110" y="33"/>
                  </a:lnTo>
                  <a:lnTo>
                    <a:pt x="108" y="37"/>
                  </a:lnTo>
                  <a:lnTo>
                    <a:pt x="106" y="37"/>
                  </a:lnTo>
                  <a:lnTo>
                    <a:pt x="100" y="39"/>
                  </a:lnTo>
                  <a:lnTo>
                    <a:pt x="94" y="41"/>
                  </a:lnTo>
                  <a:lnTo>
                    <a:pt x="77" y="47"/>
                  </a:lnTo>
                  <a:lnTo>
                    <a:pt x="67" y="50"/>
                  </a:lnTo>
                  <a:lnTo>
                    <a:pt x="65" y="50"/>
                  </a:lnTo>
                  <a:lnTo>
                    <a:pt x="59" y="47"/>
                  </a:lnTo>
                  <a:lnTo>
                    <a:pt x="59" y="47"/>
                  </a:lnTo>
                  <a:lnTo>
                    <a:pt x="57" y="47"/>
                  </a:lnTo>
                  <a:lnTo>
                    <a:pt x="55" y="45"/>
                  </a:lnTo>
                  <a:lnTo>
                    <a:pt x="53" y="43"/>
                  </a:lnTo>
                  <a:lnTo>
                    <a:pt x="53" y="43"/>
                  </a:lnTo>
                  <a:lnTo>
                    <a:pt x="53" y="43"/>
                  </a:lnTo>
                  <a:lnTo>
                    <a:pt x="51" y="45"/>
                  </a:lnTo>
                  <a:lnTo>
                    <a:pt x="51" y="45"/>
                  </a:lnTo>
                  <a:lnTo>
                    <a:pt x="49" y="47"/>
                  </a:lnTo>
                  <a:lnTo>
                    <a:pt x="49" y="47"/>
                  </a:lnTo>
                  <a:lnTo>
                    <a:pt x="49" y="47"/>
                  </a:lnTo>
                  <a:lnTo>
                    <a:pt x="49" y="47"/>
                  </a:lnTo>
                  <a:lnTo>
                    <a:pt x="47" y="50"/>
                  </a:lnTo>
                  <a:lnTo>
                    <a:pt x="47" y="50"/>
                  </a:lnTo>
                  <a:lnTo>
                    <a:pt x="47" y="50"/>
                  </a:lnTo>
                  <a:lnTo>
                    <a:pt x="47" y="50"/>
                  </a:lnTo>
                  <a:lnTo>
                    <a:pt x="47" y="52"/>
                  </a:lnTo>
                  <a:lnTo>
                    <a:pt x="47" y="54"/>
                  </a:lnTo>
                  <a:lnTo>
                    <a:pt x="47" y="54"/>
                  </a:lnTo>
                  <a:lnTo>
                    <a:pt x="47" y="54"/>
                  </a:lnTo>
                  <a:lnTo>
                    <a:pt x="45" y="54"/>
                  </a:lnTo>
                  <a:lnTo>
                    <a:pt x="45" y="56"/>
                  </a:lnTo>
                  <a:lnTo>
                    <a:pt x="45" y="56"/>
                  </a:lnTo>
                  <a:lnTo>
                    <a:pt x="43" y="56"/>
                  </a:lnTo>
                  <a:lnTo>
                    <a:pt x="40" y="56"/>
                  </a:lnTo>
                  <a:lnTo>
                    <a:pt x="40" y="56"/>
                  </a:lnTo>
                  <a:lnTo>
                    <a:pt x="40" y="56"/>
                  </a:lnTo>
                  <a:lnTo>
                    <a:pt x="40" y="56"/>
                  </a:lnTo>
                  <a:lnTo>
                    <a:pt x="40" y="58"/>
                  </a:lnTo>
                  <a:lnTo>
                    <a:pt x="40" y="64"/>
                  </a:lnTo>
                  <a:lnTo>
                    <a:pt x="40" y="70"/>
                  </a:lnTo>
                  <a:lnTo>
                    <a:pt x="40" y="78"/>
                  </a:lnTo>
                  <a:lnTo>
                    <a:pt x="43" y="84"/>
                  </a:lnTo>
                  <a:lnTo>
                    <a:pt x="43" y="91"/>
                  </a:lnTo>
                  <a:lnTo>
                    <a:pt x="43" y="97"/>
                  </a:lnTo>
                  <a:lnTo>
                    <a:pt x="43" y="103"/>
                  </a:lnTo>
                  <a:lnTo>
                    <a:pt x="43" y="111"/>
                  </a:lnTo>
                  <a:lnTo>
                    <a:pt x="43" y="111"/>
                  </a:lnTo>
                  <a:lnTo>
                    <a:pt x="45" y="115"/>
                  </a:lnTo>
                  <a:lnTo>
                    <a:pt x="43" y="115"/>
                  </a:lnTo>
                  <a:lnTo>
                    <a:pt x="40" y="117"/>
                  </a:lnTo>
                  <a:lnTo>
                    <a:pt x="40" y="117"/>
                  </a:lnTo>
                  <a:lnTo>
                    <a:pt x="40" y="119"/>
                  </a:lnTo>
                  <a:lnTo>
                    <a:pt x="38" y="121"/>
                  </a:lnTo>
                  <a:lnTo>
                    <a:pt x="38" y="121"/>
                  </a:lnTo>
                  <a:lnTo>
                    <a:pt x="36" y="121"/>
                  </a:lnTo>
                  <a:lnTo>
                    <a:pt x="34" y="121"/>
                  </a:lnTo>
                  <a:lnTo>
                    <a:pt x="34" y="121"/>
                  </a:lnTo>
                  <a:lnTo>
                    <a:pt x="32" y="121"/>
                  </a:lnTo>
                  <a:lnTo>
                    <a:pt x="30" y="125"/>
                  </a:lnTo>
                  <a:lnTo>
                    <a:pt x="30" y="125"/>
                  </a:lnTo>
                  <a:lnTo>
                    <a:pt x="26" y="125"/>
                  </a:lnTo>
                  <a:lnTo>
                    <a:pt x="26" y="125"/>
                  </a:lnTo>
                  <a:lnTo>
                    <a:pt x="26" y="127"/>
                  </a:lnTo>
                  <a:lnTo>
                    <a:pt x="24" y="127"/>
                  </a:lnTo>
                  <a:lnTo>
                    <a:pt x="24" y="127"/>
                  </a:lnTo>
                  <a:lnTo>
                    <a:pt x="24" y="127"/>
                  </a:lnTo>
                  <a:lnTo>
                    <a:pt x="24" y="129"/>
                  </a:lnTo>
                  <a:lnTo>
                    <a:pt x="24" y="129"/>
                  </a:lnTo>
                  <a:lnTo>
                    <a:pt x="22" y="129"/>
                  </a:lnTo>
                  <a:lnTo>
                    <a:pt x="20" y="129"/>
                  </a:lnTo>
                  <a:lnTo>
                    <a:pt x="16" y="134"/>
                  </a:lnTo>
                  <a:lnTo>
                    <a:pt x="16" y="134"/>
                  </a:lnTo>
                  <a:lnTo>
                    <a:pt x="14" y="136"/>
                  </a:lnTo>
                  <a:lnTo>
                    <a:pt x="12" y="138"/>
                  </a:lnTo>
                  <a:lnTo>
                    <a:pt x="8" y="144"/>
                  </a:lnTo>
                  <a:lnTo>
                    <a:pt x="8" y="146"/>
                  </a:lnTo>
                  <a:lnTo>
                    <a:pt x="6" y="150"/>
                  </a:lnTo>
                  <a:lnTo>
                    <a:pt x="0" y="156"/>
                  </a:lnTo>
                  <a:lnTo>
                    <a:pt x="0" y="158"/>
                  </a:lnTo>
                  <a:lnTo>
                    <a:pt x="0" y="160"/>
                  </a:lnTo>
                  <a:lnTo>
                    <a:pt x="0" y="166"/>
                  </a:lnTo>
                  <a:lnTo>
                    <a:pt x="2" y="170"/>
                  </a:lnTo>
                  <a:lnTo>
                    <a:pt x="4" y="170"/>
                  </a:lnTo>
                  <a:lnTo>
                    <a:pt x="8" y="170"/>
                  </a:lnTo>
                  <a:lnTo>
                    <a:pt x="12" y="173"/>
                  </a:lnTo>
                  <a:lnTo>
                    <a:pt x="12" y="173"/>
                  </a:lnTo>
                  <a:lnTo>
                    <a:pt x="14" y="177"/>
                  </a:lnTo>
                  <a:lnTo>
                    <a:pt x="14" y="179"/>
                  </a:lnTo>
                  <a:lnTo>
                    <a:pt x="16" y="181"/>
                  </a:lnTo>
                  <a:lnTo>
                    <a:pt x="18" y="183"/>
                  </a:lnTo>
                  <a:lnTo>
                    <a:pt x="18" y="183"/>
                  </a:lnTo>
                  <a:lnTo>
                    <a:pt x="20" y="185"/>
                  </a:lnTo>
                  <a:lnTo>
                    <a:pt x="20" y="187"/>
                  </a:lnTo>
                  <a:lnTo>
                    <a:pt x="18" y="191"/>
                  </a:lnTo>
                  <a:lnTo>
                    <a:pt x="16" y="193"/>
                  </a:lnTo>
                  <a:lnTo>
                    <a:pt x="16" y="195"/>
                  </a:lnTo>
                  <a:lnTo>
                    <a:pt x="16" y="197"/>
                  </a:lnTo>
                  <a:lnTo>
                    <a:pt x="14" y="197"/>
                  </a:lnTo>
                  <a:lnTo>
                    <a:pt x="14" y="199"/>
                  </a:lnTo>
                  <a:lnTo>
                    <a:pt x="12" y="201"/>
                  </a:lnTo>
                  <a:lnTo>
                    <a:pt x="12" y="203"/>
                  </a:lnTo>
                  <a:lnTo>
                    <a:pt x="14" y="207"/>
                  </a:lnTo>
                  <a:lnTo>
                    <a:pt x="12" y="209"/>
                  </a:lnTo>
                  <a:lnTo>
                    <a:pt x="12" y="211"/>
                  </a:lnTo>
                  <a:lnTo>
                    <a:pt x="12" y="211"/>
                  </a:lnTo>
                  <a:lnTo>
                    <a:pt x="14" y="216"/>
                  </a:lnTo>
                  <a:lnTo>
                    <a:pt x="14" y="218"/>
                  </a:lnTo>
                  <a:lnTo>
                    <a:pt x="14" y="220"/>
                  </a:lnTo>
                  <a:lnTo>
                    <a:pt x="14" y="220"/>
                  </a:lnTo>
                  <a:lnTo>
                    <a:pt x="12" y="222"/>
                  </a:lnTo>
                  <a:lnTo>
                    <a:pt x="12" y="222"/>
                  </a:lnTo>
                  <a:lnTo>
                    <a:pt x="12" y="224"/>
                  </a:lnTo>
                  <a:lnTo>
                    <a:pt x="14" y="230"/>
                  </a:lnTo>
                  <a:lnTo>
                    <a:pt x="14" y="234"/>
                  </a:lnTo>
                  <a:lnTo>
                    <a:pt x="16" y="238"/>
                  </a:lnTo>
                  <a:lnTo>
                    <a:pt x="16" y="238"/>
                  </a:lnTo>
                  <a:lnTo>
                    <a:pt x="14" y="240"/>
                  </a:lnTo>
                  <a:lnTo>
                    <a:pt x="14" y="242"/>
                  </a:lnTo>
                  <a:lnTo>
                    <a:pt x="14" y="244"/>
                  </a:lnTo>
                  <a:lnTo>
                    <a:pt x="14" y="246"/>
                  </a:lnTo>
                  <a:lnTo>
                    <a:pt x="14" y="248"/>
                  </a:lnTo>
                  <a:lnTo>
                    <a:pt x="12" y="257"/>
                  </a:lnTo>
                  <a:lnTo>
                    <a:pt x="14" y="259"/>
                  </a:lnTo>
                  <a:lnTo>
                    <a:pt x="18" y="261"/>
                  </a:lnTo>
                  <a:lnTo>
                    <a:pt x="24" y="265"/>
                  </a:lnTo>
                  <a:lnTo>
                    <a:pt x="26" y="267"/>
                  </a:lnTo>
                  <a:lnTo>
                    <a:pt x="26" y="267"/>
                  </a:lnTo>
                  <a:lnTo>
                    <a:pt x="28" y="269"/>
                  </a:lnTo>
                  <a:lnTo>
                    <a:pt x="28" y="269"/>
                  </a:lnTo>
                  <a:lnTo>
                    <a:pt x="32" y="271"/>
                  </a:lnTo>
                  <a:lnTo>
                    <a:pt x="45" y="271"/>
                  </a:lnTo>
                  <a:lnTo>
                    <a:pt x="47" y="273"/>
                  </a:lnTo>
                  <a:lnTo>
                    <a:pt x="49" y="275"/>
                  </a:lnTo>
                  <a:lnTo>
                    <a:pt x="53" y="277"/>
                  </a:lnTo>
                  <a:lnTo>
                    <a:pt x="55" y="281"/>
                  </a:lnTo>
                  <a:lnTo>
                    <a:pt x="55" y="283"/>
                  </a:lnTo>
                  <a:lnTo>
                    <a:pt x="57" y="283"/>
                  </a:lnTo>
                  <a:lnTo>
                    <a:pt x="57" y="283"/>
                  </a:lnTo>
                  <a:lnTo>
                    <a:pt x="67" y="285"/>
                  </a:lnTo>
                  <a:lnTo>
                    <a:pt x="71" y="285"/>
                  </a:lnTo>
                  <a:lnTo>
                    <a:pt x="83" y="295"/>
                  </a:lnTo>
                  <a:lnTo>
                    <a:pt x="88" y="300"/>
                  </a:lnTo>
                  <a:lnTo>
                    <a:pt x="94" y="310"/>
                  </a:lnTo>
                  <a:lnTo>
                    <a:pt x="96" y="312"/>
                  </a:lnTo>
                  <a:lnTo>
                    <a:pt x="98" y="314"/>
                  </a:lnTo>
                  <a:lnTo>
                    <a:pt x="108" y="322"/>
                  </a:lnTo>
                  <a:lnTo>
                    <a:pt x="110" y="322"/>
                  </a:lnTo>
                  <a:lnTo>
                    <a:pt x="110" y="322"/>
                  </a:lnTo>
                  <a:lnTo>
                    <a:pt x="118" y="322"/>
                  </a:lnTo>
                  <a:lnTo>
                    <a:pt x="118" y="322"/>
                  </a:lnTo>
                  <a:lnTo>
                    <a:pt x="124" y="324"/>
                  </a:lnTo>
                  <a:lnTo>
                    <a:pt x="124" y="324"/>
                  </a:lnTo>
                  <a:lnTo>
                    <a:pt x="124" y="324"/>
                  </a:lnTo>
                  <a:lnTo>
                    <a:pt x="129" y="324"/>
                  </a:lnTo>
                  <a:lnTo>
                    <a:pt x="129" y="326"/>
                  </a:lnTo>
                  <a:lnTo>
                    <a:pt x="129" y="326"/>
                  </a:lnTo>
                  <a:lnTo>
                    <a:pt x="131" y="326"/>
                  </a:lnTo>
                  <a:lnTo>
                    <a:pt x="131" y="326"/>
                  </a:lnTo>
                  <a:lnTo>
                    <a:pt x="131" y="328"/>
                  </a:lnTo>
                  <a:lnTo>
                    <a:pt x="131" y="330"/>
                  </a:lnTo>
                  <a:lnTo>
                    <a:pt x="133" y="332"/>
                  </a:lnTo>
                  <a:lnTo>
                    <a:pt x="133" y="332"/>
                  </a:lnTo>
                  <a:lnTo>
                    <a:pt x="137" y="334"/>
                  </a:lnTo>
                  <a:lnTo>
                    <a:pt x="139" y="334"/>
                  </a:lnTo>
                  <a:lnTo>
                    <a:pt x="139" y="334"/>
                  </a:lnTo>
                  <a:lnTo>
                    <a:pt x="139" y="336"/>
                  </a:lnTo>
                  <a:lnTo>
                    <a:pt x="141" y="336"/>
                  </a:lnTo>
                  <a:lnTo>
                    <a:pt x="141" y="341"/>
                  </a:lnTo>
                  <a:lnTo>
                    <a:pt x="141" y="343"/>
                  </a:lnTo>
                  <a:lnTo>
                    <a:pt x="141" y="345"/>
                  </a:lnTo>
                  <a:lnTo>
                    <a:pt x="141" y="347"/>
                  </a:lnTo>
                  <a:lnTo>
                    <a:pt x="141" y="347"/>
                  </a:lnTo>
                  <a:lnTo>
                    <a:pt x="141" y="349"/>
                  </a:lnTo>
                  <a:lnTo>
                    <a:pt x="143" y="349"/>
                  </a:lnTo>
                  <a:lnTo>
                    <a:pt x="143" y="349"/>
                  </a:lnTo>
                  <a:lnTo>
                    <a:pt x="145" y="351"/>
                  </a:lnTo>
                  <a:lnTo>
                    <a:pt x="145" y="351"/>
                  </a:lnTo>
                  <a:lnTo>
                    <a:pt x="145" y="353"/>
                  </a:lnTo>
                  <a:lnTo>
                    <a:pt x="145" y="355"/>
                  </a:lnTo>
                  <a:lnTo>
                    <a:pt x="145" y="361"/>
                  </a:lnTo>
                  <a:lnTo>
                    <a:pt x="145" y="363"/>
                  </a:lnTo>
                  <a:lnTo>
                    <a:pt x="145" y="365"/>
                  </a:lnTo>
                  <a:lnTo>
                    <a:pt x="145" y="365"/>
                  </a:lnTo>
                  <a:lnTo>
                    <a:pt x="145" y="369"/>
                  </a:lnTo>
                  <a:lnTo>
                    <a:pt x="145" y="371"/>
                  </a:lnTo>
                  <a:lnTo>
                    <a:pt x="147" y="373"/>
                  </a:lnTo>
                  <a:lnTo>
                    <a:pt x="147" y="375"/>
                  </a:lnTo>
                  <a:lnTo>
                    <a:pt x="147" y="375"/>
                  </a:lnTo>
                  <a:lnTo>
                    <a:pt x="147" y="379"/>
                  </a:lnTo>
                  <a:lnTo>
                    <a:pt x="147" y="379"/>
                  </a:lnTo>
                  <a:lnTo>
                    <a:pt x="147" y="379"/>
                  </a:lnTo>
                  <a:lnTo>
                    <a:pt x="147" y="382"/>
                  </a:lnTo>
                  <a:lnTo>
                    <a:pt x="147" y="384"/>
                  </a:lnTo>
                  <a:lnTo>
                    <a:pt x="147" y="384"/>
                  </a:lnTo>
                  <a:lnTo>
                    <a:pt x="149" y="386"/>
                  </a:lnTo>
                  <a:lnTo>
                    <a:pt x="149" y="388"/>
                  </a:lnTo>
                  <a:lnTo>
                    <a:pt x="149" y="388"/>
                  </a:lnTo>
                  <a:lnTo>
                    <a:pt x="149" y="392"/>
                  </a:lnTo>
                  <a:lnTo>
                    <a:pt x="151" y="392"/>
                  </a:lnTo>
                  <a:lnTo>
                    <a:pt x="151" y="392"/>
                  </a:lnTo>
                  <a:lnTo>
                    <a:pt x="159" y="394"/>
                  </a:lnTo>
                  <a:lnTo>
                    <a:pt x="161" y="396"/>
                  </a:lnTo>
                  <a:lnTo>
                    <a:pt x="161" y="400"/>
                  </a:lnTo>
                  <a:lnTo>
                    <a:pt x="159" y="404"/>
                  </a:lnTo>
                  <a:lnTo>
                    <a:pt x="157" y="410"/>
                  </a:lnTo>
                  <a:lnTo>
                    <a:pt x="155" y="414"/>
                  </a:lnTo>
                  <a:lnTo>
                    <a:pt x="157" y="420"/>
                  </a:lnTo>
                  <a:lnTo>
                    <a:pt x="157" y="425"/>
                  </a:lnTo>
                  <a:lnTo>
                    <a:pt x="157" y="429"/>
                  </a:lnTo>
                  <a:lnTo>
                    <a:pt x="157" y="431"/>
                  </a:lnTo>
                  <a:lnTo>
                    <a:pt x="159" y="431"/>
                  </a:lnTo>
                  <a:lnTo>
                    <a:pt x="159" y="437"/>
                  </a:lnTo>
                  <a:lnTo>
                    <a:pt x="159" y="439"/>
                  </a:lnTo>
                  <a:lnTo>
                    <a:pt x="161" y="439"/>
                  </a:lnTo>
                  <a:lnTo>
                    <a:pt x="163" y="443"/>
                  </a:lnTo>
                  <a:lnTo>
                    <a:pt x="163" y="443"/>
                  </a:lnTo>
                  <a:lnTo>
                    <a:pt x="165" y="445"/>
                  </a:lnTo>
                  <a:lnTo>
                    <a:pt x="165" y="451"/>
                  </a:lnTo>
                  <a:lnTo>
                    <a:pt x="165" y="451"/>
                  </a:lnTo>
                  <a:lnTo>
                    <a:pt x="169" y="457"/>
                  </a:lnTo>
                  <a:lnTo>
                    <a:pt x="169" y="459"/>
                  </a:lnTo>
                  <a:lnTo>
                    <a:pt x="172" y="459"/>
                  </a:lnTo>
                  <a:lnTo>
                    <a:pt x="176" y="461"/>
                  </a:lnTo>
                  <a:lnTo>
                    <a:pt x="190" y="461"/>
                  </a:lnTo>
                  <a:lnTo>
                    <a:pt x="194" y="464"/>
                  </a:lnTo>
                  <a:lnTo>
                    <a:pt x="196" y="464"/>
                  </a:lnTo>
                  <a:lnTo>
                    <a:pt x="198" y="464"/>
                  </a:lnTo>
                  <a:lnTo>
                    <a:pt x="198" y="466"/>
                  </a:lnTo>
                  <a:lnTo>
                    <a:pt x="200" y="470"/>
                  </a:lnTo>
                  <a:lnTo>
                    <a:pt x="202" y="472"/>
                  </a:lnTo>
                  <a:lnTo>
                    <a:pt x="204" y="474"/>
                  </a:lnTo>
                  <a:lnTo>
                    <a:pt x="204" y="476"/>
                  </a:lnTo>
                  <a:lnTo>
                    <a:pt x="204" y="476"/>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04" y="478"/>
                  </a:lnTo>
                  <a:lnTo>
                    <a:pt x="219" y="478"/>
                  </a:lnTo>
                  <a:lnTo>
                    <a:pt x="233" y="476"/>
                  </a:lnTo>
                  <a:lnTo>
                    <a:pt x="247" y="476"/>
                  </a:lnTo>
                  <a:lnTo>
                    <a:pt x="262" y="474"/>
                  </a:lnTo>
                  <a:lnTo>
                    <a:pt x="276" y="474"/>
                  </a:lnTo>
                  <a:lnTo>
                    <a:pt x="290" y="472"/>
                  </a:lnTo>
                  <a:lnTo>
                    <a:pt x="305" y="470"/>
                  </a:lnTo>
                  <a:lnTo>
                    <a:pt x="319" y="470"/>
                  </a:lnTo>
                  <a:lnTo>
                    <a:pt x="333" y="468"/>
                  </a:lnTo>
                  <a:lnTo>
                    <a:pt x="348" y="468"/>
                  </a:lnTo>
                  <a:lnTo>
                    <a:pt x="362" y="466"/>
                  </a:lnTo>
                  <a:lnTo>
                    <a:pt x="376" y="464"/>
                  </a:lnTo>
                  <a:lnTo>
                    <a:pt x="391" y="464"/>
                  </a:lnTo>
                  <a:lnTo>
                    <a:pt x="405" y="461"/>
                  </a:lnTo>
                  <a:lnTo>
                    <a:pt x="419" y="459"/>
                  </a:lnTo>
                  <a:lnTo>
                    <a:pt x="434" y="459"/>
                  </a:lnTo>
                  <a:lnTo>
                    <a:pt x="432" y="451"/>
                  </a:lnTo>
                  <a:lnTo>
                    <a:pt x="432" y="449"/>
                  </a:lnTo>
                  <a:lnTo>
                    <a:pt x="434" y="447"/>
                  </a:lnTo>
                  <a:lnTo>
                    <a:pt x="434" y="447"/>
                  </a:lnTo>
                  <a:lnTo>
                    <a:pt x="432" y="445"/>
                  </a:lnTo>
                  <a:lnTo>
                    <a:pt x="432" y="443"/>
                  </a:lnTo>
                  <a:lnTo>
                    <a:pt x="432" y="443"/>
                  </a:lnTo>
                  <a:lnTo>
                    <a:pt x="432" y="441"/>
                  </a:lnTo>
                  <a:lnTo>
                    <a:pt x="432" y="439"/>
                  </a:lnTo>
                  <a:lnTo>
                    <a:pt x="434" y="437"/>
                  </a:lnTo>
                  <a:lnTo>
                    <a:pt x="434" y="429"/>
                  </a:lnTo>
                  <a:lnTo>
                    <a:pt x="434" y="427"/>
                  </a:lnTo>
                  <a:lnTo>
                    <a:pt x="432" y="425"/>
                  </a:lnTo>
                  <a:lnTo>
                    <a:pt x="428" y="420"/>
                  </a:lnTo>
                  <a:lnTo>
                    <a:pt x="428" y="418"/>
                  </a:lnTo>
                  <a:lnTo>
                    <a:pt x="428" y="418"/>
                  </a:lnTo>
                  <a:lnTo>
                    <a:pt x="426" y="410"/>
                  </a:lnTo>
                  <a:lnTo>
                    <a:pt x="426" y="408"/>
                  </a:lnTo>
                  <a:lnTo>
                    <a:pt x="423" y="406"/>
                  </a:lnTo>
                  <a:lnTo>
                    <a:pt x="421" y="404"/>
                  </a:lnTo>
                  <a:lnTo>
                    <a:pt x="419" y="404"/>
                  </a:lnTo>
                  <a:lnTo>
                    <a:pt x="419" y="402"/>
                  </a:lnTo>
                  <a:lnTo>
                    <a:pt x="421" y="398"/>
                  </a:lnTo>
                  <a:lnTo>
                    <a:pt x="421" y="396"/>
                  </a:lnTo>
                  <a:lnTo>
                    <a:pt x="421" y="396"/>
                  </a:lnTo>
                  <a:lnTo>
                    <a:pt x="421" y="396"/>
                  </a:lnTo>
                  <a:lnTo>
                    <a:pt x="419" y="394"/>
                  </a:lnTo>
                  <a:lnTo>
                    <a:pt x="419" y="392"/>
                  </a:lnTo>
                  <a:lnTo>
                    <a:pt x="419" y="390"/>
                  </a:lnTo>
                  <a:lnTo>
                    <a:pt x="419" y="390"/>
                  </a:lnTo>
                  <a:lnTo>
                    <a:pt x="419" y="388"/>
                  </a:lnTo>
                  <a:lnTo>
                    <a:pt x="419" y="384"/>
                  </a:lnTo>
                  <a:lnTo>
                    <a:pt x="417" y="384"/>
                  </a:lnTo>
                  <a:lnTo>
                    <a:pt x="417" y="382"/>
                  </a:lnTo>
                  <a:lnTo>
                    <a:pt x="417" y="377"/>
                  </a:lnTo>
                  <a:lnTo>
                    <a:pt x="417" y="369"/>
                  </a:lnTo>
                  <a:lnTo>
                    <a:pt x="417" y="367"/>
                  </a:lnTo>
                  <a:lnTo>
                    <a:pt x="421" y="357"/>
                  </a:lnTo>
                  <a:lnTo>
                    <a:pt x="423" y="351"/>
                  </a:lnTo>
                  <a:lnTo>
                    <a:pt x="421" y="349"/>
                  </a:lnTo>
                  <a:lnTo>
                    <a:pt x="421" y="347"/>
                  </a:lnTo>
                  <a:lnTo>
                    <a:pt x="423" y="345"/>
                  </a:lnTo>
                  <a:lnTo>
                    <a:pt x="426" y="334"/>
                  </a:lnTo>
                  <a:lnTo>
                    <a:pt x="428" y="330"/>
                  </a:lnTo>
                  <a:lnTo>
                    <a:pt x="428" y="328"/>
                  </a:lnTo>
                  <a:lnTo>
                    <a:pt x="428" y="328"/>
                  </a:lnTo>
                  <a:lnTo>
                    <a:pt x="428" y="328"/>
                  </a:lnTo>
                  <a:lnTo>
                    <a:pt x="428" y="326"/>
                  </a:lnTo>
                  <a:lnTo>
                    <a:pt x="428" y="326"/>
                  </a:lnTo>
                  <a:lnTo>
                    <a:pt x="428" y="324"/>
                  </a:lnTo>
                  <a:lnTo>
                    <a:pt x="428" y="324"/>
                  </a:lnTo>
                  <a:lnTo>
                    <a:pt x="428" y="322"/>
                  </a:lnTo>
                  <a:lnTo>
                    <a:pt x="426" y="320"/>
                  </a:lnTo>
                  <a:lnTo>
                    <a:pt x="426" y="320"/>
                  </a:lnTo>
                  <a:lnTo>
                    <a:pt x="423" y="318"/>
                  </a:lnTo>
                  <a:lnTo>
                    <a:pt x="423" y="316"/>
                  </a:lnTo>
                  <a:lnTo>
                    <a:pt x="423" y="308"/>
                  </a:lnTo>
                  <a:lnTo>
                    <a:pt x="423" y="306"/>
                  </a:lnTo>
                  <a:lnTo>
                    <a:pt x="426" y="304"/>
                  </a:lnTo>
                  <a:lnTo>
                    <a:pt x="426" y="304"/>
                  </a:lnTo>
                  <a:lnTo>
                    <a:pt x="426" y="300"/>
                  </a:lnTo>
                  <a:lnTo>
                    <a:pt x="426" y="298"/>
                  </a:lnTo>
                  <a:lnTo>
                    <a:pt x="428" y="287"/>
                  </a:lnTo>
                  <a:lnTo>
                    <a:pt x="430" y="287"/>
                  </a:lnTo>
                  <a:lnTo>
                    <a:pt x="430" y="285"/>
                  </a:lnTo>
                  <a:lnTo>
                    <a:pt x="436" y="283"/>
                  </a:lnTo>
                  <a:lnTo>
                    <a:pt x="436" y="281"/>
                  </a:lnTo>
                  <a:lnTo>
                    <a:pt x="438" y="279"/>
                  </a:lnTo>
                  <a:lnTo>
                    <a:pt x="438" y="277"/>
                  </a:lnTo>
                  <a:lnTo>
                    <a:pt x="438" y="275"/>
                  </a:lnTo>
                  <a:lnTo>
                    <a:pt x="438" y="273"/>
                  </a:lnTo>
                  <a:lnTo>
                    <a:pt x="434" y="269"/>
                  </a:lnTo>
                  <a:lnTo>
                    <a:pt x="434" y="265"/>
                  </a:lnTo>
                  <a:lnTo>
                    <a:pt x="434" y="265"/>
                  </a:lnTo>
                  <a:lnTo>
                    <a:pt x="434" y="263"/>
                  </a:lnTo>
                  <a:lnTo>
                    <a:pt x="434" y="261"/>
                  </a:lnTo>
                  <a:lnTo>
                    <a:pt x="434" y="259"/>
                  </a:lnTo>
                  <a:lnTo>
                    <a:pt x="434" y="257"/>
                  </a:lnTo>
                  <a:lnTo>
                    <a:pt x="434" y="254"/>
                  </a:lnTo>
                  <a:lnTo>
                    <a:pt x="436" y="242"/>
                  </a:lnTo>
                  <a:lnTo>
                    <a:pt x="436" y="238"/>
                  </a:lnTo>
                  <a:lnTo>
                    <a:pt x="438" y="234"/>
                  </a:lnTo>
                  <a:lnTo>
                    <a:pt x="442" y="228"/>
                  </a:lnTo>
                  <a:lnTo>
                    <a:pt x="442" y="226"/>
                  </a:lnTo>
                  <a:lnTo>
                    <a:pt x="442" y="224"/>
                  </a:lnTo>
                  <a:lnTo>
                    <a:pt x="444" y="224"/>
                  </a:lnTo>
                  <a:lnTo>
                    <a:pt x="444" y="224"/>
                  </a:lnTo>
                  <a:lnTo>
                    <a:pt x="444" y="222"/>
                  </a:lnTo>
                  <a:lnTo>
                    <a:pt x="444" y="213"/>
                  </a:lnTo>
                  <a:lnTo>
                    <a:pt x="444" y="211"/>
                  </a:lnTo>
                  <a:lnTo>
                    <a:pt x="444" y="211"/>
                  </a:lnTo>
                  <a:close/>
                  <a:moveTo>
                    <a:pt x="157" y="19"/>
                  </a:moveTo>
                  <a:lnTo>
                    <a:pt x="159" y="19"/>
                  </a:lnTo>
                  <a:lnTo>
                    <a:pt x="159" y="19"/>
                  </a:lnTo>
                  <a:lnTo>
                    <a:pt x="159" y="17"/>
                  </a:lnTo>
                  <a:lnTo>
                    <a:pt x="159" y="15"/>
                  </a:lnTo>
                  <a:lnTo>
                    <a:pt x="157" y="15"/>
                  </a:lnTo>
                  <a:lnTo>
                    <a:pt x="157" y="15"/>
                  </a:lnTo>
                  <a:lnTo>
                    <a:pt x="155" y="15"/>
                  </a:lnTo>
                  <a:lnTo>
                    <a:pt x="155" y="15"/>
                  </a:lnTo>
                  <a:lnTo>
                    <a:pt x="155" y="15"/>
                  </a:lnTo>
                  <a:lnTo>
                    <a:pt x="155" y="17"/>
                  </a:lnTo>
                  <a:lnTo>
                    <a:pt x="155" y="17"/>
                  </a:lnTo>
                  <a:lnTo>
                    <a:pt x="157" y="19"/>
                  </a:lnTo>
                  <a:lnTo>
                    <a:pt x="157" y="19"/>
                  </a:lnTo>
                  <a:close/>
                  <a:moveTo>
                    <a:pt x="182" y="4"/>
                  </a:moveTo>
                  <a:lnTo>
                    <a:pt x="182" y="2"/>
                  </a:lnTo>
                  <a:lnTo>
                    <a:pt x="182" y="2"/>
                  </a:lnTo>
                  <a:lnTo>
                    <a:pt x="182" y="0"/>
                  </a:lnTo>
                  <a:lnTo>
                    <a:pt x="182" y="0"/>
                  </a:lnTo>
                  <a:lnTo>
                    <a:pt x="182" y="0"/>
                  </a:lnTo>
                  <a:lnTo>
                    <a:pt x="180" y="0"/>
                  </a:lnTo>
                  <a:lnTo>
                    <a:pt x="178" y="2"/>
                  </a:lnTo>
                  <a:lnTo>
                    <a:pt x="178" y="7"/>
                  </a:lnTo>
                  <a:lnTo>
                    <a:pt x="178" y="9"/>
                  </a:lnTo>
                  <a:lnTo>
                    <a:pt x="180" y="7"/>
                  </a:lnTo>
                  <a:lnTo>
                    <a:pt x="182" y="4"/>
                  </a:lnTo>
                  <a:close/>
                  <a:moveTo>
                    <a:pt x="475" y="150"/>
                  </a:moveTo>
                  <a:lnTo>
                    <a:pt x="475" y="150"/>
                  </a:lnTo>
                  <a:lnTo>
                    <a:pt x="475" y="148"/>
                  </a:lnTo>
                  <a:lnTo>
                    <a:pt x="475" y="146"/>
                  </a:lnTo>
                  <a:lnTo>
                    <a:pt x="473" y="144"/>
                  </a:lnTo>
                  <a:lnTo>
                    <a:pt x="473" y="144"/>
                  </a:lnTo>
                  <a:lnTo>
                    <a:pt x="471" y="146"/>
                  </a:lnTo>
                  <a:lnTo>
                    <a:pt x="469" y="146"/>
                  </a:lnTo>
                  <a:lnTo>
                    <a:pt x="469" y="144"/>
                  </a:lnTo>
                  <a:lnTo>
                    <a:pt x="466" y="144"/>
                  </a:lnTo>
                  <a:lnTo>
                    <a:pt x="466" y="144"/>
                  </a:lnTo>
                  <a:lnTo>
                    <a:pt x="466" y="146"/>
                  </a:lnTo>
                  <a:lnTo>
                    <a:pt x="466" y="148"/>
                  </a:lnTo>
                  <a:lnTo>
                    <a:pt x="466" y="150"/>
                  </a:lnTo>
                  <a:lnTo>
                    <a:pt x="466" y="152"/>
                  </a:lnTo>
                  <a:lnTo>
                    <a:pt x="466" y="152"/>
                  </a:lnTo>
                  <a:lnTo>
                    <a:pt x="466" y="152"/>
                  </a:lnTo>
                  <a:lnTo>
                    <a:pt x="469" y="152"/>
                  </a:lnTo>
                  <a:lnTo>
                    <a:pt x="469" y="152"/>
                  </a:lnTo>
                  <a:lnTo>
                    <a:pt x="475" y="152"/>
                  </a:lnTo>
                  <a:lnTo>
                    <a:pt x="475" y="152"/>
                  </a:lnTo>
                  <a:lnTo>
                    <a:pt x="475" y="150"/>
                  </a:lnTo>
                  <a:close/>
                  <a:moveTo>
                    <a:pt x="466" y="162"/>
                  </a:moveTo>
                  <a:lnTo>
                    <a:pt x="464" y="160"/>
                  </a:lnTo>
                  <a:lnTo>
                    <a:pt x="466" y="160"/>
                  </a:lnTo>
                  <a:lnTo>
                    <a:pt x="466" y="158"/>
                  </a:lnTo>
                  <a:lnTo>
                    <a:pt x="464" y="158"/>
                  </a:lnTo>
                  <a:lnTo>
                    <a:pt x="462" y="158"/>
                  </a:lnTo>
                  <a:lnTo>
                    <a:pt x="460" y="158"/>
                  </a:lnTo>
                  <a:lnTo>
                    <a:pt x="460" y="158"/>
                  </a:lnTo>
                  <a:lnTo>
                    <a:pt x="458" y="158"/>
                  </a:lnTo>
                  <a:lnTo>
                    <a:pt x="458" y="158"/>
                  </a:lnTo>
                  <a:lnTo>
                    <a:pt x="458" y="158"/>
                  </a:lnTo>
                  <a:lnTo>
                    <a:pt x="458" y="160"/>
                  </a:lnTo>
                  <a:lnTo>
                    <a:pt x="458" y="160"/>
                  </a:lnTo>
                  <a:lnTo>
                    <a:pt x="458" y="162"/>
                  </a:lnTo>
                  <a:lnTo>
                    <a:pt x="456" y="162"/>
                  </a:lnTo>
                  <a:lnTo>
                    <a:pt x="456" y="162"/>
                  </a:lnTo>
                  <a:lnTo>
                    <a:pt x="456" y="162"/>
                  </a:lnTo>
                  <a:lnTo>
                    <a:pt x="456" y="166"/>
                  </a:lnTo>
                  <a:lnTo>
                    <a:pt x="454" y="168"/>
                  </a:lnTo>
                  <a:lnTo>
                    <a:pt x="454" y="170"/>
                  </a:lnTo>
                  <a:lnTo>
                    <a:pt x="452" y="170"/>
                  </a:lnTo>
                  <a:lnTo>
                    <a:pt x="452" y="173"/>
                  </a:lnTo>
                  <a:lnTo>
                    <a:pt x="452" y="173"/>
                  </a:lnTo>
                  <a:lnTo>
                    <a:pt x="450" y="173"/>
                  </a:lnTo>
                  <a:lnTo>
                    <a:pt x="448" y="173"/>
                  </a:lnTo>
                  <a:lnTo>
                    <a:pt x="448" y="173"/>
                  </a:lnTo>
                  <a:lnTo>
                    <a:pt x="446" y="175"/>
                  </a:lnTo>
                  <a:lnTo>
                    <a:pt x="446" y="175"/>
                  </a:lnTo>
                  <a:lnTo>
                    <a:pt x="446" y="177"/>
                  </a:lnTo>
                  <a:lnTo>
                    <a:pt x="446" y="181"/>
                  </a:lnTo>
                  <a:lnTo>
                    <a:pt x="446" y="183"/>
                  </a:lnTo>
                  <a:lnTo>
                    <a:pt x="444" y="183"/>
                  </a:lnTo>
                  <a:lnTo>
                    <a:pt x="444" y="185"/>
                  </a:lnTo>
                  <a:lnTo>
                    <a:pt x="444" y="185"/>
                  </a:lnTo>
                  <a:lnTo>
                    <a:pt x="444" y="185"/>
                  </a:lnTo>
                  <a:lnTo>
                    <a:pt x="444" y="187"/>
                  </a:lnTo>
                  <a:lnTo>
                    <a:pt x="444" y="187"/>
                  </a:lnTo>
                  <a:lnTo>
                    <a:pt x="444" y="187"/>
                  </a:lnTo>
                  <a:lnTo>
                    <a:pt x="440" y="193"/>
                  </a:lnTo>
                  <a:lnTo>
                    <a:pt x="438" y="195"/>
                  </a:lnTo>
                  <a:lnTo>
                    <a:pt x="438" y="201"/>
                  </a:lnTo>
                  <a:lnTo>
                    <a:pt x="438" y="205"/>
                  </a:lnTo>
                  <a:lnTo>
                    <a:pt x="440" y="207"/>
                  </a:lnTo>
                  <a:lnTo>
                    <a:pt x="444" y="211"/>
                  </a:lnTo>
                  <a:lnTo>
                    <a:pt x="446" y="209"/>
                  </a:lnTo>
                  <a:lnTo>
                    <a:pt x="448" y="209"/>
                  </a:lnTo>
                  <a:lnTo>
                    <a:pt x="452" y="203"/>
                  </a:lnTo>
                  <a:lnTo>
                    <a:pt x="452" y="203"/>
                  </a:lnTo>
                  <a:lnTo>
                    <a:pt x="452" y="201"/>
                  </a:lnTo>
                  <a:lnTo>
                    <a:pt x="452" y="199"/>
                  </a:lnTo>
                  <a:lnTo>
                    <a:pt x="452" y="199"/>
                  </a:lnTo>
                  <a:lnTo>
                    <a:pt x="454" y="197"/>
                  </a:lnTo>
                  <a:lnTo>
                    <a:pt x="454" y="197"/>
                  </a:lnTo>
                  <a:lnTo>
                    <a:pt x="452" y="195"/>
                  </a:lnTo>
                  <a:lnTo>
                    <a:pt x="454" y="191"/>
                  </a:lnTo>
                  <a:lnTo>
                    <a:pt x="456" y="187"/>
                  </a:lnTo>
                  <a:lnTo>
                    <a:pt x="456" y="183"/>
                  </a:lnTo>
                  <a:lnTo>
                    <a:pt x="458" y="183"/>
                  </a:lnTo>
                  <a:lnTo>
                    <a:pt x="458" y="183"/>
                  </a:lnTo>
                  <a:lnTo>
                    <a:pt x="458" y="183"/>
                  </a:lnTo>
                  <a:lnTo>
                    <a:pt x="460" y="183"/>
                  </a:lnTo>
                  <a:lnTo>
                    <a:pt x="460" y="183"/>
                  </a:lnTo>
                  <a:lnTo>
                    <a:pt x="460" y="183"/>
                  </a:lnTo>
                  <a:lnTo>
                    <a:pt x="460" y="181"/>
                  </a:lnTo>
                  <a:lnTo>
                    <a:pt x="460" y="181"/>
                  </a:lnTo>
                  <a:lnTo>
                    <a:pt x="460" y="179"/>
                  </a:lnTo>
                  <a:lnTo>
                    <a:pt x="460" y="179"/>
                  </a:lnTo>
                  <a:lnTo>
                    <a:pt x="462" y="179"/>
                  </a:lnTo>
                  <a:lnTo>
                    <a:pt x="462" y="179"/>
                  </a:lnTo>
                  <a:lnTo>
                    <a:pt x="462" y="177"/>
                  </a:lnTo>
                  <a:lnTo>
                    <a:pt x="460" y="175"/>
                  </a:lnTo>
                  <a:lnTo>
                    <a:pt x="458" y="173"/>
                  </a:lnTo>
                  <a:lnTo>
                    <a:pt x="460" y="173"/>
                  </a:lnTo>
                  <a:lnTo>
                    <a:pt x="460" y="173"/>
                  </a:lnTo>
                  <a:lnTo>
                    <a:pt x="462" y="175"/>
                  </a:lnTo>
                  <a:lnTo>
                    <a:pt x="462" y="173"/>
                  </a:lnTo>
                  <a:lnTo>
                    <a:pt x="462" y="170"/>
                  </a:lnTo>
                  <a:lnTo>
                    <a:pt x="460" y="170"/>
                  </a:lnTo>
                  <a:lnTo>
                    <a:pt x="460" y="168"/>
                  </a:lnTo>
                  <a:lnTo>
                    <a:pt x="462" y="166"/>
                  </a:lnTo>
                  <a:lnTo>
                    <a:pt x="462" y="164"/>
                  </a:lnTo>
                  <a:lnTo>
                    <a:pt x="460" y="164"/>
                  </a:lnTo>
                  <a:lnTo>
                    <a:pt x="460" y="164"/>
                  </a:lnTo>
                  <a:lnTo>
                    <a:pt x="462" y="164"/>
                  </a:lnTo>
                  <a:lnTo>
                    <a:pt x="462" y="164"/>
                  </a:lnTo>
                  <a:lnTo>
                    <a:pt x="466" y="166"/>
                  </a:lnTo>
                  <a:lnTo>
                    <a:pt x="466" y="162"/>
                  </a:lnTo>
                  <a:lnTo>
                    <a:pt x="466" y="162"/>
                  </a:lnTo>
                  <a:lnTo>
                    <a:pt x="466" y="162"/>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WI</a:t>
              </a:r>
            </a:p>
          </p:txBody>
        </p:sp>
        <p:sp>
          <p:nvSpPr>
            <p:cNvPr id="68" name="Freeform 8">
              <a:extLst>
                <a:ext uri="{FF2B5EF4-FFF2-40B4-BE49-F238E27FC236}">
                  <a16:creationId xmlns:a16="http://schemas.microsoft.com/office/drawing/2014/main" id="{C1339339-2D0B-34FE-453A-A038336A0DF1}"/>
                </a:ext>
              </a:extLst>
            </p:cNvPr>
            <p:cNvSpPr>
              <a:spLocks noEditPoints="1"/>
            </p:cNvSpPr>
            <p:nvPr/>
          </p:nvSpPr>
          <p:spPr bwMode="auto">
            <a:xfrm>
              <a:off x="860" y="0"/>
              <a:ext cx="587" cy="387"/>
            </a:xfrm>
            <a:custGeom>
              <a:avLst/>
              <a:gdLst>
                <a:gd name="T0" fmla="*/ 147 w 587"/>
                <a:gd name="T1" fmla="*/ 57 h 387"/>
                <a:gd name="T2" fmla="*/ 137 w 587"/>
                <a:gd name="T3" fmla="*/ 37 h 387"/>
                <a:gd name="T4" fmla="*/ 149 w 587"/>
                <a:gd name="T5" fmla="*/ 35 h 387"/>
                <a:gd name="T6" fmla="*/ 149 w 587"/>
                <a:gd name="T7" fmla="*/ 94 h 387"/>
                <a:gd name="T8" fmla="*/ 149 w 587"/>
                <a:gd name="T9" fmla="*/ 27 h 387"/>
                <a:gd name="T10" fmla="*/ 143 w 587"/>
                <a:gd name="T11" fmla="*/ 43 h 387"/>
                <a:gd name="T12" fmla="*/ 149 w 587"/>
                <a:gd name="T13" fmla="*/ 78 h 387"/>
                <a:gd name="T14" fmla="*/ 166 w 587"/>
                <a:gd name="T15" fmla="*/ 111 h 387"/>
                <a:gd name="T16" fmla="*/ 161 w 587"/>
                <a:gd name="T17" fmla="*/ 103 h 387"/>
                <a:gd name="T18" fmla="*/ 163 w 587"/>
                <a:gd name="T19" fmla="*/ 76 h 387"/>
                <a:gd name="T20" fmla="*/ 163 w 587"/>
                <a:gd name="T21" fmla="*/ 35 h 387"/>
                <a:gd name="T22" fmla="*/ 161 w 587"/>
                <a:gd name="T23" fmla="*/ 43 h 387"/>
                <a:gd name="T24" fmla="*/ 159 w 587"/>
                <a:gd name="T25" fmla="*/ 172 h 387"/>
                <a:gd name="T26" fmla="*/ 149 w 587"/>
                <a:gd name="T27" fmla="*/ 174 h 387"/>
                <a:gd name="T28" fmla="*/ 155 w 587"/>
                <a:gd name="T29" fmla="*/ 146 h 387"/>
                <a:gd name="T30" fmla="*/ 127 w 587"/>
                <a:gd name="T31" fmla="*/ 191 h 387"/>
                <a:gd name="T32" fmla="*/ 114 w 587"/>
                <a:gd name="T33" fmla="*/ 180 h 387"/>
                <a:gd name="T34" fmla="*/ 20 w 587"/>
                <a:gd name="T35" fmla="*/ 234 h 387"/>
                <a:gd name="T36" fmla="*/ 139 w 587"/>
                <a:gd name="T37" fmla="*/ 27 h 387"/>
                <a:gd name="T38" fmla="*/ 133 w 587"/>
                <a:gd name="T39" fmla="*/ 55 h 387"/>
                <a:gd name="T40" fmla="*/ 546 w 587"/>
                <a:gd name="T41" fmla="*/ 76 h 387"/>
                <a:gd name="T42" fmla="*/ 166 w 587"/>
                <a:gd name="T43" fmla="*/ 6 h 387"/>
                <a:gd name="T44" fmla="*/ 166 w 587"/>
                <a:gd name="T45" fmla="*/ 33 h 387"/>
                <a:gd name="T46" fmla="*/ 172 w 587"/>
                <a:gd name="T47" fmla="*/ 47 h 387"/>
                <a:gd name="T48" fmla="*/ 157 w 587"/>
                <a:gd name="T49" fmla="*/ 55 h 387"/>
                <a:gd name="T50" fmla="*/ 172 w 587"/>
                <a:gd name="T51" fmla="*/ 72 h 387"/>
                <a:gd name="T52" fmla="*/ 174 w 587"/>
                <a:gd name="T53" fmla="*/ 105 h 387"/>
                <a:gd name="T54" fmla="*/ 182 w 587"/>
                <a:gd name="T55" fmla="*/ 109 h 387"/>
                <a:gd name="T56" fmla="*/ 166 w 587"/>
                <a:gd name="T57" fmla="*/ 129 h 387"/>
                <a:gd name="T58" fmla="*/ 161 w 587"/>
                <a:gd name="T59" fmla="*/ 152 h 387"/>
                <a:gd name="T60" fmla="*/ 147 w 587"/>
                <a:gd name="T61" fmla="*/ 178 h 387"/>
                <a:gd name="T62" fmla="*/ 114 w 587"/>
                <a:gd name="T63" fmla="*/ 189 h 387"/>
                <a:gd name="T64" fmla="*/ 110 w 587"/>
                <a:gd name="T65" fmla="*/ 187 h 387"/>
                <a:gd name="T66" fmla="*/ 127 w 587"/>
                <a:gd name="T67" fmla="*/ 164 h 387"/>
                <a:gd name="T68" fmla="*/ 129 w 587"/>
                <a:gd name="T69" fmla="*/ 178 h 387"/>
                <a:gd name="T70" fmla="*/ 143 w 587"/>
                <a:gd name="T71" fmla="*/ 178 h 387"/>
                <a:gd name="T72" fmla="*/ 143 w 587"/>
                <a:gd name="T73" fmla="*/ 148 h 387"/>
                <a:gd name="T74" fmla="*/ 157 w 587"/>
                <a:gd name="T75" fmla="*/ 135 h 387"/>
                <a:gd name="T76" fmla="*/ 151 w 587"/>
                <a:gd name="T77" fmla="*/ 123 h 387"/>
                <a:gd name="T78" fmla="*/ 125 w 587"/>
                <a:gd name="T79" fmla="*/ 160 h 387"/>
                <a:gd name="T80" fmla="*/ 133 w 587"/>
                <a:gd name="T81" fmla="*/ 119 h 387"/>
                <a:gd name="T82" fmla="*/ 147 w 587"/>
                <a:gd name="T83" fmla="*/ 119 h 387"/>
                <a:gd name="T84" fmla="*/ 137 w 587"/>
                <a:gd name="T85" fmla="*/ 92 h 387"/>
                <a:gd name="T86" fmla="*/ 123 w 587"/>
                <a:gd name="T87" fmla="*/ 88 h 387"/>
                <a:gd name="T88" fmla="*/ 69 w 587"/>
                <a:gd name="T89" fmla="*/ 72 h 387"/>
                <a:gd name="T90" fmla="*/ 6 w 587"/>
                <a:gd name="T91" fmla="*/ 49 h 387"/>
                <a:gd name="T92" fmla="*/ 14 w 587"/>
                <a:gd name="T93" fmla="*/ 103 h 387"/>
                <a:gd name="T94" fmla="*/ 14 w 587"/>
                <a:gd name="T95" fmla="*/ 189 h 387"/>
                <a:gd name="T96" fmla="*/ 32 w 587"/>
                <a:gd name="T97" fmla="*/ 189 h 387"/>
                <a:gd name="T98" fmla="*/ 16 w 587"/>
                <a:gd name="T99" fmla="*/ 195 h 387"/>
                <a:gd name="T100" fmla="*/ 37 w 587"/>
                <a:gd name="T101" fmla="*/ 223 h 387"/>
                <a:gd name="T102" fmla="*/ 22 w 587"/>
                <a:gd name="T103" fmla="*/ 240 h 387"/>
                <a:gd name="T104" fmla="*/ 16 w 587"/>
                <a:gd name="T105" fmla="*/ 221 h 387"/>
                <a:gd name="T106" fmla="*/ 14 w 587"/>
                <a:gd name="T107" fmla="*/ 256 h 387"/>
                <a:gd name="T108" fmla="*/ 63 w 587"/>
                <a:gd name="T109" fmla="*/ 281 h 387"/>
                <a:gd name="T110" fmla="*/ 96 w 587"/>
                <a:gd name="T111" fmla="*/ 322 h 387"/>
                <a:gd name="T112" fmla="*/ 163 w 587"/>
                <a:gd name="T113" fmla="*/ 351 h 387"/>
                <a:gd name="T114" fmla="*/ 245 w 587"/>
                <a:gd name="T115" fmla="*/ 369 h 387"/>
                <a:gd name="T116" fmla="*/ 340 w 587"/>
                <a:gd name="T117" fmla="*/ 363 h 387"/>
                <a:gd name="T118" fmla="*/ 553 w 587"/>
                <a:gd name="T119" fmla="*/ 387 h 387"/>
                <a:gd name="T120" fmla="*/ 573 w 587"/>
                <a:gd name="T121" fmla="*/ 178 h 387"/>
                <a:gd name="T122" fmla="*/ 127 w 587"/>
                <a:gd name="T123" fmla="*/ 2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7" h="387">
                  <a:moveTo>
                    <a:pt x="151" y="51"/>
                  </a:moveTo>
                  <a:lnTo>
                    <a:pt x="149" y="51"/>
                  </a:lnTo>
                  <a:lnTo>
                    <a:pt x="149" y="51"/>
                  </a:lnTo>
                  <a:lnTo>
                    <a:pt x="147" y="51"/>
                  </a:lnTo>
                  <a:lnTo>
                    <a:pt x="147" y="51"/>
                  </a:lnTo>
                  <a:lnTo>
                    <a:pt x="149" y="51"/>
                  </a:lnTo>
                  <a:lnTo>
                    <a:pt x="149" y="53"/>
                  </a:lnTo>
                  <a:lnTo>
                    <a:pt x="149" y="53"/>
                  </a:lnTo>
                  <a:lnTo>
                    <a:pt x="149" y="53"/>
                  </a:lnTo>
                  <a:lnTo>
                    <a:pt x="149" y="55"/>
                  </a:lnTo>
                  <a:lnTo>
                    <a:pt x="149" y="55"/>
                  </a:lnTo>
                  <a:lnTo>
                    <a:pt x="149" y="55"/>
                  </a:lnTo>
                  <a:lnTo>
                    <a:pt x="149" y="53"/>
                  </a:lnTo>
                  <a:lnTo>
                    <a:pt x="151" y="53"/>
                  </a:lnTo>
                  <a:lnTo>
                    <a:pt x="151" y="53"/>
                  </a:lnTo>
                  <a:lnTo>
                    <a:pt x="151" y="51"/>
                  </a:lnTo>
                  <a:lnTo>
                    <a:pt x="151" y="51"/>
                  </a:lnTo>
                  <a:lnTo>
                    <a:pt x="151" y="51"/>
                  </a:lnTo>
                  <a:lnTo>
                    <a:pt x="151" y="51"/>
                  </a:lnTo>
                  <a:lnTo>
                    <a:pt x="151" y="51"/>
                  </a:lnTo>
                  <a:close/>
                  <a:moveTo>
                    <a:pt x="147" y="62"/>
                  </a:moveTo>
                  <a:lnTo>
                    <a:pt x="147" y="60"/>
                  </a:lnTo>
                  <a:lnTo>
                    <a:pt x="149" y="60"/>
                  </a:lnTo>
                  <a:lnTo>
                    <a:pt x="149" y="57"/>
                  </a:lnTo>
                  <a:lnTo>
                    <a:pt x="149" y="55"/>
                  </a:lnTo>
                  <a:lnTo>
                    <a:pt x="147" y="57"/>
                  </a:lnTo>
                  <a:lnTo>
                    <a:pt x="147" y="55"/>
                  </a:lnTo>
                  <a:lnTo>
                    <a:pt x="145" y="55"/>
                  </a:lnTo>
                  <a:lnTo>
                    <a:pt x="145" y="53"/>
                  </a:lnTo>
                  <a:lnTo>
                    <a:pt x="147" y="49"/>
                  </a:lnTo>
                  <a:lnTo>
                    <a:pt x="147" y="47"/>
                  </a:lnTo>
                  <a:lnTo>
                    <a:pt x="147" y="45"/>
                  </a:lnTo>
                  <a:lnTo>
                    <a:pt x="145" y="45"/>
                  </a:lnTo>
                  <a:lnTo>
                    <a:pt x="143" y="47"/>
                  </a:lnTo>
                  <a:lnTo>
                    <a:pt x="143" y="47"/>
                  </a:lnTo>
                  <a:lnTo>
                    <a:pt x="143" y="47"/>
                  </a:lnTo>
                  <a:lnTo>
                    <a:pt x="143" y="49"/>
                  </a:lnTo>
                  <a:lnTo>
                    <a:pt x="143" y="49"/>
                  </a:lnTo>
                  <a:lnTo>
                    <a:pt x="141" y="51"/>
                  </a:lnTo>
                  <a:lnTo>
                    <a:pt x="141" y="51"/>
                  </a:lnTo>
                  <a:lnTo>
                    <a:pt x="139" y="53"/>
                  </a:lnTo>
                  <a:lnTo>
                    <a:pt x="139" y="55"/>
                  </a:lnTo>
                  <a:lnTo>
                    <a:pt x="141" y="55"/>
                  </a:lnTo>
                  <a:lnTo>
                    <a:pt x="143" y="57"/>
                  </a:lnTo>
                  <a:lnTo>
                    <a:pt x="143" y="57"/>
                  </a:lnTo>
                  <a:lnTo>
                    <a:pt x="143" y="60"/>
                  </a:lnTo>
                  <a:lnTo>
                    <a:pt x="147" y="62"/>
                  </a:lnTo>
                  <a:close/>
                  <a:moveTo>
                    <a:pt x="141" y="33"/>
                  </a:moveTo>
                  <a:lnTo>
                    <a:pt x="139" y="35"/>
                  </a:lnTo>
                  <a:lnTo>
                    <a:pt x="137" y="35"/>
                  </a:lnTo>
                  <a:lnTo>
                    <a:pt x="137" y="35"/>
                  </a:lnTo>
                  <a:lnTo>
                    <a:pt x="137" y="37"/>
                  </a:lnTo>
                  <a:lnTo>
                    <a:pt x="137" y="37"/>
                  </a:lnTo>
                  <a:lnTo>
                    <a:pt x="137" y="39"/>
                  </a:lnTo>
                  <a:lnTo>
                    <a:pt x="139" y="41"/>
                  </a:lnTo>
                  <a:lnTo>
                    <a:pt x="139" y="39"/>
                  </a:lnTo>
                  <a:lnTo>
                    <a:pt x="139" y="39"/>
                  </a:lnTo>
                  <a:lnTo>
                    <a:pt x="139" y="37"/>
                  </a:lnTo>
                  <a:lnTo>
                    <a:pt x="141" y="37"/>
                  </a:lnTo>
                  <a:lnTo>
                    <a:pt x="141" y="37"/>
                  </a:lnTo>
                  <a:lnTo>
                    <a:pt x="143" y="39"/>
                  </a:lnTo>
                  <a:lnTo>
                    <a:pt x="143" y="39"/>
                  </a:lnTo>
                  <a:lnTo>
                    <a:pt x="143" y="41"/>
                  </a:lnTo>
                  <a:lnTo>
                    <a:pt x="143" y="41"/>
                  </a:lnTo>
                  <a:lnTo>
                    <a:pt x="143" y="43"/>
                  </a:lnTo>
                  <a:lnTo>
                    <a:pt x="145" y="43"/>
                  </a:lnTo>
                  <a:lnTo>
                    <a:pt x="147" y="43"/>
                  </a:lnTo>
                  <a:lnTo>
                    <a:pt x="149" y="41"/>
                  </a:lnTo>
                  <a:lnTo>
                    <a:pt x="145" y="35"/>
                  </a:lnTo>
                  <a:lnTo>
                    <a:pt x="147" y="35"/>
                  </a:lnTo>
                  <a:lnTo>
                    <a:pt x="147" y="35"/>
                  </a:lnTo>
                  <a:lnTo>
                    <a:pt x="147" y="33"/>
                  </a:lnTo>
                  <a:lnTo>
                    <a:pt x="147" y="33"/>
                  </a:lnTo>
                  <a:lnTo>
                    <a:pt x="147" y="31"/>
                  </a:lnTo>
                  <a:lnTo>
                    <a:pt x="147" y="31"/>
                  </a:lnTo>
                  <a:lnTo>
                    <a:pt x="149" y="33"/>
                  </a:lnTo>
                  <a:lnTo>
                    <a:pt x="149" y="33"/>
                  </a:lnTo>
                  <a:lnTo>
                    <a:pt x="149" y="35"/>
                  </a:lnTo>
                  <a:lnTo>
                    <a:pt x="149" y="37"/>
                  </a:lnTo>
                  <a:lnTo>
                    <a:pt x="149" y="41"/>
                  </a:lnTo>
                  <a:lnTo>
                    <a:pt x="151" y="41"/>
                  </a:lnTo>
                  <a:lnTo>
                    <a:pt x="151" y="41"/>
                  </a:lnTo>
                  <a:lnTo>
                    <a:pt x="153" y="41"/>
                  </a:lnTo>
                  <a:lnTo>
                    <a:pt x="153" y="41"/>
                  </a:lnTo>
                  <a:lnTo>
                    <a:pt x="153" y="41"/>
                  </a:lnTo>
                  <a:lnTo>
                    <a:pt x="153" y="41"/>
                  </a:lnTo>
                  <a:lnTo>
                    <a:pt x="157" y="39"/>
                  </a:lnTo>
                  <a:lnTo>
                    <a:pt x="157" y="39"/>
                  </a:lnTo>
                  <a:lnTo>
                    <a:pt x="157" y="37"/>
                  </a:lnTo>
                  <a:lnTo>
                    <a:pt x="151" y="31"/>
                  </a:lnTo>
                  <a:lnTo>
                    <a:pt x="147" y="31"/>
                  </a:lnTo>
                  <a:lnTo>
                    <a:pt x="147" y="31"/>
                  </a:lnTo>
                  <a:lnTo>
                    <a:pt x="145" y="31"/>
                  </a:lnTo>
                  <a:lnTo>
                    <a:pt x="141" y="33"/>
                  </a:lnTo>
                  <a:lnTo>
                    <a:pt x="141" y="33"/>
                  </a:lnTo>
                  <a:close/>
                  <a:moveTo>
                    <a:pt x="145" y="98"/>
                  </a:moveTo>
                  <a:lnTo>
                    <a:pt x="147" y="100"/>
                  </a:lnTo>
                  <a:lnTo>
                    <a:pt x="147" y="103"/>
                  </a:lnTo>
                  <a:lnTo>
                    <a:pt x="147" y="105"/>
                  </a:lnTo>
                  <a:lnTo>
                    <a:pt x="149" y="105"/>
                  </a:lnTo>
                  <a:lnTo>
                    <a:pt x="149" y="103"/>
                  </a:lnTo>
                  <a:lnTo>
                    <a:pt x="151" y="100"/>
                  </a:lnTo>
                  <a:lnTo>
                    <a:pt x="149" y="98"/>
                  </a:lnTo>
                  <a:lnTo>
                    <a:pt x="149" y="94"/>
                  </a:lnTo>
                  <a:lnTo>
                    <a:pt x="149" y="94"/>
                  </a:lnTo>
                  <a:lnTo>
                    <a:pt x="149" y="94"/>
                  </a:lnTo>
                  <a:lnTo>
                    <a:pt x="147" y="94"/>
                  </a:lnTo>
                  <a:lnTo>
                    <a:pt x="149" y="96"/>
                  </a:lnTo>
                  <a:lnTo>
                    <a:pt x="149" y="98"/>
                  </a:lnTo>
                  <a:lnTo>
                    <a:pt x="149" y="100"/>
                  </a:lnTo>
                  <a:lnTo>
                    <a:pt x="147" y="100"/>
                  </a:lnTo>
                  <a:lnTo>
                    <a:pt x="147" y="98"/>
                  </a:lnTo>
                  <a:lnTo>
                    <a:pt x="147" y="96"/>
                  </a:lnTo>
                  <a:lnTo>
                    <a:pt x="147" y="96"/>
                  </a:lnTo>
                  <a:lnTo>
                    <a:pt x="147" y="96"/>
                  </a:lnTo>
                  <a:lnTo>
                    <a:pt x="147" y="96"/>
                  </a:lnTo>
                  <a:lnTo>
                    <a:pt x="145" y="98"/>
                  </a:lnTo>
                  <a:close/>
                  <a:moveTo>
                    <a:pt x="147" y="25"/>
                  </a:moveTo>
                  <a:lnTo>
                    <a:pt x="147" y="25"/>
                  </a:lnTo>
                  <a:lnTo>
                    <a:pt x="147" y="27"/>
                  </a:lnTo>
                  <a:lnTo>
                    <a:pt x="147" y="27"/>
                  </a:lnTo>
                  <a:lnTo>
                    <a:pt x="147" y="27"/>
                  </a:lnTo>
                  <a:lnTo>
                    <a:pt x="147" y="27"/>
                  </a:lnTo>
                  <a:lnTo>
                    <a:pt x="147" y="27"/>
                  </a:lnTo>
                  <a:lnTo>
                    <a:pt x="149" y="27"/>
                  </a:lnTo>
                  <a:lnTo>
                    <a:pt x="147" y="27"/>
                  </a:lnTo>
                  <a:lnTo>
                    <a:pt x="149" y="27"/>
                  </a:lnTo>
                  <a:lnTo>
                    <a:pt x="149" y="27"/>
                  </a:lnTo>
                  <a:lnTo>
                    <a:pt x="149" y="27"/>
                  </a:lnTo>
                  <a:lnTo>
                    <a:pt x="149" y="27"/>
                  </a:lnTo>
                  <a:lnTo>
                    <a:pt x="149" y="27"/>
                  </a:lnTo>
                  <a:lnTo>
                    <a:pt x="147" y="25"/>
                  </a:lnTo>
                  <a:lnTo>
                    <a:pt x="149" y="25"/>
                  </a:lnTo>
                  <a:lnTo>
                    <a:pt x="149" y="25"/>
                  </a:lnTo>
                  <a:lnTo>
                    <a:pt x="149" y="25"/>
                  </a:lnTo>
                  <a:lnTo>
                    <a:pt x="149" y="25"/>
                  </a:lnTo>
                  <a:lnTo>
                    <a:pt x="149" y="25"/>
                  </a:lnTo>
                  <a:lnTo>
                    <a:pt x="147" y="25"/>
                  </a:lnTo>
                  <a:lnTo>
                    <a:pt x="147" y="25"/>
                  </a:lnTo>
                  <a:lnTo>
                    <a:pt x="147" y="25"/>
                  </a:lnTo>
                  <a:lnTo>
                    <a:pt x="147" y="25"/>
                  </a:lnTo>
                  <a:lnTo>
                    <a:pt x="147" y="25"/>
                  </a:lnTo>
                  <a:close/>
                  <a:moveTo>
                    <a:pt x="139" y="45"/>
                  </a:moveTo>
                  <a:lnTo>
                    <a:pt x="139" y="45"/>
                  </a:lnTo>
                  <a:lnTo>
                    <a:pt x="141" y="45"/>
                  </a:lnTo>
                  <a:lnTo>
                    <a:pt x="141" y="45"/>
                  </a:lnTo>
                  <a:lnTo>
                    <a:pt x="141" y="45"/>
                  </a:lnTo>
                  <a:lnTo>
                    <a:pt x="141" y="45"/>
                  </a:lnTo>
                  <a:lnTo>
                    <a:pt x="141" y="45"/>
                  </a:lnTo>
                  <a:lnTo>
                    <a:pt x="143" y="45"/>
                  </a:lnTo>
                  <a:lnTo>
                    <a:pt x="143" y="45"/>
                  </a:lnTo>
                  <a:lnTo>
                    <a:pt x="143" y="45"/>
                  </a:lnTo>
                  <a:lnTo>
                    <a:pt x="143" y="45"/>
                  </a:lnTo>
                  <a:lnTo>
                    <a:pt x="143" y="45"/>
                  </a:lnTo>
                  <a:lnTo>
                    <a:pt x="143" y="43"/>
                  </a:lnTo>
                  <a:lnTo>
                    <a:pt x="143" y="43"/>
                  </a:lnTo>
                  <a:lnTo>
                    <a:pt x="143" y="43"/>
                  </a:lnTo>
                  <a:lnTo>
                    <a:pt x="143" y="43"/>
                  </a:lnTo>
                  <a:lnTo>
                    <a:pt x="143" y="43"/>
                  </a:lnTo>
                  <a:lnTo>
                    <a:pt x="143" y="43"/>
                  </a:lnTo>
                  <a:lnTo>
                    <a:pt x="143" y="43"/>
                  </a:lnTo>
                  <a:lnTo>
                    <a:pt x="141" y="43"/>
                  </a:lnTo>
                  <a:lnTo>
                    <a:pt x="143" y="43"/>
                  </a:lnTo>
                  <a:lnTo>
                    <a:pt x="143" y="43"/>
                  </a:lnTo>
                  <a:lnTo>
                    <a:pt x="141" y="41"/>
                  </a:lnTo>
                  <a:lnTo>
                    <a:pt x="141" y="41"/>
                  </a:lnTo>
                  <a:lnTo>
                    <a:pt x="137" y="41"/>
                  </a:lnTo>
                  <a:lnTo>
                    <a:pt x="137" y="41"/>
                  </a:lnTo>
                  <a:lnTo>
                    <a:pt x="137" y="41"/>
                  </a:lnTo>
                  <a:lnTo>
                    <a:pt x="137" y="41"/>
                  </a:lnTo>
                  <a:lnTo>
                    <a:pt x="137" y="43"/>
                  </a:lnTo>
                  <a:lnTo>
                    <a:pt x="137" y="43"/>
                  </a:lnTo>
                  <a:lnTo>
                    <a:pt x="139" y="43"/>
                  </a:lnTo>
                  <a:lnTo>
                    <a:pt x="139" y="43"/>
                  </a:lnTo>
                  <a:lnTo>
                    <a:pt x="139" y="45"/>
                  </a:lnTo>
                  <a:close/>
                  <a:moveTo>
                    <a:pt x="163" y="66"/>
                  </a:moveTo>
                  <a:lnTo>
                    <a:pt x="163" y="66"/>
                  </a:lnTo>
                  <a:lnTo>
                    <a:pt x="161" y="68"/>
                  </a:lnTo>
                  <a:lnTo>
                    <a:pt x="161" y="68"/>
                  </a:lnTo>
                  <a:lnTo>
                    <a:pt x="159" y="68"/>
                  </a:lnTo>
                  <a:lnTo>
                    <a:pt x="157" y="70"/>
                  </a:lnTo>
                  <a:lnTo>
                    <a:pt x="149" y="78"/>
                  </a:lnTo>
                  <a:lnTo>
                    <a:pt x="149" y="80"/>
                  </a:lnTo>
                  <a:lnTo>
                    <a:pt x="149" y="84"/>
                  </a:lnTo>
                  <a:lnTo>
                    <a:pt x="149" y="84"/>
                  </a:lnTo>
                  <a:lnTo>
                    <a:pt x="149" y="86"/>
                  </a:lnTo>
                  <a:lnTo>
                    <a:pt x="151" y="86"/>
                  </a:lnTo>
                  <a:lnTo>
                    <a:pt x="151" y="86"/>
                  </a:lnTo>
                  <a:lnTo>
                    <a:pt x="151" y="86"/>
                  </a:lnTo>
                  <a:lnTo>
                    <a:pt x="153" y="90"/>
                  </a:lnTo>
                  <a:lnTo>
                    <a:pt x="155" y="90"/>
                  </a:lnTo>
                  <a:lnTo>
                    <a:pt x="157" y="90"/>
                  </a:lnTo>
                  <a:lnTo>
                    <a:pt x="157" y="90"/>
                  </a:lnTo>
                  <a:lnTo>
                    <a:pt x="157" y="92"/>
                  </a:lnTo>
                  <a:lnTo>
                    <a:pt x="155" y="98"/>
                  </a:lnTo>
                  <a:lnTo>
                    <a:pt x="155" y="100"/>
                  </a:lnTo>
                  <a:lnTo>
                    <a:pt x="157" y="103"/>
                  </a:lnTo>
                  <a:lnTo>
                    <a:pt x="155" y="105"/>
                  </a:lnTo>
                  <a:lnTo>
                    <a:pt x="157" y="107"/>
                  </a:lnTo>
                  <a:lnTo>
                    <a:pt x="157" y="109"/>
                  </a:lnTo>
                  <a:lnTo>
                    <a:pt x="159" y="109"/>
                  </a:lnTo>
                  <a:lnTo>
                    <a:pt x="159" y="111"/>
                  </a:lnTo>
                  <a:lnTo>
                    <a:pt x="159" y="111"/>
                  </a:lnTo>
                  <a:lnTo>
                    <a:pt x="161" y="111"/>
                  </a:lnTo>
                  <a:lnTo>
                    <a:pt x="161" y="111"/>
                  </a:lnTo>
                  <a:lnTo>
                    <a:pt x="163" y="109"/>
                  </a:lnTo>
                  <a:lnTo>
                    <a:pt x="163" y="109"/>
                  </a:lnTo>
                  <a:lnTo>
                    <a:pt x="166" y="111"/>
                  </a:lnTo>
                  <a:lnTo>
                    <a:pt x="166" y="113"/>
                  </a:lnTo>
                  <a:lnTo>
                    <a:pt x="166" y="115"/>
                  </a:lnTo>
                  <a:lnTo>
                    <a:pt x="166" y="117"/>
                  </a:lnTo>
                  <a:lnTo>
                    <a:pt x="166" y="119"/>
                  </a:lnTo>
                  <a:lnTo>
                    <a:pt x="166" y="119"/>
                  </a:lnTo>
                  <a:lnTo>
                    <a:pt x="168" y="117"/>
                  </a:lnTo>
                  <a:lnTo>
                    <a:pt x="170" y="119"/>
                  </a:lnTo>
                  <a:lnTo>
                    <a:pt x="168" y="119"/>
                  </a:lnTo>
                  <a:lnTo>
                    <a:pt x="168" y="119"/>
                  </a:lnTo>
                  <a:lnTo>
                    <a:pt x="170" y="119"/>
                  </a:lnTo>
                  <a:lnTo>
                    <a:pt x="170" y="119"/>
                  </a:lnTo>
                  <a:lnTo>
                    <a:pt x="170" y="119"/>
                  </a:lnTo>
                  <a:lnTo>
                    <a:pt x="170" y="119"/>
                  </a:lnTo>
                  <a:lnTo>
                    <a:pt x="172" y="117"/>
                  </a:lnTo>
                  <a:lnTo>
                    <a:pt x="172" y="115"/>
                  </a:lnTo>
                  <a:lnTo>
                    <a:pt x="174" y="115"/>
                  </a:lnTo>
                  <a:lnTo>
                    <a:pt x="174" y="115"/>
                  </a:lnTo>
                  <a:lnTo>
                    <a:pt x="172" y="113"/>
                  </a:lnTo>
                  <a:lnTo>
                    <a:pt x="172" y="111"/>
                  </a:lnTo>
                  <a:lnTo>
                    <a:pt x="172" y="109"/>
                  </a:lnTo>
                  <a:lnTo>
                    <a:pt x="168" y="103"/>
                  </a:lnTo>
                  <a:lnTo>
                    <a:pt x="166" y="103"/>
                  </a:lnTo>
                  <a:lnTo>
                    <a:pt x="166" y="100"/>
                  </a:lnTo>
                  <a:lnTo>
                    <a:pt x="163" y="98"/>
                  </a:lnTo>
                  <a:lnTo>
                    <a:pt x="161" y="100"/>
                  </a:lnTo>
                  <a:lnTo>
                    <a:pt x="161" y="103"/>
                  </a:lnTo>
                  <a:lnTo>
                    <a:pt x="163" y="105"/>
                  </a:lnTo>
                  <a:lnTo>
                    <a:pt x="161" y="107"/>
                  </a:lnTo>
                  <a:lnTo>
                    <a:pt x="159" y="107"/>
                  </a:lnTo>
                  <a:lnTo>
                    <a:pt x="159" y="105"/>
                  </a:lnTo>
                  <a:lnTo>
                    <a:pt x="159" y="100"/>
                  </a:lnTo>
                  <a:lnTo>
                    <a:pt x="161" y="94"/>
                  </a:lnTo>
                  <a:lnTo>
                    <a:pt x="161" y="90"/>
                  </a:lnTo>
                  <a:lnTo>
                    <a:pt x="161" y="88"/>
                  </a:lnTo>
                  <a:lnTo>
                    <a:pt x="159" y="86"/>
                  </a:lnTo>
                  <a:lnTo>
                    <a:pt x="157" y="84"/>
                  </a:lnTo>
                  <a:lnTo>
                    <a:pt x="157" y="84"/>
                  </a:lnTo>
                  <a:lnTo>
                    <a:pt x="155" y="82"/>
                  </a:lnTo>
                  <a:lnTo>
                    <a:pt x="155" y="82"/>
                  </a:lnTo>
                  <a:lnTo>
                    <a:pt x="153" y="82"/>
                  </a:lnTo>
                  <a:lnTo>
                    <a:pt x="151" y="82"/>
                  </a:lnTo>
                  <a:lnTo>
                    <a:pt x="151" y="80"/>
                  </a:lnTo>
                  <a:lnTo>
                    <a:pt x="155" y="82"/>
                  </a:lnTo>
                  <a:lnTo>
                    <a:pt x="157" y="80"/>
                  </a:lnTo>
                  <a:lnTo>
                    <a:pt x="157" y="80"/>
                  </a:lnTo>
                  <a:lnTo>
                    <a:pt x="157" y="78"/>
                  </a:lnTo>
                  <a:lnTo>
                    <a:pt x="157" y="76"/>
                  </a:lnTo>
                  <a:lnTo>
                    <a:pt x="159" y="80"/>
                  </a:lnTo>
                  <a:lnTo>
                    <a:pt x="159" y="78"/>
                  </a:lnTo>
                  <a:lnTo>
                    <a:pt x="161" y="76"/>
                  </a:lnTo>
                  <a:lnTo>
                    <a:pt x="161" y="76"/>
                  </a:lnTo>
                  <a:lnTo>
                    <a:pt x="163" y="76"/>
                  </a:lnTo>
                  <a:lnTo>
                    <a:pt x="163" y="78"/>
                  </a:lnTo>
                  <a:lnTo>
                    <a:pt x="166" y="78"/>
                  </a:lnTo>
                  <a:lnTo>
                    <a:pt x="166" y="78"/>
                  </a:lnTo>
                  <a:lnTo>
                    <a:pt x="168" y="78"/>
                  </a:lnTo>
                  <a:lnTo>
                    <a:pt x="168" y="76"/>
                  </a:lnTo>
                  <a:lnTo>
                    <a:pt x="163" y="72"/>
                  </a:lnTo>
                  <a:lnTo>
                    <a:pt x="163" y="70"/>
                  </a:lnTo>
                  <a:lnTo>
                    <a:pt x="163" y="68"/>
                  </a:lnTo>
                  <a:lnTo>
                    <a:pt x="163" y="68"/>
                  </a:lnTo>
                  <a:lnTo>
                    <a:pt x="163" y="68"/>
                  </a:lnTo>
                  <a:lnTo>
                    <a:pt x="163" y="66"/>
                  </a:lnTo>
                  <a:close/>
                  <a:moveTo>
                    <a:pt x="168" y="35"/>
                  </a:moveTo>
                  <a:lnTo>
                    <a:pt x="168" y="35"/>
                  </a:lnTo>
                  <a:lnTo>
                    <a:pt x="166" y="35"/>
                  </a:lnTo>
                  <a:lnTo>
                    <a:pt x="166" y="35"/>
                  </a:lnTo>
                  <a:lnTo>
                    <a:pt x="166" y="35"/>
                  </a:lnTo>
                  <a:lnTo>
                    <a:pt x="168" y="37"/>
                  </a:lnTo>
                  <a:lnTo>
                    <a:pt x="170" y="37"/>
                  </a:lnTo>
                  <a:lnTo>
                    <a:pt x="170" y="35"/>
                  </a:lnTo>
                  <a:lnTo>
                    <a:pt x="170" y="35"/>
                  </a:lnTo>
                  <a:lnTo>
                    <a:pt x="168" y="33"/>
                  </a:lnTo>
                  <a:lnTo>
                    <a:pt x="168" y="35"/>
                  </a:lnTo>
                  <a:lnTo>
                    <a:pt x="168" y="35"/>
                  </a:lnTo>
                  <a:lnTo>
                    <a:pt x="168" y="35"/>
                  </a:lnTo>
                  <a:lnTo>
                    <a:pt x="168" y="35"/>
                  </a:lnTo>
                  <a:close/>
                  <a:moveTo>
                    <a:pt x="163" y="35"/>
                  </a:moveTo>
                  <a:lnTo>
                    <a:pt x="163" y="31"/>
                  </a:lnTo>
                  <a:lnTo>
                    <a:pt x="161" y="31"/>
                  </a:lnTo>
                  <a:lnTo>
                    <a:pt x="161" y="31"/>
                  </a:lnTo>
                  <a:lnTo>
                    <a:pt x="161" y="33"/>
                  </a:lnTo>
                  <a:lnTo>
                    <a:pt x="161" y="33"/>
                  </a:lnTo>
                  <a:lnTo>
                    <a:pt x="163" y="37"/>
                  </a:lnTo>
                  <a:lnTo>
                    <a:pt x="163" y="39"/>
                  </a:lnTo>
                  <a:lnTo>
                    <a:pt x="166" y="39"/>
                  </a:lnTo>
                  <a:lnTo>
                    <a:pt x="166" y="41"/>
                  </a:lnTo>
                  <a:lnTo>
                    <a:pt x="168" y="41"/>
                  </a:lnTo>
                  <a:lnTo>
                    <a:pt x="168" y="41"/>
                  </a:lnTo>
                  <a:lnTo>
                    <a:pt x="168" y="41"/>
                  </a:lnTo>
                  <a:lnTo>
                    <a:pt x="168" y="39"/>
                  </a:lnTo>
                  <a:lnTo>
                    <a:pt x="168" y="37"/>
                  </a:lnTo>
                  <a:lnTo>
                    <a:pt x="168" y="37"/>
                  </a:lnTo>
                  <a:lnTo>
                    <a:pt x="166" y="37"/>
                  </a:lnTo>
                  <a:lnTo>
                    <a:pt x="166" y="35"/>
                  </a:lnTo>
                  <a:lnTo>
                    <a:pt x="163" y="35"/>
                  </a:lnTo>
                  <a:close/>
                  <a:moveTo>
                    <a:pt x="161" y="43"/>
                  </a:moveTo>
                  <a:lnTo>
                    <a:pt x="161" y="43"/>
                  </a:lnTo>
                  <a:lnTo>
                    <a:pt x="163" y="45"/>
                  </a:lnTo>
                  <a:lnTo>
                    <a:pt x="163" y="43"/>
                  </a:lnTo>
                  <a:lnTo>
                    <a:pt x="163" y="43"/>
                  </a:lnTo>
                  <a:lnTo>
                    <a:pt x="163" y="43"/>
                  </a:lnTo>
                  <a:lnTo>
                    <a:pt x="161" y="43"/>
                  </a:lnTo>
                  <a:lnTo>
                    <a:pt x="161" y="43"/>
                  </a:lnTo>
                  <a:close/>
                  <a:moveTo>
                    <a:pt x="159" y="45"/>
                  </a:moveTo>
                  <a:lnTo>
                    <a:pt x="159" y="45"/>
                  </a:lnTo>
                  <a:lnTo>
                    <a:pt x="159" y="43"/>
                  </a:lnTo>
                  <a:lnTo>
                    <a:pt x="157" y="43"/>
                  </a:lnTo>
                  <a:lnTo>
                    <a:pt x="157" y="45"/>
                  </a:lnTo>
                  <a:lnTo>
                    <a:pt x="157" y="47"/>
                  </a:lnTo>
                  <a:lnTo>
                    <a:pt x="157" y="49"/>
                  </a:lnTo>
                  <a:lnTo>
                    <a:pt x="157" y="49"/>
                  </a:lnTo>
                  <a:lnTo>
                    <a:pt x="159" y="51"/>
                  </a:lnTo>
                  <a:lnTo>
                    <a:pt x="159" y="51"/>
                  </a:lnTo>
                  <a:lnTo>
                    <a:pt x="159" y="49"/>
                  </a:lnTo>
                  <a:lnTo>
                    <a:pt x="159" y="49"/>
                  </a:lnTo>
                  <a:lnTo>
                    <a:pt x="161" y="49"/>
                  </a:lnTo>
                  <a:lnTo>
                    <a:pt x="161" y="47"/>
                  </a:lnTo>
                  <a:lnTo>
                    <a:pt x="161" y="47"/>
                  </a:lnTo>
                  <a:lnTo>
                    <a:pt x="159" y="45"/>
                  </a:lnTo>
                  <a:lnTo>
                    <a:pt x="159" y="45"/>
                  </a:lnTo>
                  <a:close/>
                  <a:moveTo>
                    <a:pt x="153" y="172"/>
                  </a:moveTo>
                  <a:lnTo>
                    <a:pt x="151" y="172"/>
                  </a:lnTo>
                  <a:lnTo>
                    <a:pt x="151" y="172"/>
                  </a:lnTo>
                  <a:lnTo>
                    <a:pt x="151" y="174"/>
                  </a:lnTo>
                  <a:lnTo>
                    <a:pt x="151" y="176"/>
                  </a:lnTo>
                  <a:lnTo>
                    <a:pt x="153" y="174"/>
                  </a:lnTo>
                  <a:lnTo>
                    <a:pt x="155" y="172"/>
                  </a:lnTo>
                  <a:lnTo>
                    <a:pt x="159" y="172"/>
                  </a:lnTo>
                  <a:lnTo>
                    <a:pt x="159" y="172"/>
                  </a:lnTo>
                  <a:lnTo>
                    <a:pt x="159" y="170"/>
                  </a:lnTo>
                  <a:lnTo>
                    <a:pt x="157" y="170"/>
                  </a:lnTo>
                  <a:lnTo>
                    <a:pt x="155" y="168"/>
                  </a:lnTo>
                  <a:lnTo>
                    <a:pt x="155" y="166"/>
                  </a:lnTo>
                  <a:lnTo>
                    <a:pt x="155" y="166"/>
                  </a:lnTo>
                  <a:lnTo>
                    <a:pt x="155" y="164"/>
                  </a:lnTo>
                  <a:lnTo>
                    <a:pt x="155" y="162"/>
                  </a:lnTo>
                  <a:lnTo>
                    <a:pt x="155" y="162"/>
                  </a:lnTo>
                  <a:lnTo>
                    <a:pt x="155" y="162"/>
                  </a:lnTo>
                  <a:lnTo>
                    <a:pt x="155" y="160"/>
                  </a:lnTo>
                  <a:lnTo>
                    <a:pt x="155" y="160"/>
                  </a:lnTo>
                  <a:lnTo>
                    <a:pt x="155" y="160"/>
                  </a:lnTo>
                  <a:lnTo>
                    <a:pt x="153" y="160"/>
                  </a:lnTo>
                  <a:lnTo>
                    <a:pt x="151" y="162"/>
                  </a:lnTo>
                  <a:lnTo>
                    <a:pt x="151" y="162"/>
                  </a:lnTo>
                  <a:lnTo>
                    <a:pt x="149" y="170"/>
                  </a:lnTo>
                  <a:lnTo>
                    <a:pt x="147" y="170"/>
                  </a:lnTo>
                  <a:lnTo>
                    <a:pt x="147" y="172"/>
                  </a:lnTo>
                  <a:lnTo>
                    <a:pt x="147" y="172"/>
                  </a:lnTo>
                  <a:lnTo>
                    <a:pt x="147" y="174"/>
                  </a:lnTo>
                  <a:lnTo>
                    <a:pt x="147" y="174"/>
                  </a:lnTo>
                  <a:lnTo>
                    <a:pt x="147" y="174"/>
                  </a:lnTo>
                  <a:lnTo>
                    <a:pt x="149" y="176"/>
                  </a:lnTo>
                  <a:lnTo>
                    <a:pt x="149" y="174"/>
                  </a:lnTo>
                  <a:lnTo>
                    <a:pt x="149" y="174"/>
                  </a:lnTo>
                  <a:lnTo>
                    <a:pt x="149" y="174"/>
                  </a:lnTo>
                  <a:lnTo>
                    <a:pt x="151" y="172"/>
                  </a:lnTo>
                  <a:lnTo>
                    <a:pt x="151" y="170"/>
                  </a:lnTo>
                  <a:lnTo>
                    <a:pt x="151" y="170"/>
                  </a:lnTo>
                  <a:lnTo>
                    <a:pt x="153" y="170"/>
                  </a:lnTo>
                  <a:lnTo>
                    <a:pt x="153" y="170"/>
                  </a:lnTo>
                  <a:lnTo>
                    <a:pt x="153" y="170"/>
                  </a:lnTo>
                  <a:lnTo>
                    <a:pt x="155" y="170"/>
                  </a:lnTo>
                  <a:lnTo>
                    <a:pt x="153" y="170"/>
                  </a:lnTo>
                  <a:lnTo>
                    <a:pt x="153" y="172"/>
                  </a:lnTo>
                  <a:close/>
                  <a:moveTo>
                    <a:pt x="149" y="148"/>
                  </a:moveTo>
                  <a:lnTo>
                    <a:pt x="149" y="148"/>
                  </a:lnTo>
                  <a:lnTo>
                    <a:pt x="149" y="148"/>
                  </a:lnTo>
                  <a:lnTo>
                    <a:pt x="151" y="148"/>
                  </a:lnTo>
                  <a:lnTo>
                    <a:pt x="151" y="150"/>
                  </a:lnTo>
                  <a:lnTo>
                    <a:pt x="153" y="152"/>
                  </a:lnTo>
                  <a:lnTo>
                    <a:pt x="155" y="150"/>
                  </a:lnTo>
                  <a:lnTo>
                    <a:pt x="155" y="150"/>
                  </a:lnTo>
                  <a:lnTo>
                    <a:pt x="155" y="150"/>
                  </a:lnTo>
                  <a:lnTo>
                    <a:pt x="155" y="150"/>
                  </a:lnTo>
                  <a:lnTo>
                    <a:pt x="155" y="148"/>
                  </a:lnTo>
                  <a:lnTo>
                    <a:pt x="155" y="148"/>
                  </a:lnTo>
                  <a:lnTo>
                    <a:pt x="155" y="148"/>
                  </a:lnTo>
                  <a:lnTo>
                    <a:pt x="155" y="146"/>
                  </a:lnTo>
                  <a:lnTo>
                    <a:pt x="153" y="146"/>
                  </a:lnTo>
                  <a:lnTo>
                    <a:pt x="155" y="146"/>
                  </a:lnTo>
                  <a:lnTo>
                    <a:pt x="155" y="146"/>
                  </a:lnTo>
                  <a:lnTo>
                    <a:pt x="155" y="144"/>
                  </a:lnTo>
                  <a:lnTo>
                    <a:pt x="155" y="144"/>
                  </a:lnTo>
                  <a:lnTo>
                    <a:pt x="155" y="141"/>
                  </a:lnTo>
                  <a:lnTo>
                    <a:pt x="155" y="137"/>
                  </a:lnTo>
                  <a:lnTo>
                    <a:pt x="155" y="137"/>
                  </a:lnTo>
                  <a:lnTo>
                    <a:pt x="155" y="137"/>
                  </a:lnTo>
                  <a:lnTo>
                    <a:pt x="153" y="135"/>
                  </a:lnTo>
                  <a:lnTo>
                    <a:pt x="153" y="135"/>
                  </a:lnTo>
                  <a:lnTo>
                    <a:pt x="153" y="135"/>
                  </a:lnTo>
                  <a:lnTo>
                    <a:pt x="151" y="137"/>
                  </a:lnTo>
                  <a:lnTo>
                    <a:pt x="151" y="137"/>
                  </a:lnTo>
                  <a:lnTo>
                    <a:pt x="151" y="139"/>
                  </a:lnTo>
                  <a:lnTo>
                    <a:pt x="149" y="139"/>
                  </a:lnTo>
                  <a:lnTo>
                    <a:pt x="149" y="141"/>
                  </a:lnTo>
                  <a:lnTo>
                    <a:pt x="149" y="141"/>
                  </a:lnTo>
                  <a:lnTo>
                    <a:pt x="149" y="144"/>
                  </a:lnTo>
                  <a:lnTo>
                    <a:pt x="149" y="144"/>
                  </a:lnTo>
                  <a:lnTo>
                    <a:pt x="149" y="146"/>
                  </a:lnTo>
                  <a:lnTo>
                    <a:pt x="149" y="148"/>
                  </a:lnTo>
                  <a:close/>
                  <a:moveTo>
                    <a:pt x="131" y="187"/>
                  </a:moveTo>
                  <a:lnTo>
                    <a:pt x="129" y="187"/>
                  </a:lnTo>
                  <a:lnTo>
                    <a:pt x="129" y="189"/>
                  </a:lnTo>
                  <a:lnTo>
                    <a:pt x="129" y="189"/>
                  </a:lnTo>
                  <a:lnTo>
                    <a:pt x="127" y="189"/>
                  </a:lnTo>
                  <a:lnTo>
                    <a:pt x="127" y="189"/>
                  </a:lnTo>
                  <a:lnTo>
                    <a:pt x="127" y="191"/>
                  </a:lnTo>
                  <a:lnTo>
                    <a:pt x="127" y="191"/>
                  </a:lnTo>
                  <a:lnTo>
                    <a:pt x="127" y="193"/>
                  </a:lnTo>
                  <a:lnTo>
                    <a:pt x="129" y="193"/>
                  </a:lnTo>
                  <a:lnTo>
                    <a:pt x="129" y="193"/>
                  </a:lnTo>
                  <a:lnTo>
                    <a:pt x="129" y="193"/>
                  </a:lnTo>
                  <a:lnTo>
                    <a:pt x="131" y="193"/>
                  </a:lnTo>
                  <a:lnTo>
                    <a:pt x="131" y="193"/>
                  </a:lnTo>
                  <a:lnTo>
                    <a:pt x="133" y="191"/>
                  </a:lnTo>
                  <a:lnTo>
                    <a:pt x="133" y="189"/>
                  </a:lnTo>
                  <a:lnTo>
                    <a:pt x="133" y="189"/>
                  </a:lnTo>
                  <a:lnTo>
                    <a:pt x="131" y="189"/>
                  </a:lnTo>
                  <a:lnTo>
                    <a:pt x="131" y="187"/>
                  </a:lnTo>
                  <a:close/>
                  <a:moveTo>
                    <a:pt x="120" y="176"/>
                  </a:moveTo>
                  <a:lnTo>
                    <a:pt x="120" y="174"/>
                  </a:lnTo>
                  <a:lnTo>
                    <a:pt x="120" y="174"/>
                  </a:lnTo>
                  <a:lnTo>
                    <a:pt x="123" y="174"/>
                  </a:lnTo>
                  <a:lnTo>
                    <a:pt x="120" y="174"/>
                  </a:lnTo>
                  <a:lnTo>
                    <a:pt x="120" y="174"/>
                  </a:lnTo>
                  <a:lnTo>
                    <a:pt x="118" y="174"/>
                  </a:lnTo>
                  <a:lnTo>
                    <a:pt x="118" y="174"/>
                  </a:lnTo>
                  <a:lnTo>
                    <a:pt x="116" y="174"/>
                  </a:lnTo>
                  <a:lnTo>
                    <a:pt x="116" y="174"/>
                  </a:lnTo>
                  <a:lnTo>
                    <a:pt x="116" y="176"/>
                  </a:lnTo>
                  <a:lnTo>
                    <a:pt x="114" y="178"/>
                  </a:lnTo>
                  <a:lnTo>
                    <a:pt x="114" y="178"/>
                  </a:lnTo>
                  <a:lnTo>
                    <a:pt x="114" y="180"/>
                  </a:lnTo>
                  <a:lnTo>
                    <a:pt x="116" y="182"/>
                  </a:lnTo>
                  <a:lnTo>
                    <a:pt x="116" y="182"/>
                  </a:lnTo>
                  <a:lnTo>
                    <a:pt x="116" y="182"/>
                  </a:lnTo>
                  <a:lnTo>
                    <a:pt x="116" y="185"/>
                  </a:lnTo>
                  <a:lnTo>
                    <a:pt x="116" y="185"/>
                  </a:lnTo>
                  <a:lnTo>
                    <a:pt x="116" y="187"/>
                  </a:lnTo>
                  <a:lnTo>
                    <a:pt x="118" y="185"/>
                  </a:lnTo>
                  <a:lnTo>
                    <a:pt x="120" y="185"/>
                  </a:lnTo>
                  <a:lnTo>
                    <a:pt x="120" y="182"/>
                  </a:lnTo>
                  <a:lnTo>
                    <a:pt x="120" y="180"/>
                  </a:lnTo>
                  <a:lnTo>
                    <a:pt x="120" y="180"/>
                  </a:lnTo>
                  <a:lnTo>
                    <a:pt x="118" y="178"/>
                  </a:lnTo>
                  <a:lnTo>
                    <a:pt x="118" y="176"/>
                  </a:lnTo>
                  <a:lnTo>
                    <a:pt x="120" y="176"/>
                  </a:lnTo>
                  <a:close/>
                  <a:moveTo>
                    <a:pt x="18" y="238"/>
                  </a:moveTo>
                  <a:lnTo>
                    <a:pt x="18" y="238"/>
                  </a:lnTo>
                  <a:lnTo>
                    <a:pt x="18" y="240"/>
                  </a:lnTo>
                  <a:lnTo>
                    <a:pt x="20" y="244"/>
                  </a:lnTo>
                  <a:lnTo>
                    <a:pt x="20" y="242"/>
                  </a:lnTo>
                  <a:lnTo>
                    <a:pt x="20" y="242"/>
                  </a:lnTo>
                  <a:lnTo>
                    <a:pt x="22" y="240"/>
                  </a:lnTo>
                  <a:lnTo>
                    <a:pt x="22" y="238"/>
                  </a:lnTo>
                  <a:lnTo>
                    <a:pt x="20" y="236"/>
                  </a:lnTo>
                  <a:lnTo>
                    <a:pt x="20" y="236"/>
                  </a:lnTo>
                  <a:lnTo>
                    <a:pt x="20" y="236"/>
                  </a:lnTo>
                  <a:lnTo>
                    <a:pt x="20" y="234"/>
                  </a:lnTo>
                  <a:lnTo>
                    <a:pt x="20" y="234"/>
                  </a:lnTo>
                  <a:lnTo>
                    <a:pt x="18" y="236"/>
                  </a:lnTo>
                  <a:lnTo>
                    <a:pt x="18" y="236"/>
                  </a:lnTo>
                  <a:lnTo>
                    <a:pt x="18" y="238"/>
                  </a:lnTo>
                  <a:lnTo>
                    <a:pt x="18" y="238"/>
                  </a:lnTo>
                  <a:close/>
                  <a:moveTo>
                    <a:pt x="127" y="33"/>
                  </a:moveTo>
                  <a:lnTo>
                    <a:pt x="129" y="33"/>
                  </a:lnTo>
                  <a:lnTo>
                    <a:pt x="129" y="35"/>
                  </a:lnTo>
                  <a:lnTo>
                    <a:pt x="131" y="35"/>
                  </a:lnTo>
                  <a:lnTo>
                    <a:pt x="131" y="35"/>
                  </a:lnTo>
                  <a:lnTo>
                    <a:pt x="131" y="35"/>
                  </a:lnTo>
                  <a:lnTo>
                    <a:pt x="131" y="35"/>
                  </a:lnTo>
                  <a:lnTo>
                    <a:pt x="131" y="35"/>
                  </a:lnTo>
                  <a:lnTo>
                    <a:pt x="129" y="33"/>
                  </a:lnTo>
                  <a:lnTo>
                    <a:pt x="129" y="33"/>
                  </a:lnTo>
                  <a:lnTo>
                    <a:pt x="129" y="33"/>
                  </a:lnTo>
                  <a:lnTo>
                    <a:pt x="127" y="33"/>
                  </a:lnTo>
                  <a:lnTo>
                    <a:pt x="127" y="33"/>
                  </a:lnTo>
                  <a:close/>
                  <a:moveTo>
                    <a:pt x="137" y="31"/>
                  </a:moveTo>
                  <a:lnTo>
                    <a:pt x="137" y="31"/>
                  </a:lnTo>
                  <a:lnTo>
                    <a:pt x="137" y="31"/>
                  </a:lnTo>
                  <a:lnTo>
                    <a:pt x="139" y="31"/>
                  </a:lnTo>
                  <a:lnTo>
                    <a:pt x="139" y="31"/>
                  </a:lnTo>
                  <a:lnTo>
                    <a:pt x="139" y="31"/>
                  </a:lnTo>
                  <a:lnTo>
                    <a:pt x="139" y="29"/>
                  </a:lnTo>
                  <a:lnTo>
                    <a:pt x="139" y="27"/>
                  </a:lnTo>
                  <a:lnTo>
                    <a:pt x="137" y="27"/>
                  </a:lnTo>
                  <a:lnTo>
                    <a:pt x="137" y="29"/>
                  </a:lnTo>
                  <a:lnTo>
                    <a:pt x="135" y="29"/>
                  </a:lnTo>
                  <a:lnTo>
                    <a:pt x="135" y="29"/>
                  </a:lnTo>
                  <a:lnTo>
                    <a:pt x="137" y="31"/>
                  </a:lnTo>
                  <a:lnTo>
                    <a:pt x="137" y="31"/>
                  </a:lnTo>
                  <a:close/>
                  <a:moveTo>
                    <a:pt x="129" y="37"/>
                  </a:moveTo>
                  <a:lnTo>
                    <a:pt x="127" y="37"/>
                  </a:lnTo>
                  <a:lnTo>
                    <a:pt x="125" y="37"/>
                  </a:lnTo>
                  <a:lnTo>
                    <a:pt x="125" y="39"/>
                  </a:lnTo>
                  <a:lnTo>
                    <a:pt x="125" y="39"/>
                  </a:lnTo>
                  <a:lnTo>
                    <a:pt x="125" y="43"/>
                  </a:lnTo>
                  <a:lnTo>
                    <a:pt x="125" y="47"/>
                  </a:lnTo>
                  <a:lnTo>
                    <a:pt x="125" y="47"/>
                  </a:lnTo>
                  <a:lnTo>
                    <a:pt x="125" y="49"/>
                  </a:lnTo>
                  <a:lnTo>
                    <a:pt x="127" y="49"/>
                  </a:lnTo>
                  <a:lnTo>
                    <a:pt x="127" y="49"/>
                  </a:lnTo>
                  <a:lnTo>
                    <a:pt x="129" y="51"/>
                  </a:lnTo>
                  <a:lnTo>
                    <a:pt x="129" y="51"/>
                  </a:lnTo>
                  <a:lnTo>
                    <a:pt x="131" y="51"/>
                  </a:lnTo>
                  <a:lnTo>
                    <a:pt x="131" y="51"/>
                  </a:lnTo>
                  <a:lnTo>
                    <a:pt x="131" y="51"/>
                  </a:lnTo>
                  <a:lnTo>
                    <a:pt x="133" y="53"/>
                  </a:lnTo>
                  <a:lnTo>
                    <a:pt x="133" y="53"/>
                  </a:lnTo>
                  <a:lnTo>
                    <a:pt x="133" y="53"/>
                  </a:lnTo>
                  <a:lnTo>
                    <a:pt x="133" y="55"/>
                  </a:lnTo>
                  <a:lnTo>
                    <a:pt x="135" y="55"/>
                  </a:lnTo>
                  <a:lnTo>
                    <a:pt x="135" y="55"/>
                  </a:lnTo>
                  <a:lnTo>
                    <a:pt x="137" y="55"/>
                  </a:lnTo>
                  <a:lnTo>
                    <a:pt x="137" y="55"/>
                  </a:lnTo>
                  <a:lnTo>
                    <a:pt x="137" y="55"/>
                  </a:lnTo>
                  <a:lnTo>
                    <a:pt x="137" y="53"/>
                  </a:lnTo>
                  <a:lnTo>
                    <a:pt x="135" y="53"/>
                  </a:lnTo>
                  <a:lnTo>
                    <a:pt x="135" y="53"/>
                  </a:lnTo>
                  <a:lnTo>
                    <a:pt x="135" y="49"/>
                  </a:lnTo>
                  <a:lnTo>
                    <a:pt x="135" y="49"/>
                  </a:lnTo>
                  <a:lnTo>
                    <a:pt x="135" y="49"/>
                  </a:lnTo>
                  <a:lnTo>
                    <a:pt x="135" y="49"/>
                  </a:lnTo>
                  <a:lnTo>
                    <a:pt x="137" y="49"/>
                  </a:lnTo>
                  <a:lnTo>
                    <a:pt x="137" y="49"/>
                  </a:lnTo>
                  <a:lnTo>
                    <a:pt x="137" y="47"/>
                  </a:lnTo>
                  <a:lnTo>
                    <a:pt x="139" y="47"/>
                  </a:lnTo>
                  <a:lnTo>
                    <a:pt x="137" y="45"/>
                  </a:lnTo>
                  <a:lnTo>
                    <a:pt x="135" y="43"/>
                  </a:lnTo>
                  <a:lnTo>
                    <a:pt x="133" y="41"/>
                  </a:lnTo>
                  <a:lnTo>
                    <a:pt x="133" y="41"/>
                  </a:lnTo>
                  <a:lnTo>
                    <a:pt x="131" y="39"/>
                  </a:lnTo>
                  <a:lnTo>
                    <a:pt x="131" y="37"/>
                  </a:lnTo>
                  <a:lnTo>
                    <a:pt x="129" y="37"/>
                  </a:lnTo>
                  <a:close/>
                  <a:moveTo>
                    <a:pt x="579" y="80"/>
                  </a:moveTo>
                  <a:lnTo>
                    <a:pt x="563" y="78"/>
                  </a:lnTo>
                  <a:lnTo>
                    <a:pt x="546" y="76"/>
                  </a:lnTo>
                  <a:lnTo>
                    <a:pt x="530" y="72"/>
                  </a:lnTo>
                  <a:lnTo>
                    <a:pt x="514" y="70"/>
                  </a:lnTo>
                  <a:lnTo>
                    <a:pt x="497" y="68"/>
                  </a:lnTo>
                  <a:lnTo>
                    <a:pt x="481" y="64"/>
                  </a:lnTo>
                  <a:lnTo>
                    <a:pt x="465" y="62"/>
                  </a:lnTo>
                  <a:lnTo>
                    <a:pt x="448" y="60"/>
                  </a:lnTo>
                  <a:lnTo>
                    <a:pt x="432" y="55"/>
                  </a:lnTo>
                  <a:lnTo>
                    <a:pt x="415" y="53"/>
                  </a:lnTo>
                  <a:lnTo>
                    <a:pt x="399" y="49"/>
                  </a:lnTo>
                  <a:lnTo>
                    <a:pt x="383" y="47"/>
                  </a:lnTo>
                  <a:lnTo>
                    <a:pt x="366" y="45"/>
                  </a:lnTo>
                  <a:lnTo>
                    <a:pt x="350" y="41"/>
                  </a:lnTo>
                  <a:lnTo>
                    <a:pt x="333" y="39"/>
                  </a:lnTo>
                  <a:lnTo>
                    <a:pt x="317" y="35"/>
                  </a:lnTo>
                  <a:lnTo>
                    <a:pt x="301" y="33"/>
                  </a:lnTo>
                  <a:lnTo>
                    <a:pt x="284" y="29"/>
                  </a:lnTo>
                  <a:lnTo>
                    <a:pt x="270" y="25"/>
                  </a:lnTo>
                  <a:lnTo>
                    <a:pt x="254" y="23"/>
                  </a:lnTo>
                  <a:lnTo>
                    <a:pt x="237" y="19"/>
                  </a:lnTo>
                  <a:lnTo>
                    <a:pt x="221" y="16"/>
                  </a:lnTo>
                  <a:lnTo>
                    <a:pt x="204" y="12"/>
                  </a:lnTo>
                  <a:lnTo>
                    <a:pt x="188" y="10"/>
                  </a:lnTo>
                  <a:lnTo>
                    <a:pt x="172" y="6"/>
                  </a:lnTo>
                  <a:lnTo>
                    <a:pt x="163" y="4"/>
                  </a:lnTo>
                  <a:lnTo>
                    <a:pt x="163" y="4"/>
                  </a:lnTo>
                  <a:lnTo>
                    <a:pt x="166" y="6"/>
                  </a:lnTo>
                  <a:lnTo>
                    <a:pt x="166" y="8"/>
                  </a:lnTo>
                  <a:lnTo>
                    <a:pt x="161" y="6"/>
                  </a:lnTo>
                  <a:lnTo>
                    <a:pt x="159" y="6"/>
                  </a:lnTo>
                  <a:lnTo>
                    <a:pt x="159" y="8"/>
                  </a:lnTo>
                  <a:lnTo>
                    <a:pt x="159" y="10"/>
                  </a:lnTo>
                  <a:lnTo>
                    <a:pt x="163" y="10"/>
                  </a:lnTo>
                  <a:lnTo>
                    <a:pt x="163" y="12"/>
                  </a:lnTo>
                  <a:lnTo>
                    <a:pt x="163" y="12"/>
                  </a:lnTo>
                  <a:lnTo>
                    <a:pt x="161" y="12"/>
                  </a:lnTo>
                  <a:lnTo>
                    <a:pt x="161" y="14"/>
                  </a:lnTo>
                  <a:lnTo>
                    <a:pt x="161" y="14"/>
                  </a:lnTo>
                  <a:lnTo>
                    <a:pt x="161" y="16"/>
                  </a:lnTo>
                  <a:lnTo>
                    <a:pt x="161" y="16"/>
                  </a:lnTo>
                  <a:lnTo>
                    <a:pt x="163" y="21"/>
                  </a:lnTo>
                  <a:lnTo>
                    <a:pt x="166" y="23"/>
                  </a:lnTo>
                  <a:lnTo>
                    <a:pt x="166" y="23"/>
                  </a:lnTo>
                  <a:lnTo>
                    <a:pt x="163" y="27"/>
                  </a:lnTo>
                  <a:lnTo>
                    <a:pt x="166" y="25"/>
                  </a:lnTo>
                  <a:lnTo>
                    <a:pt x="166" y="25"/>
                  </a:lnTo>
                  <a:lnTo>
                    <a:pt x="168" y="27"/>
                  </a:lnTo>
                  <a:lnTo>
                    <a:pt x="168" y="29"/>
                  </a:lnTo>
                  <a:lnTo>
                    <a:pt x="168" y="29"/>
                  </a:lnTo>
                  <a:lnTo>
                    <a:pt x="166" y="31"/>
                  </a:lnTo>
                  <a:lnTo>
                    <a:pt x="166" y="31"/>
                  </a:lnTo>
                  <a:lnTo>
                    <a:pt x="166" y="33"/>
                  </a:lnTo>
                  <a:lnTo>
                    <a:pt x="166" y="33"/>
                  </a:lnTo>
                  <a:lnTo>
                    <a:pt x="166" y="33"/>
                  </a:lnTo>
                  <a:lnTo>
                    <a:pt x="168" y="33"/>
                  </a:lnTo>
                  <a:lnTo>
                    <a:pt x="170" y="31"/>
                  </a:lnTo>
                  <a:lnTo>
                    <a:pt x="172" y="29"/>
                  </a:lnTo>
                  <a:lnTo>
                    <a:pt x="174" y="29"/>
                  </a:lnTo>
                  <a:lnTo>
                    <a:pt x="174" y="29"/>
                  </a:lnTo>
                  <a:lnTo>
                    <a:pt x="176" y="31"/>
                  </a:lnTo>
                  <a:lnTo>
                    <a:pt x="178" y="33"/>
                  </a:lnTo>
                  <a:lnTo>
                    <a:pt x="178" y="33"/>
                  </a:lnTo>
                  <a:lnTo>
                    <a:pt x="176" y="37"/>
                  </a:lnTo>
                  <a:lnTo>
                    <a:pt x="176" y="39"/>
                  </a:lnTo>
                  <a:lnTo>
                    <a:pt x="176" y="39"/>
                  </a:lnTo>
                  <a:lnTo>
                    <a:pt x="176" y="39"/>
                  </a:lnTo>
                  <a:lnTo>
                    <a:pt x="176" y="43"/>
                  </a:lnTo>
                  <a:lnTo>
                    <a:pt x="176" y="43"/>
                  </a:lnTo>
                  <a:lnTo>
                    <a:pt x="178" y="45"/>
                  </a:lnTo>
                  <a:lnTo>
                    <a:pt x="178" y="45"/>
                  </a:lnTo>
                  <a:lnTo>
                    <a:pt x="178" y="45"/>
                  </a:lnTo>
                  <a:lnTo>
                    <a:pt x="178" y="45"/>
                  </a:lnTo>
                  <a:lnTo>
                    <a:pt x="180" y="49"/>
                  </a:lnTo>
                  <a:lnTo>
                    <a:pt x="180" y="51"/>
                  </a:lnTo>
                  <a:lnTo>
                    <a:pt x="178" y="51"/>
                  </a:lnTo>
                  <a:lnTo>
                    <a:pt x="176" y="53"/>
                  </a:lnTo>
                  <a:lnTo>
                    <a:pt x="176" y="51"/>
                  </a:lnTo>
                  <a:lnTo>
                    <a:pt x="174" y="49"/>
                  </a:lnTo>
                  <a:lnTo>
                    <a:pt x="172" y="47"/>
                  </a:lnTo>
                  <a:lnTo>
                    <a:pt x="170" y="47"/>
                  </a:lnTo>
                  <a:lnTo>
                    <a:pt x="170" y="49"/>
                  </a:lnTo>
                  <a:lnTo>
                    <a:pt x="174" y="51"/>
                  </a:lnTo>
                  <a:lnTo>
                    <a:pt x="174" y="53"/>
                  </a:lnTo>
                  <a:lnTo>
                    <a:pt x="174" y="55"/>
                  </a:lnTo>
                  <a:lnTo>
                    <a:pt x="174" y="57"/>
                  </a:lnTo>
                  <a:lnTo>
                    <a:pt x="174" y="60"/>
                  </a:lnTo>
                  <a:lnTo>
                    <a:pt x="174" y="60"/>
                  </a:lnTo>
                  <a:lnTo>
                    <a:pt x="174" y="62"/>
                  </a:lnTo>
                  <a:lnTo>
                    <a:pt x="174" y="62"/>
                  </a:lnTo>
                  <a:lnTo>
                    <a:pt x="174" y="62"/>
                  </a:lnTo>
                  <a:lnTo>
                    <a:pt x="172" y="64"/>
                  </a:lnTo>
                  <a:lnTo>
                    <a:pt x="172" y="62"/>
                  </a:lnTo>
                  <a:lnTo>
                    <a:pt x="170" y="62"/>
                  </a:lnTo>
                  <a:lnTo>
                    <a:pt x="170" y="60"/>
                  </a:lnTo>
                  <a:lnTo>
                    <a:pt x="168" y="57"/>
                  </a:lnTo>
                  <a:lnTo>
                    <a:pt x="166" y="57"/>
                  </a:lnTo>
                  <a:lnTo>
                    <a:pt x="166" y="62"/>
                  </a:lnTo>
                  <a:lnTo>
                    <a:pt x="166" y="60"/>
                  </a:lnTo>
                  <a:lnTo>
                    <a:pt x="163" y="55"/>
                  </a:lnTo>
                  <a:lnTo>
                    <a:pt x="163" y="53"/>
                  </a:lnTo>
                  <a:lnTo>
                    <a:pt x="161" y="55"/>
                  </a:lnTo>
                  <a:lnTo>
                    <a:pt x="159" y="55"/>
                  </a:lnTo>
                  <a:lnTo>
                    <a:pt x="159" y="55"/>
                  </a:lnTo>
                  <a:lnTo>
                    <a:pt x="157" y="55"/>
                  </a:lnTo>
                  <a:lnTo>
                    <a:pt x="157" y="55"/>
                  </a:lnTo>
                  <a:lnTo>
                    <a:pt x="157" y="57"/>
                  </a:lnTo>
                  <a:lnTo>
                    <a:pt x="159" y="57"/>
                  </a:lnTo>
                  <a:lnTo>
                    <a:pt x="159" y="57"/>
                  </a:lnTo>
                  <a:lnTo>
                    <a:pt x="159" y="60"/>
                  </a:lnTo>
                  <a:lnTo>
                    <a:pt x="159" y="62"/>
                  </a:lnTo>
                  <a:lnTo>
                    <a:pt x="157" y="62"/>
                  </a:lnTo>
                  <a:lnTo>
                    <a:pt x="157" y="62"/>
                  </a:lnTo>
                  <a:lnTo>
                    <a:pt x="157" y="64"/>
                  </a:lnTo>
                  <a:lnTo>
                    <a:pt x="159" y="64"/>
                  </a:lnTo>
                  <a:lnTo>
                    <a:pt x="159" y="66"/>
                  </a:lnTo>
                  <a:lnTo>
                    <a:pt x="161" y="66"/>
                  </a:lnTo>
                  <a:lnTo>
                    <a:pt x="161" y="66"/>
                  </a:lnTo>
                  <a:lnTo>
                    <a:pt x="163" y="64"/>
                  </a:lnTo>
                  <a:lnTo>
                    <a:pt x="166" y="64"/>
                  </a:lnTo>
                  <a:lnTo>
                    <a:pt x="166" y="64"/>
                  </a:lnTo>
                  <a:lnTo>
                    <a:pt x="166" y="64"/>
                  </a:lnTo>
                  <a:lnTo>
                    <a:pt x="168" y="64"/>
                  </a:lnTo>
                  <a:lnTo>
                    <a:pt x="168" y="64"/>
                  </a:lnTo>
                  <a:lnTo>
                    <a:pt x="166" y="66"/>
                  </a:lnTo>
                  <a:lnTo>
                    <a:pt x="166" y="66"/>
                  </a:lnTo>
                  <a:lnTo>
                    <a:pt x="168" y="68"/>
                  </a:lnTo>
                  <a:lnTo>
                    <a:pt x="168" y="70"/>
                  </a:lnTo>
                  <a:lnTo>
                    <a:pt x="168" y="70"/>
                  </a:lnTo>
                  <a:lnTo>
                    <a:pt x="170" y="72"/>
                  </a:lnTo>
                  <a:lnTo>
                    <a:pt x="172" y="72"/>
                  </a:lnTo>
                  <a:lnTo>
                    <a:pt x="172" y="72"/>
                  </a:lnTo>
                  <a:lnTo>
                    <a:pt x="174" y="74"/>
                  </a:lnTo>
                  <a:lnTo>
                    <a:pt x="176" y="76"/>
                  </a:lnTo>
                  <a:lnTo>
                    <a:pt x="178" y="78"/>
                  </a:lnTo>
                  <a:lnTo>
                    <a:pt x="178" y="80"/>
                  </a:lnTo>
                  <a:lnTo>
                    <a:pt x="178" y="80"/>
                  </a:lnTo>
                  <a:lnTo>
                    <a:pt x="178" y="82"/>
                  </a:lnTo>
                  <a:lnTo>
                    <a:pt x="178" y="82"/>
                  </a:lnTo>
                  <a:lnTo>
                    <a:pt x="176" y="84"/>
                  </a:lnTo>
                  <a:lnTo>
                    <a:pt x="176" y="84"/>
                  </a:lnTo>
                  <a:lnTo>
                    <a:pt x="176" y="86"/>
                  </a:lnTo>
                  <a:lnTo>
                    <a:pt x="176" y="86"/>
                  </a:lnTo>
                  <a:lnTo>
                    <a:pt x="174" y="84"/>
                  </a:lnTo>
                  <a:lnTo>
                    <a:pt x="174" y="84"/>
                  </a:lnTo>
                  <a:lnTo>
                    <a:pt x="174" y="82"/>
                  </a:lnTo>
                  <a:lnTo>
                    <a:pt x="172" y="82"/>
                  </a:lnTo>
                  <a:lnTo>
                    <a:pt x="170" y="82"/>
                  </a:lnTo>
                  <a:lnTo>
                    <a:pt x="168" y="82"/>
                  </a:lnTo>
                  <a:lnTo>
                    <a:pt x="166" y="84"/>
                  </a:lnTo>
                  <a:lnTo>
                    <a:pt x="166" y="86"/>
                  </a:lnTo>
                  <a:lnTo>
                    <a:pt x="163" y="88"/>
                  </a:lnTo>
                  <a:lnTo>
                    <a:pt x="163" y="90"/>
                  </a:lnTo>
                  <a:lnTo>
                    <a:pt x="166" y="92"/>
                  </a:lnTo>
                  <a:lnTo>
                    <a:pt x="166" y="94"/>
                  </a:lnTo>
                  <a:lnTo>
                    <a:pt x="172" y="100"/>
                  </a:lnTo>
                  <a:lnTo>
                    <a:pt x="172" y="100"/>
                  </a:lnTo>
                  <a:lnTo>
                    <a:pt x="174" y="105"/>
                  </a:lnTo>
                  <a:lnTo>
                    <a:pt x="174" y="105"/>
                  </a:lnTo>
                  <a:lnTo>
                    <a:pt x="176" y="105"/>
                  </a:lnTo>
                  <a:lnTo>
                    <a:pt x="174" y="100"/>
                  </a:lnTo>
                  <a:lnTo>
                    <a:pt x="174" y="100"/>
                  </a:lnTo>
                  <a:lnTo>
                    <a:pt x="172" y="98"/>
                  </a:lnTo>
                  <a:lnTo>
                    <a:pt x="172" y="98"/>
                  </a:lnTo>
                  <a:lnTo>
                    <a:pt x="170" y="96"/>
                  </a:lnTo>
                  <a:lnTo>
                    <a:pt x="170" y="94"/>
                  </a:lnTo>
                  <a:lnTo>
                    <a:pt x="170" y="94"/>
                  </a:lnTo>
                  <a:lnTo>
                    <a:pt x="168" y="92"/>
                  </a:lnTo>
                  <a:lnTo>
                    <a:pt x="168" y="90"/>
                  </a:lnTo>
                  <a:lnTo>
                    <a:pt x="170" y="88"/>
                  </a:lnTo>
                  <a:lnTo>
                    <a:pt x="172" y="88"/>
                  </a:lnTo>
                  <a:lnTo>
                    <a:pt x="172" y="86"/>
                  </a:lnTo>
                  <a:lnTo>
                    <a:pt x="172" y="86"/>
                  </a:lnTo>
                  <a:lnTo>
                    <a:pt x="172" y="86"/>
                  </a:lnTo>
                  <a:lnTo>
                    <a:pt x="174" y="86"/>
                  </a:lnTo>
                  <a:lnTo>
                    <a:pt x="174" y="86"/>
                  </a:lnTo>
                  <a:lnTo>
                    <a:pt x="174" y="86"/>
                  </a:lnTo>
                  <a:lnTo>
                    <a:pt x="176" y="88"/>
                  </a:lnTo>
                  <a:lnTo>
                    <a:pt x="176" y="90"/>
                  </a:lnTo>
                  <a:lnTo>
                    <a:pt x="176" y="94"/>
                  </a:lnTo>
                  <a:lnTo>
                    <a:pt x="176" y="98"/>
                  </a:lnTo>
                  <a:lnTo>
                    <a:pt x="176" y="100"/>
                  </a:lnTo>
                  <a:lnTo>
                    <a:pt x="178" y="105"/>
                  </a:lnTo>
                  <a:lnTo>
                    <a:pt x="182" y="109"/>
                  </a:lnTo>
                  <a:lnTo>
                    <a:pt x="184" y="109"/>
                  </a:lnTo>
                  <a:lnTo>
                    <a:pt x="186" y="109"/>
                  </a:lnTo>
                  <a:lnTo>
                    <a:pt x="186" y="109"/>
                  </a:lnTo>
                  <a:lnTo>
                    <a:pt x="186" y="109"/>
                  </a:lnTo>
                  <a:lnTo>
                    <a:pt x="186" y="111"/>
                  </a:lnTo>
                  <a:lnTo>
                    <a:pt x="186" y="111"/>
                  </a:lnTo>
                  <a:lnTo>
                    <a:pt x="186" y="111"/>
                  </a:lnTo>
                  <a:lnTo>
                    <a:pt x="184" y="111"/>
                  </a:lnTo>
                  <a:lnTo>
                    <a:pt x="184" y="113"/>
                  </a:lnTo>
                  <a:lnTo>
                    <a:pt x="184" y="113"/>
                  </a:lnTo>
                  <a:lnTo>
                    <a:pt x="182" y="115"/>
                  </a:lnTo>
                  <a:lnTo>
                    <a:pt x="182" y="115"/>
                  </a:lnTo>
                  <a:lnTo>
                    <a:pt x="178" y="115"/>
                  </a:lnTo>
                  <a:lnTo>
                    <a:pt x="178" y="115"/>
                  </a:lnTo>
                  <a:lnTo>
                    <a:pt x="178" y="115"/>
                  </a:lnTo>
                  <a:lnTo>
                    <a:pt x="176" y="117"/>
                  </a:lnTo>
                  <a:lnTo>
                    <a:pt x="176" y="117"/>
                  </a:lnTo>
                  <a:lnTo>
                    <a:pt x="174" y="117"/>
                  </a:lnTo>
                  <a:lnTo>
                    <a:pt x="174" y="119"/>
                  </a:lnTo>
                  <a:lnTo>
                    <a:pt x="174" y="119"/>
                  </a:lnTo>
                  <a:lnTo>
                    <a:pt x="172" y="121"/>
                  </a:lnTo>
                  <a:lnTo>
                    <a:pt x="172" y="123"/>
                  </a:lnTo>
                  <a:lnTo>
                    <a:pt x="170" y="125"/>
                  </a:lnTo>
                  <a:lnTo>
                    <a:pt x="168" y="125"/>
                  </a:lnTo>
                  <a:lnTo>
                    <a:pt x="168" y="127"/>
                  </a:lnTo>
                  <a:lnTo>
                    <a:pt x="166" y="129"/>
                  </a:lnTo>
                  <a:lnTo>
                    <a:pt x="166" y="129"/>
                  </a:lnTo>
                  <a:lnTo>
                    <a:pt x="166" y="131"/>
                  </a:lnTo>
                  <a:lnTo>
                    <a:pt x="166" y="133"/>
                  </a:lnTo>
                  <a:lnTo>
                    <a:pt x="166" y="135"/>
                  </a:lnTo>
                  <a:lnTo>
                    <a:pt x="166" y="135"/>
                  </a:lnTo>
                  <a:lnTo>
                    <a:pt x="166" y="137"/>
                  </a:lnTo>
                  <a:lnTo>
                    <a:pt x="166" y="139"/>
                  </a:lnTo>
                  <a:lnTo>
                    <a:pt x="163" y="141"/>
                  </a:lnTo>
                  <a:lnTo>
                    <a:pt x="163" y="141"/>
                  </a:lnTo>
                  <a:lnTo>
                    <a:pt x="163" y="141"/>
                  </a:lnTo>
                  <a:lnTo>
                    <a:pt x="161" y="144"/>
                  </a:lnTo>
                  <a:lnTo>
                    <a:pt x="161" y="144"/>
                  </a:lnTo>
                  <a:lnTo>
                    <a:pt x="161" y="144"/>
                  </a:lnTo>
                  <a:lnTo>
                    <a:pt x="161" y="144"/>
                  </a:lnTo>
                  <a:lnTo>
                    <a:pt x="161" y="146"/>
                  </a:lnTo>
                  <a:lnTo>
                    <a:pt x="161" y="146"/>
                  </a:lnTo>
                  <a:lnTo>
                    <a:pt x="166" y="148"/>
                  </a:lnTo>
                  <a:lnTo>
                    <a:pt x="166" y="150"/>
                  </a:lnTo>
                  <a:lnTo>
                    <a:pt x="166" y="152"/>
                  </a:lnTo>
                  <a:lnTo>
                    <a:pt x="166" y="152"/>
                  </a:lnTo>
                  <a:lnTo>
                    <a:pt x="166" y="154"/>
                  </a:lnTo>
                  <a:lnTo>
                    <a:pt x="163" y="154"/>
                  </a:lnTo>
                  <a:lnTo>
                    <a:pt x="163" y="152"/>
                  </a:lnTo>
                  <a:lnTo>
                    <a:pt x="163" y="150"/>
                  </a:lnTo>
                  <a:lnTo>
                    <a:pt x="161" y="150"/>
                  </a:lnTo>
                  <a:lnTo>
                    <a:pt x="161" y="152"/>
                  </a:lnTo>
                  <a:lnTo>
                    <a:pt x="161" y="152"/>
                  </a:lnTo>
                  <a:lnTo>
                    <a:pt x="161" y="154"/>
                  </a:lnTo>
                  <a:lnTo>
                    <a:pt x="161" y="158"/>
                  </a:lnTo>
                  <a:lnTo>
                    <a:pt x="161" y="160"/>
                  </a:lnTo>
                  <a:lnTo>
                    <a:pt x="161" y="160"/>
                  </a:lnTo>
                  <a:lnTo>
                    <a:pt x="161" y="162"/>
                  </a:lnTo>
                  <a:lnTo>
                    <a:pt x="161" y="166"/>
                  </a:lnTo>
                  <a:lnTo>
                    <a:pt x="161" y="168"/>
                  </a:lnTo>
                  <a:lnTo>
                    <a:pt x="163" y="170"/>
                  </a:lnTo>
                  <a:lnTo>
                    <a:pt x="163" y="172"/>
                  </a:lnTo>
                  <a:lnTo>
                    <a:pt x="163" y="174"/>
                  </a:lnTo>
                  <a:lnTo>
                    <a:pt x="161" y="176"/>
                  </a:lnTo>
                  <a:lnTo>
                    <a:pt x="161" y="176"/>
                  </a:lnTo>
                  <a:lnTo>
                    <a:pt x="159" y="176"/>
                  </a:lnTo>
                  <a:lnTo>
                    <a:pt x="157" y="176"/>
                  </a:lnTo>
                  <a:lnTo>
                    <a:pt x="155" y="178"/>
                  </a:lnTo>
                  <a:lnTo>
                    <a:pt x="153" y="178"/>
                  </a:lnTo>
                  <a:lnTo>
                    <a:pt x="153" y="178"/>
                  </a:lnTo>
                  <a:lnTo>
                    <a:pt x="153" y="180"/>
                  </a:lnTo>
                  <a:lnTo>
                    <a:pt x="153" y="180"/>
                  </a:lnTo>
                  <a:lnTo>
                    <a:pt x="155" y="182"/>
                  </a:lnTo>
                  <a:lnTo>
                    <a:pt x="153" y="182"/>
                  </a:lnTo>
                  <a:lnTo>
                    <a:pt x="153" y="182"/>
                  </a:lnTo>
                  <a:lnTo>
                    <a:pt x="151" y="182"/>
                  </a:lnTo>
                  <a:lnTo>
                    <a:pt x="149" y="180"/>
                  </a:lnTo>
                  <a:lnTo>
                    <a:pt x="147" y="178"/>
                  </a:lnTo>
                  <a:lnTo>
                    <a:pt x="145" y="176"/>
                  </a:lnTo>
                  <a:lnTo>
                    <a:pt x="145" y="180"/>
                  </a:lnTo>
                  <a:lnTo>
                    <a:pt x="143" y="185"/>
                  </a:lnTo>
                  <a:lnTo>
                    <a:pt x="141" y="187"/>
                  </a:lnTo>
                  <a:lnTo>
                    <a:pt x="133" y="193"/>
                  </a:lnTo>
                  <a:lnTo>
                    <a:pt x="131" y="195"/>
                  </a:lnTo>
                  <a:lnTo>
                    <a:pt x="127" y="197"/>
                  </a:lnTo>
                  <a:lnTo>
                    <a:pt x="127" y="195"/>
                  </a:lnTo>
                  <a:lnTo>
                    <a:pt x="127" y="195"/>
                  </a:lnTo>
                  <a:lnTo>
                    <a:pt x="125" y="193"/>
                  </a:lnTo>
                  <a:lnTo>
                    <a:pt x="125" y="193"/>
                  </a:lnTo>
                  <a:lnTo>
                    <a:pt x="123" y="191"/>
                  </a:lnTo>
                  <a:lnTo>
                    <a:pt x="123" y="189"/>
                  </a:lnTo>
                  <a:lnTo>
                    <a:pt x="123" y="189"/>
                  </a:lnTo>
                  <a:lnTo>
                    <a:pt x="120" y="187"/>
                  </a:lnTo>
                  <a:lnTo>
                    <a:pt x="120" y="189"/>
                  </a:lnTo>
                  <a:lnTo>
                    <a:pt x="120" y="189"/>
                  </a:lnTo>
                  <a:lnTo>
                    <a:pt x="120" y="189"/>
                  </a:lnTo>
                  <a:lnTo>
                    <a:pt x="120" y="191"/>
                  </a:lnTo>
                  <a:lnTo>
                    <a:pt x="118" y="191"/>
                  </a:lnTo>
                  <a:lnTo>
                    <a:pt x="116" y="191"/>
                  </a:lnTo>
                  <a:lnTo>
                    <a:pt x="118" y="189"/>
                  </a:lnTo>
                  <a:lnTo>
                    <a:pt x="118" y="189"/>
                  </a:lnTo>
                  <a:lnTo>
                    <a:pt x="118" y="189"/>
                  </a:lnTo>
                  <a:lnTo>
                    <a:pt x="118" y="187"/>
                  </a:lnTo>
                  <a:lnTo>
                    <a:pt x="114" y="189"/>
                  </a:lnTo>
                  <a:lnTo>
                    <a:pt x="114" y="189"/>
                  </a:lnTo>
                  <a:lnTo>
                    <a:pt x="114" y="191"/>
                  </a:lnTo>
                  <a:lnTo>
                    <a:pt x="114" y="193"/>
                  </a:lnTo>
                  <a:lnTo>
                    <a:pt x="114" y="193"/>
                  </a:lnTo>
                  <a:lnTo>
                    <a:pt x="112" y="195"/>
                  </a:lnTo>
                  <a:lnTo>
                    <a:pt x="112" y="195"/>
                  </a:lnTo>
                  <a:lnTo>
                    <a:pt x="112" y="197"/>
                  </a:lnTo>
                  <a:lnTo>
                    <a:pt x="112" y="199"/>
                  </a:lnTo>
                  <a:lnTo>
                    <a:pt x="112" y="197"/>
                  </a:lnTo>
                  <a:lnTo>
                    <a:pt x="112" y="197"/>
                  </a:lnTo>
                  <a:lnTo>
                    <a:pt x="110" y="195"/>
                  </a:lnTo>
                  <a:lnTo>
                    <a:pt x="110" y="193"/>
                  </a:lnTo>
                  <a:lnTo>
                    <a:pt x="112" y="193"/>
                  </a:lnTo>
                  <a:lnTo>
                    <a:pt x="112" y="191"/>
                  </a:lnTo>
                  <a:lnTo>
                    <a:pt x="112" y="191"/>
                  </a:lnTo>
                  <a:lnTo>
                    <a:pt x="112" y="189"/>
                  </a:lnTo>
                  <a:lnTo>
                    <a:pt x="110" y="191"/>
                  </a:lnTo>
                  <a:lnTo>
                    <a:pt x="108" y="193"/>
                  </a:lnTo>
                  <a:lnTo>
                    <a:pt x="106" y="193"/>
                  </a:lnTo>
                  <a:lnTo>
                    <a:pt x="104" y="193"/>
                  </a:lnTo>
                  <a:lnTo>
                    <a:pt x="106" y="193"/>
                  </a:lnTo>
                  <a:lnTo>
                    <a:pt x="108" y="191"/>
                  </a:lnTo>
                  <a:lnTo>
                    <a:pt x="112" y="187"/>
                  </a:lnTo>
                  <a:lnTo>
                    <a:pt x="112" y="185"/>
                  </a:lnTo>
                  <a:lnTo>
                    <a:pt x="112" y="185"/>
                  </a:lnTo>
                  <a:lnTo>
                    <a:pt x="110" y="187"/>
                  </a:lnTo>
                  <a:lnTo>
                    <a:pt x="110" y="187"/>
                  </a:lnTo>
                  <a:lnTo>
                    <a:pt x="108" y="187"/>
                  </a:lnTo>
                  <a:lnTo>
                    <a:pt x="102" y="191"/>
                  </a:lnTo>
                  <a:lnTo>
                    <a:pt x="100" y="191"/>
                  </a:lnTo>
                  <a:lnTo>
                    <a:pt x="102" y="189"/>
                  </a:lnTo>
                  <a:lnTo>
                    <a:pt x="102" y="189"/>
                  </a:lnTo>
                  <a:lnTo>
                    <a:pt x="104" y="189"/>
                  </a:lnTo>
                  <a:lnTo>
                    <a:pt x="106" y="189"/>
                  </a:lnTo>
                  <a:lnTo>
                    <a:pt x="106" y="187"/>
                  </a:lnTo>
                  <a:lnTo>
                    <a:pt x="104" y="187"/>
                  </a:lnTo>
                  <a:lnTo>
                    <a:pt x="102" y="187"/>
                  </a:lnTo>
                  <a:lnTo>
                    <a:pt x="100" y="187"/>
                  </a:lnTo>
                  <a:lnTo>
                    <a:pt x="102" y="185"/>
                  </a:lnTo>
                  <a:lnTo>
                    <a:pt x="104" y="185"/>
                  </a:lnTo>
                  <a:lnTo>
                    <a:pt x="108" y="185"/>
                  </a:lnTo>
                  <a:lnTo>
                    <a:pt x="110" y="182"/>
                  </a:lnTo>
                  <a:lnTo>
                    <a:pt x="112" y="180"/>
                  </a:lnTo>
                  <a:lnTo>
                    <a:pt x="116" y="174"/>
                  </a:lnTo>
                  <a:lnTo>
                    <a:pt x="116" y="174"/>
                  </a:lnTo>
                  <a:lnTo>
                    <a:pt x="118" y="174"/>
                  </a:lnTo>
                  <a:lnTo>
                    <a:pt x="118" y="174"/>
                  </a:lnTo>
                  <a:lnTo>
                    <a:pt x="120" y="172"/>
                  </a:lnTo>
                  <a:lnTo>
                    <a:pt x="123" y="172"/>
                  </a:lnTo>
                  <a:lnTo>
                    <a:pt x="123" y="170"/>
                  </a:lnTo>
                  <a:lnTo>
                    <a:pt x="127" y="166"/>
                  </a:lnTo>
                  <a:lnTo>
                    <a:pt x="127" y="164"/>
                  </a:lnTo>
                  <a:lnTo>
                    <a:pt x="127" y="166"/>
                  </a:lnTo>
                  <a:lnTo>
                    <a:pt x="127" y="166"/>
                  </a:lnTo>
                  <a:lnTo>
                    <a:pt x="127" y="166"/>
                  </a:lnTo>
                  <a:lnTo>
                    <a:pt x="127" y="168"/>
                  </a:lnTo>
                  <a:lnTo>
                    <a:pt x="127" y="168"/>
                  </a:lnTo>
                  <a:lnTo>
                    <a:pt x="127" y="170"/>
                  </a:lnTo>
                  <a:lnTo>
                    <a:pt x="127" y="172"/>
                  </a:lnTo>
                  <a:lnTo>
                    <a:pt x="127" y="174"/>
                  </a:lnTo>
                  <a:lnTo>
                    <a:pt x="125" y="176"/>
                  </a:lnTo>
                  <a:lnTo>
                    <a:pt x="125" y="176"/>
                  </a:lnTo>
                  <a:lnTo>
                    <a:pt x="123" y="178"/>
                  </a:lnTo>
                  <a:lnTo>
                    <a:pt x="123" y="185"/>
                  </a:lnTo>
                  <a:lnTo>
                    <a:pt x="125" y="187"/>
                  </a:lnTo>
                  <a:lnTo>
                    <a:pt x="127" y="187"/>
                  </a:lnTo>
                  <a:lnTo>
                    <a:pt x="127" y="185"/>
                  </a:lnTo>
                  <a:lnTo>
                    <a:pt x="127" y="185"/>
                  </a:lnTo>
                  <a:lnTo>
                    <a:pt x="127" y="185"/>
                  </a:lnTo>
                  <a:lnTo>
                    <a:pt x="127" y="182"/>
                  </a:lnTo>
                  <a:lnTo>
                    <a:pt x="129" y="182"/>
                  </a:lnTo>
                  <a:lnTo>
                    <a:pt x="129" y="182"/>
                  </a:lnTo>
                  <a:lnTo>
                    <a:pt x="129" y="182"/>
                  </a:lnTo>
                  <a:lnTo>
                    <a:pt x="129" y="182"/>
                  </a:lnTo>
                  <a:lnTo>
                    <a:pt x="129" y="182"/>
                  </a:lnTo>
                  <a:lnTo>
                    <a:pt x="129" y="182"/>
                  </a:lnTo>
                  <a:lnTo>
                    <a:pt x="131" y="180"/>
                  </a:lnTo>
                  <a:lnTo>
                    <a:pt x="129" y="178"/>
                  </a:lnTo>
                  <a:lnTo>
                    <a:pt x="129" y="176"/>
                  </a:lnTo>
                  <a:lnTo>
                    <a:pt x="129" y="174"/>
                  </a:lnTo>
                  <a:lnTo>
                    <a:pt x="131" y="174"/>
                  </a:lnTo>
                  <a:lnTo>
                    <a:pt x="131" y="172"/>
                  </a:lnTo>
                  <a:lnTo>
                    <a:pt x="131" y="172"/>
                  </a:lnTo>
                  <a:lnTo>
                    <a:pt x="133" y="170"/>
                  </a:lnTo>
                  <a:lnTo>
                    <a:pt x="133" y="170"/>
                  </a:lnTo>
                  <a:lnTo>
                    <a:pt x="133" y="170"/>
                  </a:lnTo>
                  <a:lnTo>
                    <a:pt x="133" y="170"/>
                  </a:lnTo>
                  <a:lnTo>
                    <a:pt x="135" y="170"/>
                  </a:lnTo>
                  <a:lnTo>
                    <a:pt x="135" y="168"/>
                  </a:lnTo>
                  <a:lnTo>
                    <a:pt x="139" y="168"/>
                  </a:lnTo>
                  <a:lnTo>
                    <a:pt x="139" y="168"/>
                  </a:lnTo>
                  <a:lnTo>
                    <a:pt x="141" y="166"/>
                  </a:lnTo>
                  <a:lnTo>
                    <a:pt x="141" y="168"/>
                  </a:lnTo>
                  <a:lnTo>
                    <a:pt x="139" y="170"/>
                  </a:lnTo>
                  <a:lnTo>
                    <a:pt x="137" y="170"/>
                  </a:lnTo>
                  <a:lnTo>
                    <a:pt x="137" y="172"/>
                  </a:lnTo>
                  <a:lnTo>
                    <a:pt x="135" y="174"/>
                  </a:lnTo>
                  <a:lnTo>
                    <a:pt x="135" y="174"/>
                  </a:lnTo>
                  <a:lnTo>
                    <a:pt x="135" y="176"/>
                  </a:lnTo>
                  <a:lnTo>
                    <a:pt x="135" y="176"/>
                  </a:lnTo>
                  <a:lnTo>
                    <a:pt x="141" y="180"/>
                  </a:lnTo>
                  <a:lnTo>
                    <a:pt x="143" y="180"/>
                  </a:lnTo>
                  <a:lnTo>
                    <a:pt x="143" y="178"/>
                  </a:lnTo>
                  <a:lnTo>
                    <a:pt x="143" y="178"/>
                  </a:lnTo>
                  <a:lnTo>
                    <a:pt x="143" y="174"/>
                  </a:lnTo>
                  <a:lnTo>
                    <a:pt x="143" y="174"/>
                  </a:lnTo>
                  <a:lnTo>
                    <a:pt x="145" y="172"/>
                  </a:lnTo>
                  <a:lnTo>
                    <a:pt x="145" y="172"/>
                  </a:lnTo>
                  <a:lnTo>
                    <a:pt x="147" y="170"/>
                  </a:lnTo>
                  <a:lnTo>
                    <a:pt x="145" y="168"/>
                  </a:lnTo>
                  <a:lnTo>
                    <a:pt x="147" y="166"/>
                  </a:lnTo>
                  <a:lnTo>
                    <a:pt x="147" y="164"/>
                  </a:lnTo>
                  <a:lnTo>
                    <a:pt x="149" y="162"/>
                  </a:lnTo>
                  <a:lnTo>
                    <a:pt x="149" y="160"/>
                  </a:lnTo>
                  <a:lnTo>
                    <a:pt x="151" y="158"/>
                  </a:lnTo>
                  <a:lnTo>
                    <a:pt x="151" y="156"/>
                  </a:lnTo>
                  <a:lnTo>
                    <a:pt x="151" y="156"/>
                  </a:lnTo>
                  <a:lnTo>
                    <a:pt x="149" y="154"/>
                  </a:lnTo>
                  <a:lnTo>
                    <a:pt x="151" y="152"/>
                  </a:lnTo>
                  <a:lnTo>
                    <a:pt x="149" y="150"/>
                  </a:lnTo>
                  <a:lnTo>
                    <a:pt x="147" y="150"/>
                  </a:lnTo>
                  <a:lnTo>
                    <a:pt x="145" y="152"/>
                  </a:lnTo>
                  <a:lnTo>
                    <a:pt x="143" y="152"/>
                  </a:lnTo>
                  <a:lnTo>
                    <a:pt x="139" y="152"/>
                  </a:lnTo>
                  <a:lnTo>
                    <a:pt x="139" y="152"/>
                  </a:lnTo>
                  <a:lnTo>
                    <a:pt x="141" y="152"/>
                  </a:lnTo>
                  <a:lnTo>
                    <a:pt x="143" y="150"/>
                  </a:lnTo>
                  <a:lnTo>
                    <a:pt x="143" y="148"/>
                  </a:lnTo>
                  <a:lnTo>
                    <a:pt x="143" y="148"/>
                  </a:lnTo>
                  <a:lnTo>
                    <a:pt x="143" y="148"/>
                  </a:lnTo>
                  <a:lnTo>
                    <a:pt x="141" y="146"/>
                  </a:lnTo>
                  <a:lnTo>
                    <a:pt x="139" y="146"/>
                  </a:lnTo>
                  <a:lnTo>
                    <a:pt x="139" y="144"/>
                  </a:lnTo>
                  <a:lnTo>
                    <a:pt x="139" y="144"/>
                  </a:lnTo>
                  <a:lnTo>
                    <a:pt x="141" y="141"/>
                  </a:lnTo>
                  <a:lnTo>
                    <a:pt x="141" y="141"/>
                  </a:lnTo>
                  <a:lnTo>
                    <a:pt x="141" y="139"/>
                  </a:lnTo>
                  <a:lnTo>
                    <a:pt x="143" y="146"/>
                  </a:lnTo>
                  <a:lnTo>
                    <a:pt x="145" y="150"/>
                  </a:lnTo>
                  <a:lnTo>
                    <a:pt x="147" y="148"/>
                  </a:lnTo>
                  <a:lnTo>
                    <a:pt x="147" y="148"/>
                  </a:lnTo>
                  <a:lnTo>
                    <a:pt x="147" y="148"/>
                  </a:lnTo>
                  <a:lnTo>
                    <a:pt x="147" y="137"/>
                  </a:lnTo>
                  <a:lnTo>
                    <a:pt x="147" y="135"/>
                  </a:lnTo>
                  <a:lnTo>
                    <a:pt x="145" y="135"/>
                  </a:lnTo>
                  <a:lnTo>
                    <a:pt x="145" y="135"/>
                  </a:lnTo>
                  <a:lnTo>
                    <a:pt x="145" y="133"/>
                  </a:lnTo>
                  <a:lnTo>
                    <a:pt x="145" y="133"/>
                  </a:lnTo>
                  <a:lnTo>
                    <a:pt x="145" y="133"/>
                  </a:lnTo>
                  <a:lnTo>
                    <a:pt x="149" y="137"/>
                  </a:lnTo>
                  <a:lnTo>
                    <a:pt x="151" y="137"/>
                  </a:lnTo>
                  <a:lnTo>
                    <a:pt x="151" y="135"/>
                  </a:lnTo>
                  <a:lnTo>
                    <a:pt x="153" y="135"/>
                  </a:lnTo>
                  <a:lnTo>
                    <a:pt x="153" y="133"/>
                  </a:lnTo>
                  <a:lnTo>
                    <a:pt x="153" y="133"/>
                  </a:lnTo>
                  <a:lnTo>
                    <a:pt x="157" y="135"/>
                  </a:lnTo>
                  <a:lnTo>
                    <a:pt x="157" y="135"/>
                  </a:lnTo>
                  <a:lnTo>
                    <a:pt x="159" y="133"/>
                  </a:lnTo>
                  <a:lnTo>
                    <a:pt x="159" y="133"/>
                  </a:lnTo>
                  <a:lnTo>
                    <a:pt x="159" y="133"/>
                  </a:lnTo>
                  <a:lnTo>
                    <a:pt x="159" y="131"/>
                  </a:lnTo>
                  <a:lnTo>
                    <a:pt x="159" y="131"/>
                  </a:lnTo>
                  <a:lnTo>
                    <a:pt x="159" y="129"/>
                  </a:lnTo>
                  <a:lnTo>
                    <a:pt x="159" y="129"/>
                  </a:lnTo>
                  <a:lnTo>
                    <a:pt x="157" y="129"/>
                  </a:lnTo>
                  <a:lnTo>
                    <a:pt x="159" y="127"/>
                  </a:lnTo>
                  <a:lnTo>
                    <a:pt x="159" y="127"/>
                  </a:lnTo>
                  <a:lnTo>
                    <a:pt x="159" y="125"/>
                  </a:lnTo>
                  <a:lnTo>
                    <a:pt x="157" y="125"/>
                  </a:lnTo>
                  <a:lnTo>
                    <a:pt x="159" y="121"/>
                  </a:lnTo>
                  <a:lnTo>
                    <a:pt x="159" y="119"/>
                  </a:lnTo>
                  <a:lnTo>
                    <a:pt x="159" y="117"/>
                  </a:lnTo>
                  <a:lnTo>
                    <a:pt x="157" y="115"/>
                  </a:lnTo>
                  <a:lnTo>
                    <a:pt x="153" y="111"/>
                  </a:lnTo>
                  <a:lnTo>
                    <a:pt x="153" y="113"/>
                  </a:lnTo>
                  <a:lnTo>
                    <a:pt x="153" y="115"/>
                  </a:lnTo>
                  <a:lnTo>
                    <a:pt x="153" y="117"/>
                  </a:lnTo>
                  <a:lnTo>
                    <a:pt x="153" y="121"/>
                  </a:lnTo>
                  <a:lnTo>
                    <a:pt x="153" y="123"/>
                  </a:lnTo>
                  <a:lnTo>
                    <a:pt x="153" y="125"/>
                  </a:lnTo>
                  <a:lnTo>
                    <a:pt x="151" y="125"/>
                  </a:lnTo>
                  <a:lnTo>
                    <a:pt x="151" y="123"/>
                  </a:lnTo>
                  <a:lnTo>
                    <a:pt x="151" y="123"/>
                  </a:lnTo>
                  <a:lnTo>
                    <a:pt x="151" y="121"/>
                  </a:lnTo>
                  <a:lnTo>
                    <a:pt x="151" y="121"/>
                  </a:lnTo>
                  <a:lnTo>
                    <a:pt x="149" y="121"/>
                  </a:lnTo>
                  <a:lnTo>
                    <a:pt x="149" y="123"/>
                  </a:lnTo>
                  <a:lnTo>
                    <a:pt x="139" y="131"/>
                  </a:lnTo>
                  <a:lnTo>
                    <a:pt x="139" y="131"/>
                  </a:lnTo>
                  <a:lnTo>
                    <a:pt x="137" y="135"/>
                  </a:lnTo>
                  <a:lnTo>
                    <a:pt x="137" y="137"/>
                  </a:lnTo>
                  <a:lnTo>
                    <a:pt x="135" y="137"/>
                  </a:lnTo>
                  <a:lnTo>
                    <a:pt x="133" y="137"/>
                  </a:lnTo>
                  <a:lnTo>
                    <a:pt x="127" y="139"/>
                  </a:lnTo>
                  <a:lnTo>
                    <a:pt x="123" y="141"/>
                  </a:lnTo>
                  <a:lnTo>
                    <a:pt x="120" y="141"/>
                  </a:lnTo>
                  <a:lnTo>
                    <a:pt x="114" y="148"/>
                  </a:lnTo>
                  <a:lnTo>
                    <a:pt x="108" y="154"/>
                  </a:lnTo>
                  <a:lnTo>
                    <a:pt x="108" y="156"/>
                  </a:lnTo>
                  <a:lnTo>
                    <a:pt x="106" y="158"/>
                  </a:lnTo>
                  <a:lnTo>
                    <a:pt x="104" y="158"/>
                  </a:lnTo>
                  <a:lnTo>
                    <a:pt x="104" y="160"/>
                  </a:lnTo>
                  <a:lnTo>
                    <a:pt x="104" y="162"/>
                  </a:lnTo>
                  <a:lnTo>
                    <a:pt x="108" y="164"/>
                  </a:lnTo>
                  <a:lnTo>
                    <a:pt x="114" y="162"/>
                  </a:lnTo>
                  <a:lnTo>
                    <a:pt x="120" y="160"/>
                  </a:lnTo>
                  <a:lnTo>
                    <a:pt x="123" y="160"/>
                  </a:lnTo>
                  <a:lnTo>
                    <a:pt x="125" y="160"/>
                  </a:lnTo>
                  <a:lnTo>
                    <a:pt x="123" y="162"/>
                  </a:lnTo>
                  <a:lnTo>
                    <a:pt x="120" y="162"/>
                  </a:lnTo>
                  <a:lnTo>
                    <a:pt x="106" y="164"/>
                  </a:lnTo>
                  <a:lnTo>
                    <a:pt x="102" y="164"/>
                  </a:lnTo>
                  <a:lnTo>
                    <a:pt x="100" y="162"/>
                  </a:lnTo>
                  <a:lnTo>
                    <a:pt x="100" y="160"/>
                  </a:lnTo>
                  <a:lnTo>
                    <a:pt x="102" y="158"/>
                  </a:lnTo>
                  <a:lnTo>
                    <a:pt x="104" y="154"/>
                  </a:lnTo>
                  <a:lnTo>
                    <a:pt x="106" y="152"/>
                  </a:lnTo>
                  <a:lnTo>
                    <a:pt x="108" y="152"/>
                  </a:lnTo>
                  <a:lnTo>
                    <a:pt x="110" y="150"/>
                  </a:lnTo>
                  <a:lnTo>
                    <a:pt x="112" y="146"/>
                  </a:lnTo>
                  <a:lnTo>
                    <a:pt x="114" y="144"/>
                  </a:lnTo>
                  <a:lnTo>
                    <a:pt x="123" y="137"/>
                  </a:lnTo>
                  <a:lnTo>
                    <a:pt x="123" y="137"/>
                  </a:lnTo>
                  <a:lnTo>
                    <a:pt x="125" y="137"/>
                  </a:lnTo>
                  <a:lnTo>
                    <a:pt x="125" y="137"/>
                  </a:lnTo>
                  <a:lnTo>
                    <a:pt x="125" y="135"/>
                  </a:lnTo>
                  <a:lnTo>
                    <a:pt x="127" y="133"/>
                  </a:lnTo>
                  <a:lnTo>
                    <a:pt x="129" y="131"/>
                  </a:lnTo>
                  <a:lnTo>
                    <a:pt x="131" y="129"/>
                  </a:lnTo>
                  <a:lnTo>
                    <a:pt x="133" y="129"/>
                  </a:lnTo>
                  <a:lnTo>
                    <a:pt x="131" y="125"/>
                  </a:lnTo>
                  <a:lnTo>
                    <a:pt x="131" y="123"/>
                  </a:lnTo>
                  <a:lnTo>
                    <a:pt x="131" y="121"/>
                  </a:lnTo>
                  <a:lnTo>
                    <a:pt x="133" y="119"/>
                  </a:lnTo>
                  <a:lnTo>
                    <a:pt x="133" y="121"/>
                  </a:lnTo>
                  <a:lnTo>
                    <a:pt x="133" y="123"/>
                  </a:lnTo>
                  <a:lnTo>
                    <a:pt x="133" y="125"/>
                  </a:lnTo>
                  <a:lnTo>
                    <a:pt x="135" y="123"/>
                  </a:lnTo>
                  <a:lnTo>
                    <a:pt x="135" y="123"/>
                  </a:lnTo>
                  <a:lnTo>
                    <a:pt x="135" y="121"/>
                  </a:lnTo>
                  <a:lnTo>
                    <a:pt x="137" y="119"/>
                  </a:lnTo>
                  <a:lnTo>
                    <a:pt x="137" y="123"/>
                  </a:lnTo>
                  <a:lnTo>
                    <a:pt x="135" y="125"/>
                  </a:lnTo>
                  <a:lnTo>
                    <a:pt x="133" y="131"/>
                  </a:lnTo>
                  <a:lnTo>
                    <a:pt x="131" y="133"/>
                  </a:lnTo>
                  <a:lnTo>
                    <a:pt x="131" y="135"/>
                  </a:lnTo>
                  <a:lnTo>
                    <a:pt x="133" y="135"/>
                  </a:lnTo>
                  <a:lnTo>
                    <a:pt x="133" y="135"/>
                  </a:lnTo>
                  <a:lnTo>
                    <a:pt x="135" y="135"/>
                  </a:lnTo>
                  <a:lnTo>
                    <a:pt x="135" y="135"/>
                  </a:lnTo>
                  <a:lnTo>
                    <a:pt x="135" y="133"/>
                  </a:lnTo>
                  <a:lnTo>
                    <a:pt x="137" y="131"/>
                  </a:lnTo>
                  <a:lnTo>
                    <a:pt x="137" y="129"/>
                  </a:lnTo>
                  <a:lnTo>
                    <a:pt x="139" y="127"/>
                  </a:lnTo>
                  <a:lnTo>
                    <a:pt x="141" y="125"/>
                  </a:lnTo>
                  <a:lnTo>
                    <a:pt x="145" y="121"/>
                  </a:lnTo>
                  <a:lnTo>
                    <a:pt x="145" y="121"/>
                  </a:lnTo>
                  <a:lnTo>
                    <a:pt x="147" y="119"/>
                  </a:lnTo>
                  <a:lnTo>
                    <a:pt x="147" y="119"/>
                  </a:lnTo>
                  <a:lnTo>
                    <a:pt x="147" y="119"/>
                  </a:lnTo>
                  <a:lnTo>
                    <a:pt x="151" y="119"/>
                  </a:lnTo>
                  <a:lnTo>
                    <a:pt x="151" y="119"/>
                  </a:lnTo>
                  <a:lnTo>
                    <a:pt x="151" y="117"/>
                  </a:lnTo>
                  <a:lnTo>
                    <a:pt x="147" y="111"/>
                  </a:lnTo>
                  <a:lnTo>
                    <a:pt x="147" y="111"/>
                  </a:lnTo>
                  <a:lnTo>
                    <a:pt x="147" y="109"/>
                  </a:lnTo>
                  <a:lnTo>
                    <a:pt x="147" y="109"/>
                  </a:lnTo>
                  <a:lnTo>
                    <a:pt x="147" y="107"/>
                  </a:lnTo>
                  <a:lnTo>
                    <a:pt x="147" y="107"/>
                  </a:lnTo>
                  <a:lnTo>
                    <a:pt x="145" y="105"/>
                  </a:lnTo>
                  <a:lnTo>
                    <a:pt x="143" y="98"/>
                  </a:lnTo>
                  <a:lnTo>
                    <a:pt x="143" y="98"/>
                  </a:lnTo>
                  <a:lnTo>
                    <a:pt x="143" y="96"/>
                  </a:lnTo>
                  <a:lnTo>
                    <a:pt x="143" y="96"/>
                  </a:lnTo>
                  <a:lnTo>
                    <a:pt x="143" y="94"/>
                  </a:lnTo>
                  <a:lnTo>
                    <a:pt x="143" y="94"/>
                  </a:lnTo>
                  <a:lnTo>
                    <a:pt x="143" y="92"/>
                  </a:lnTo>
                  <a:lnTo>
                    <a:pt x="145" y="92"/>
                  </a:lnTo>
                  <a:lnTo>
                    <a:pt x="147" y="92"/>
                  </a:lnTo>
                  <a:lnTo>
                    <a:pt x="145" y="90"/>
                  </a:lnTo>
                  <a:lnTo>
                    <a:pt x="143" y="88"/>
                  </a:lnTo>
                  <a:lnTo>
                    <a:pt x="141" y="90"/>
                  </a:lnTo>
                  <a:lnTo>
                    <a:pt x="139" y="90"/>
                  </a:lnTo>
                  <a:lnTo>
                    <a:pt x="137" y="90"/>
                  </a:lnTo>
                  <a:lnTo>
                    <a:pt x="137" y="92"/>
                  </a:lnTo>
                  <a:lnTo>
                    <a:pt x="137" y="92"/>
                  </a:lnTo>
                  <a:lnTo>
                    <a:pt x="137" y="94"/>
                  </a:lnTo>
                  <a:lnTo>
                    <a:pt x="139" y="98"/>
                  </a:lnTo>
                  <a:lnTo>
                    <a:pt x="139" y="98"/>
                  </a:lnTo>
                  <a:lnTo>
                    <a:pt x="137" y="103"/>
                  </a:lnTo>
                  <a:lnTo>
                    <a:pt x="137" y="103"/>
                  </a:lnTo>
                  <a:lnTo>
                    <a:pt x="135" y="103"/>
                  </a:lnTo>
                  <a:lnTo>
                    <a:pt x="135" y="103"/>
                  </a:lnTo>
                  <a:lnTo>
                    <a:pt x="137" y="100"/>
                  </a:lnTo>
                  <a:lnTo>
                    <a:pt x="137" y="98"/>
                  </a:lnTo>
                  <a:lnTo>
                    <a:pt x="135" y="96"/>
                  </a:lnTo>
                  <a:lnTo>
                    <a:pt x="135" y="96"/>
                  </a:lnTo>
                  <a:lnTo>
                    <a:pt x="135" y="94"/>
                  </a:lnTo>
                  <a:lnTo>
                    <a:pt x="133" y="94"/>
                  </a:lnTo>
                  <a:lnTo>
                    <a:pt x="133" y="94"/>
                  </a:lnTo>
                  <a:lnTo>
                    <a:pt x="133" y="92"/>
                  </a:lnTo>
                  <a:lnTo>
                    <a:pt x="133" y="92"/>
                  </a:lnTo>
                  <a:lnTo>
                    <a:pt x="131" y="90"/>
                  </a:lnTo>
                  <a:lnTo>
                    <a:pt x="131" y="90"/>
                  </a:lnTo>
                  <a:lnTo>
                    <a:pt x="127" y="90"/>
                  </a:lnTo>
                  <a:lnTo>
                    <a:pt x="127" y="92"/>
                  </a:lnTo>
                  <a:lnTo>
                    <a:pt x="127" y="96"/>
                  </a:lnTo>
                  <a:lnTo>
                    <a:pt x="125" y="96"/>
                  </a:lnTo>
                  <a:lnTo>
                    <a:pt x="125" y="94"/>
                  </a:lnTo>
                  <a:lnTo>
                    <a:pt x="123" y="94"/>
                  </a:lnTo>
                  <a:lnTo>
                    <a:pt x="125" y="90"/>
                  </a:lnTo>
                  <a:lnTo>
                    <a:pt x="123" y="88"/>
                  </a:lnTo>
                  <a:lnTo>
                    <a:pt x="120" y="86"/>
                  </a:lnTo>
                  <a:lnTo>
                    <a:pt x="118" y="84"/>
                  </a:lnTo>
                  <a:lnTo>
                    <a:pt x="116" y="84"/>
                  </a:lnTo>
                  <a:lnTo>
                    <a:pt x="116" y="82"/>
                  </a:lnTo>
                  <a:lnTo>
                    <a:pt x="118" y="82"/>
                  </a:lnTo>
                  <a:lnTo>
                    <a:pt x="118" y="82"/>
                  </a:lnTo>
                  <a:lnTo>
                    <a:pt x="120" y="82"/>
                  </a:lnTo>
                  <a:lnTo>
                    <a:pt x="120" y="80"/>
                  </a:lnTo>
                  <a:lnTo>
                    <a:pt x="116" y="82"/>
                  </a:lnTo>
                  <a:lnTo>
                    <a:pt x="110" y="84"/>
                  </a:lnTo>
                  <a:lnTo>
                    <a:pt x="108" y="84"/>
                  </a:lnTo>
                  <a:lnTo>
                    <a:pt x="96" y="82"/>
                  </a:lnTo>
                  <a:lnTo>
                    <a:pt x="96" y="80"/>
                  </a:lnTo>
                  <a:lnTo>
                    <a:pt x="96" y="80"/>
                  </a:lnTo>
                  <a:lnTo>
                    <a:pt x="96" y="80"/>
                  </a:lnTo>
                  <a:lnTo>
                    <a:pt x="96" y="80"/>
                  </a:lnTo>
                  <a:lnTo>
                    <a:pt x="98" y="80"/>
                  </a:lnTo>
                  <a:lnTo>
                    <a:pt x="92" y="80"/>
                  </a:lnTo>
                  <a:lnTo>
                    <a:pt x="90" y="78"/>
                  </a:lnTo>
                  <a:lnTo>
                    <a:pt x="88" y="76"/>
                  </a:lnTo>
                  <a:lnTo>
                    <a:pt x="84" y="76"/>
                  </a:lnTo>
                  <a:lnTo>
                    <a:pt x="82" y="78"/>
                  </a:lnTo>
                  <a:lnTo>
                    <a:pt x="80" y="76"/>
                  </a:lnTo>
                  <a:lnTo>
                    <a:pt x="77" y="74"/>
                  </a:lnTo>
                  <a:lnTo>
                    <a:pt x="75" y="74"/>
                  </a:lnTo>
                  <a:lnTo>
                    <a:pt x="69" y="72"/>
                  </a:lnTo>
                  <a:lnTo>
                    <a:pt x="59" y="70"/>
                  </a:lnTo>
                  <a:lnTo>
                    <a:pt x="49" y="64"/>
                  </a:lnTo>
                  <a:lnTo>
                    <a:pt x="49" y="64"/>
                  </a:lnTo>
                  <a:lnTo>
                    <a:pt x="47" y="60"/>
                  </a:lnTo>
                  <a:lnTo>
                    <a:pt x="45" y="57"/>
                  </a:lnTo>
                  <a:lnTo>
                    <a:pt x="39" y="55"/>
                  </a:lnTo>
                  <a:lnTo>
                    <a:pt x="39" y="53"/>
                  </a:lnTo>
                  <a:lnTo>
                    <a:pt x="34" y="53"/>
                  </a:lnTo>
                  <a:lnTo>
                    <a:pt x="32" y="53"/>
                  </a:lnTo>
                  <a:lnTo>
                    <a:pt x="32" y="51"/>
                  </a:lnTo>
                  <a:lnTo>
                    <a:pt x="30" y="49"/>
                  </a:lnTo>
                  <a:lnTo>
                    <a:pt x="26" y="47"/>
                  </a:lnTo>
                  <a:lnTo>
                    <a:pt x="24" y="45"/>
                  </a:lnTo>
                  <a:lnTo>
                    <a:pt x="14" y="37"/>
                  </a:lnTo>
                  <a:lnTo>
                    <a:pt x="10" y="35"/>
                  </a:lnTo>
                  <a:lnTo>
                    <a:pt x="6" y="33"/>
                  </a:lnTo>
                  <a:lnTo>
                    <a:pt x="6" y="35"/>
                  </a:lnTo>
                  <a:lnTo>
                    <a:pt x="6" y="37"/>
                  </a:lnTo>
                  <a:lnTo>
                    <a:pt x="8" y="39"/>
                  </a:lnTo>
                  <a:lnTo>
                    <a:pt x="8" y="41"/>
                  </a:lnTo>
                  <a:lnTo>
                    <a:pt x="8" y="41"/>
                  </a:lnTo>
                  <a:lnTo>
                    <a:pt x="8" y="41"/>
                  </a:lnTo>
                  <a:lnTo>
                    <a:pt x="8" y="43"/>
                  </a:lnTo>
                  <a:lnTo>
                    <a:pt x="6" y="45"/>
                  </a:lnTo>
                  <a:lnTo>
                    <a:pt x="6" y="47"/>
                  </a:lnTo>
                  <a:lnTo>
                    <a:pt x="6" y="49"/>
                  </a:lnTo>
                  <a:lnTo>
                    <a:pt x="4" y="49"/>
                  </a:lnTo>
                  <a:lnTo>
                    <a:pt x="4" y="49"/>
                  </a:lnTo>
                  <a:lnTo>
                    <a:pt x="4" y="49"/>
                  </a:lnTo>
                  <a:lnTo>
                    <a:pt x="4" y="51"/>
                  </a:lnTo>
                  <a:lnTo>
                    <a:pt x="4" y="51"/>
                  </a:lnTo>
                  <a:lnTo>
                    <a:pt x="4" y="55"/>
                  </a:lnTo>
                  <a:lnTo>
                    <a:pt x="2" y="55"/>
                  </a:lnTo>
                  <a:lnTo>
                    <a:pt x="2" y="55"/>
                  </a:lnTo>
                  <a:lnTo>
                    <a:pt x="0" y="57"/>
                  </a:lnTo>
                  <a:lnTo>
                    <a:pt x="2" y="64"/>
                  </a:lnTo>
                  <a:lnTo>
                    <a:pt x="2" y="66"/>
                  </a:lnTo>
                  <a:lnTo>
                    <a:pt x="0" y="70"/>
                  </a:lnTo>
                  <a:lnTo>
                    <a:pt x="0" y="74"/>
                  </a:lnTo>
                  <a:lnTo>
                    <a:pt x="2" y="78"/>
                  </a:lnTo>
                  <a:lnTo>
                    <a:pt x="2" y="82"/>
                  </a:lnTo>
                  <a:lnTo>
                    <a:pt x="4" y="86"/>
                  </a:lnTo>
                  <a:lnTo>
                    <a:pt x="4" y="86"/>
                  </a:lnTo>
                  <a:lnTo>
                    <a:pt x="6" y="88"/>
                  </a:lnTo>
                  <a:lnTo>
                    <a:pt x="6" y="88"/>
                  </a:lnTo>
                  <a:lnTo>
                    <a:pt x="8" y="88"/>
                  </a:lnTo>
                  <a:lnTo>
                    <a:pt x="10" y="94"/>
                  </a:lnTo>
                  <a:lnTo>
                    <a:pt x="12" y="96"/>
                  </a:lnTo>
                  <a:lnTo>
                    <a:pt x="12" y="100"/>
                  </a:lnTo>
                  <a:lnTo>
                    <a:pt x="12" y="103"/>
                  </a:lnTo>
                  <a:lnTo>
                    <a:pt x="12" y="103"/>
                  </a:lnTo>
                  <a:lnTo>
                    <a:pt x="14" y="103"/>
                  </a:lnTo>
                  <a:lnTo>
                    <a:pt x="14" y="105"/>
                  </a:lnTo>
                  <a:lnTo>
                    <a:pt x="14" y="107"/>
                  </a:lnTo>
                  <a:lnTo>
                    <a:pt x="16" y="113"/>
                  </a:lnTo>
                  <a:lnTo>
                    <a:pt x="16" y="115"/>
                  </a:lnTo>
                  <a:lnTo>
                    <a:pt x="14" y="123"/>
                  </a:lnTo>
                  <a:lnTo>
                    <a:pt x="14" y="127"/>
                  </a:lnTo>
                  <a:lnTo>
                    <a:pt x="14" y="144"/>
                  </a:lnTo>
                  <a:lnTo>
                    <a:pt x="14" y="144"/>
                  </a:lnTo>
                  <a:lnTo>
                    <a:pt x="16" y="146"/>
                  </a:lnTo>
                  <a:lnTo>
                    <a:pt x="16" y="146"/>
                  </a:lnTo>
                  <a:lnTo>
                    <a:pt x="16" y="146"/>
                  </a:lnTo>
                  <a:lnTo>
                    <a:pt x="14" y="148"/>
                  </a:lnTo>
                  <a:lnTo>
                    <a:pt x="14" y="148"/>
                  </a:lnTo>
                  <a:lnTo>
                    <a:pt x="16" y="150"/>
                  </a:lnTo>
                  <a:lnTo>
                    <a:pt x="16" y="150"/>
                  </a:lnTo>
                  <a:lnTo>
                    <a:pt x="16" y="150"/>
                  </a:lnTo>
                  <a:lnTo>
                    <a:pt x="18" y="154"/>
                  </a:lnTo>
                  <a:lnTo>
                    <a:pt x="18" y="158"/>
                  </a:lnTo>
                  <a:lnTo>
                    <a:pt x="18" y="162"/>
                  </a:lnTo>
                  <a:lnTo>
                    <a:pt x="18" y="170"/>
                  </a:lnTo>
                  <a:lnTo>
                    <a:pt x="18" y="176"/>
                  </a:lnTo>
                  <a:lnTo>
                    <a:pt x="18" y="178"/>
                  </a:lnTo>
                  <a:lnTo>
                    <a:pt x="16" y="185"/>
                  </a:lnTo>
                  <a:lnTo>
                    <a:pt x="14" y="187"/>
                  </a:lnTo>
                  <a:lnTo>
                    <a:pt x="14" y="187"/>
                  </a:lnTo>
                  <a:lnTo>
                    <a:pt x="14" y="189"/>
                  </a:lnTo>
                  <a:lnTo>
                    <a:pt x="14" y="189"/>
                  </a:lnTo>
                  <a:lnTo>
                    <a:pt x="14" y="189"/>
                  </a:lnTo>
                  <a:lnTo>
                    <a:pt x="14" y="189"/>
                  </a:lnTo>
                  <a:lnTo>
                    <a:pt x="18" y="187"/>
                  </a:lnTo>
                  <a:lnTo>
                    <a:pt x="18" y="187"/>
                  </a:lnTo>
                  <a:lnTo>
                    <a:pt x="18" y="187"/>
                  </a:lnTo>
                  <a:lnTo>
                    <a:pt x="18" y="187"/>
                  </a:lnTo>
                  <a:lnTo>
                    <a:pt x="18" y="185"/>
                  </a:lnTo>
                  <a:lnTo>
                    <a:pt x="18" y="185"/>
                  </a:lnTo>
                  <a:lnTo>
                    <a:pt x="18" y="182"/>
                  </a:lnTo>
                  <a:lnTo>
                    <a:pt x="18" y="180"/>
                  </a:lnTo>
                  <a:lnTo>
                    <a:pt x="18" y="180"/>
                  </a:lnTo>
                  <a:lnTo>
                    <a:pt x="18" y="178"/>
                  </a:lnTo>
                  <a:lnTo>
                    <a:pt x="20" y="178"/>
                  </a:lnTo>
                  <a:lnTo>
                    <a:pt x="22" y="178"/>
                  </a:lnTo>
                  <a:lnTo>
                    <a:pt x="24" y="178"/>
                  </a:lnTo>
                  <a:lnTo>
                    <a:pt x="26" y="180"/>
                  </a:lnTo>
                  <a:lnTo>
                    <a:pt x="26" y="182"/>
                  </a:lnTo>
                  <a:lnTo>
                    <a:pt x="28" y="182"/>
                  </a:lnTo>
                  <a:lnTo>
                    <a:pt x="28" y="187"/>
                  </a:lnTo>
                  <a:lnTo>
                    <a:pt x="28" y="187"/>
                  </a:lnTo>
                  <a:lnTo>
                    <a:pt x="30" y="189"/>
                  </a:lnTo>
                  <a:lnTo>
                    <a:pt x="34" y="189"/>
                  </a:lnTo>
                  <a:lnTo>
                    <a:pt x="34" y="189"/>
                  </a:lnTo>
                  <a:lnTo>
                    <a:pt x="34" y="189"/>
                  </a:lnTo>
                  <a:lnTo>
                    <a:pt x="32" y="189"/>
                  </a:lnTo>
                  <a:lnTo>
                    <a:pt x="39" y="191"/>
                  </a:lnTo>
                  <a:lnTo>
                    <a:pt x="41" y="191"/>
                  </a:lnTo>
                  <a:lnTo>
                    <a:pt x="43" y="193"/>
                  </a:lnTo>
                  <a:lnTo>
                    <a:pt x="37" y="193"/>
                  </a:lnTo>
                  <a:lnTo>
                    <a:pt x="30" y="193"/>
                  </a:lnTo>
                  <a:lnTo>
                    <a:pt x="26" y="195"/>
                  </a:lnTo>
                  <a:lnTo>
                    <a:pt x="26" y="195"/>
                  </a:lnTo>
                  <a:lnTo>
                    <a:pt x="24" y="195"/>
                  </a:lnTo>
                  <a:lnTo>
                    <a:pt x="22" y="195"/>
                  </a:lnTo>
                  <a:lnTo>
                    <a:pt x="22" y="197"/>
                  </a:lnTo>
                  <a:lnTo>
                    <a:pt x="22" y="197"/>
                  </a:lnTo>
                  <a:lnTo>
                    <a:pt x="24" y="197"/>
                  </a:lnTo>
                  <a:lnTo>
                    <a:pt x="24" y="199"/>
                  </a:lnTo>
                  <a:lnTo>
                    <a:pt x="24" y="199"/>
                  </a:lnTo>
                  <a:lnTo>
                    <a:pt x="24" y="201"/>
                  </a:lnTo>
                  <a:lnTo>
                    <a:pt x="22" y="201"/>
                  </a:lnTo>
                  <a:lnTo>
                    <a:pt x="22" y="201"/>
                  </a:lnTo>
                  <a:lnTo>
                    <a:pt x="22" y="201"/>
                  </a:lnTo>
                  <a:lnTo>
                    <a:pt x="20" y="199"/>
                  </a:lnTo>
                  <a:lnTo>
                    <a:pt x="20" y="199"/>
                  </a:lnTo>
                  <a:lnTo>
                    <a:pt x="20" y="197"/>
                  </a:lnTo>
                  <a:lnTo>
                    <a:pt x="18" y="195"/>
                  </a:lnTo>
                  <a:lnTo>
                    <a:pt x="18" y="195"/>
                  </a:lnTo>
                  <a:lnTo>
                    <a:pt x="18" y="193"/>
                  </a:lnTo>
                  <a:lnTo>
                    <a:pt x="16" y="193"/>
                  </a:lnTo>
                  <a:lnTo>
                    <a:pt x="16" y="195"/>
                  </a:lnTo>
                  <a:lnTo>
                    <a:pt x="16" y="199"/>
                  </a:lnTo>
                  <a:lnTo>
                    <a:pt x="16" y="203"/>
                  </a:lnTo>
                  <a:lnTo>
                    <a:pt x="16" y="209"/>
                  </a:lnTo>
                  <a:lnTo>
                    <a:pt x="16" y="211"/>
                  </a:lnTo>
                  <a:lnTo>
                    <a:pt x="18" y="211"/>
                  </a:lnTo>
                  <a:lnTo>
                    <a:pt x="20" y="213"/>
                  </a:lnTo>
                  <a:lnTo>
                    <a:pt x="22" y="213"/>
                  </a:lnTo>
                  <a:lnTo>
                    <a:pt x="22" y="213"/>
                  </a:lnTo>
                  <a:lnTo>
                    <a:pt x="22" y="213"/>
                  </a:lnTo>
                  <a:lnTo>
                    <a:pt x="24" y="215"/>
                  </a:lnTo>
                  <a:lnTo>
                    <a:pt x="24" y="215"/>
                  </a:lnTo>
                  <a:lnTo>
                    <a:pt x="24" y="215"/>
                  </a:lnTo>
                  <a:lnTo>
                    <a:pt x="24" y="213"/>
                  </a:lnTo>
                  <a:lnTo>
                    <a:pt x="24" y="213"/>
                  </a:lnTo>
                  <a:lnTo>
                    <a:pt x="28" y="215"/>
                  </a:lnTo>
                  <a:lnTo>
                    <a:pt x="28" y="215"/>
                  </a:lnTo>
                  <a:lnTo>
                    <a:pt x="30" y="213"/>
                  </a:lnTo>
                  <a:lnTo>
                    <a:pt x="30" y="213"/>
                  </a:lnTo>
                  <a:lnTo>
                    <a:pt x="32" y="213"/>
                  </a:lnTo>
                  <a:lnTo>
                    <a:pt x="32" y="213"/>
                  </a:lnTo>
                  <a:lnTo>
                    <a:pt x="34" y="215"/>
                  </a:lnTo>
                  <a:lnTo>
                    <a:pt x="37" y="219"/>
                  </a:lnTo>
                  <a:lnTo>
                    <a:pt x="37" y="219"/>
                  </a:lnTo>
                  <a:lnTo>
                    <a:pt x="39" y="221"/>
                  </a:lnTo>
                  <a:lnTo>
                    <a:pt x="39" y="221"/>
                  </a:lnTo>
                  <a:lnTo>
                    <a:pt x="37" y="223"/>
                  </a:lnTo>
                  <a:lnTo>
                    <a:pt x="34" y="221"/>
                  </a:lnTo>
                  <a:lnTo>
                    <a:pt x="34" y="221"/>
                  </a:lnTo>
                  <a:lnTo>
                    <a:pt x="34" y="219"/>
                  </a:lnTo>
                  <a:lnTo>
                    <a:pt x="34" y="217"/>
                  </a:lnTo>
                  <a:lnTo>
                    <a:pt x="30" y="217"/>
                  </a:lnTo>
                  <a:lnTo>
                    <a:pt x="28" y="219"/>
                  </a:lnTo>
                  <a:lnTo>
                    <a:pt x="26" y="221"/>
                  </a:lnTo>
                  <a:lnTo>
                    <a:pt x="26" y="223"/>
                  </a:lnTo>
                  <a:lnTo>
                    <a:pt x="28" y="228"/>
                  </a:lnTo>
                  <a:lnTo>
                    <a:pt x="26" y="225"/>
                  </a:lnTo>
                  <a:lnTo>
                    <a:pt x="24" y="223"/>
                  </a:lnTo>
                  <a:lnTo>
                    <a:pt x="24" y="223"/>
                  </a:lnTo>
                  <a:lnTo>
                    <a:pt x="24" y="225"/>
                  </a:lnTo>
                  <a:lnTo>
                    <a:pt x="26" y="228"/>
                  </a:lnTo>
                  <a:lnTo>
                    <a:pt x="26" y="232"/>
                  </a:lnTo>
                  <a:lnTo>
                    <a:pt x="26" y="232"/>
                  </a:lnTo>
                  <a:lnTo>
                    <a:pt x="26" y="232"/>
                  </a:lnTo>
                  <a:lnTo>
                    <a:pt x="26" y="234"/>
                  </a:lnTo>
                  <a:lnTo>
                    <a:pt x="26" y="236"/>
                  </a:lnTo>
                  <a:lnTo>
                    <a:pt x="26" y="236"/>
                  </a:lnTo>
                  <a:lnTo>
                    <a:pt x="24" y="236"/>
                  </a:lnTo>
                  <a:lnTo>
                    <a:pt x="22" y="236"/>
                  </a:lnTo>
                  <a:lnTo>
                    <a:pt x="22" y="238"/>
                  </a:lnTo>
                  <a:lnTo>
                    <a:pt x="22" y="238"/>
                  </a:lnTo>
                  <a:lnTo>
                    <a:pt x="22" y="240"/>
                  </a:lnTo>
                  <a:lnTo>
                    <a:pt x="22" y="240"/>
                  </a:lnTo>
                  <a:lnTo>
                    <a:pt x="22" y="240"/>
                  </a:lnTo>
                  <a:lnTo>
                    <a:pt x="24" y="242"/>
                  </a:lnTo>
                  <a:lnTo>
                    <a:pt x="24" y="242"/>
                  </a:lnTo>
                  <a:lnTo>
                    <a:pt x="24" y="242"/>
                  </a:lnTo>
                  <a:lnTo>
                    <a:pt x="24" y="242"/>
                  </a:lnTo>
                  <a:lnTo>
                    <a:pt x="24" y="244"/>
                  </a:lnTo>
                  <a:lnTo>
                    <a:pt x="24" y="244"/>
                  </a:lnTo>
                  <a:lnTo>
                    <a:pt x="26" y="246"/>
                  </a:lnTo>
                  <a:lnTo>
                    <a:pt x="28" y="246"/>
                  </a:lnTo>
                  <a:lnTo>
                    <a:pt x="26" y="248"/>
                  </a:lnTo>
                  <a:lnTo>
                    <a:pt x="26" y="246"/>
                  </a:lnTo>
                  <a:lnTo>
                    <a:pt x="22" y="244"/>
                  </a:lnTo>
                  <a:lnTo>
                    <a:pt x="22" y="244"/>
                  </a:lnTo>
                  <a:lnTo>
                    <a:pt x="22" y="244"/>
                  </a:lnTo>
                  <a:lnTo>
                    <a:pt x="22" y="246"/>
                  </a:lnTo>
                  <a:lnTo>
                    <a:pt x="20" y="248"/>
                  </a:lnTo>
                  <a:lnTo>
                    <a:pt x="18" y="248"/>
                  </a:lnTo>
                  <a:lnTo>
                    <a:pt x="16" y="248"/>
                  </a:lnTo>
                  <a:lnTo>
                    <a:pt x="16" y="246"/>
                  </a:lnTo>
                  <a:lnTo>
                    <a:pt x="14" y="244"/>
                  </a:lnTo>
                  <a:lnTo>
                    <a:pt x="14" y="238"/>
                  </a:lnTo>
                  <a:lnTo>
                    <a:pt x="16" y="236"/>
                  </a:lnTo>
                  <a:lnTo>
                    <a:pt x="18" y="228"/>
                  </a:lnTo>
                  <a:lnTo>
                    <a:pt x="18" y="225"/>
                  </a:lnTo>
                  <a:lnTo>
                    <a:pt x="16" y="223"/>
                  </a:lnTo>
                  <a:lnTo>
                    <a:pt x="16" y="221"/>
                  </a:lnTo>
                  <a:lnTo>
                    <a:pt x="18" y="219"/>
                  </a:lnTo>
                  <a:lnTo>
                    <a:pt x="16" y="221"/>
                  </a:lnTo>
                  <a:lnTo>
                    <a:pt x="14" y="225"/>
                  </a:lnTo>
                  <a:lnTo>
                    <a:pt x="12" y="242"/>
                  </a:lnTo>
                  <a:lnTo>
                    <a:pt x="12" y="246"/>
                  </a:lnTo>
                  <a:lnTo>
                    <a:pt x="10" y="248"/>
                  </a:lnTo>
                  <a:lnTo>
                    <a:pt x="10" y="250"/>
                  </a:lnTo>
                  <a:lnTo>
                    <a:pt x="10" y="252"/>
                  </a:lnTo>
                  <a:lnTo>
                    <a:pt x="8" y="252"/>
                  </a:lnTo>
                  <a:lnTo>
                    <a:pt x="8" y="254"/>
                  </a:lnTo>
                  <a:lnTo>
                    <a:pt x="6" y="256"/>
                  </a:lnTo>
                  <a:lnTo>
                    <a:pt x="6" y="256"/>
                  </a:lnTo>
                  <a:lnTo>
                    <a:pt x="6" y="258"/>
                  </a:lnTo>
                  <a:lnTo>
                    <a:pt x="8" y="258"/>
                  </a:lnTo>
                  <a:lnTo>
                    <a:pt x="10" y="258"/>
                  </a:lnTo>
                  <a:lnTo>
                    <a:pt x="10" y="258"/>
                  </a:lnTo>
                  <a:lnTo>
                    <a:pt x="10" y="258"/>
                  </a:lnTo>
                  <a:lnTo>
                    <a:pt x="10" y="258"/>
                  </a:lnTo>
                  <a:lnTo>
                    <a:pt x="10" y="258"/>
                  </a:lnTo>
                  <a:lnTo>
                    <a:pt x="10" y="258"/>
                  </a:lnTo>
                  <a:lnTo>
                    <a:pt x="10" y="256"/>
                  </a:lnTo>
                  <a:lnTo>
                    <a:pt x="10" y="256"/>
                  </a:lnTo>
                  <a:lnTo>
                    <a:pt x="10" y="256"/>
                  </a:lnTo>
                  <a:lnTo>
                    <a:pt x="12" y="254"/>
                  </a:lnTo>
                  <a:lnTo>
                    <a:pt x="14" y="254"/>
                  </a:lnTo>
                  <a:lnTo>
                    <a:pt x="14" y="256"/>
                  </a:lnTo>
                  <a:lnTo>
                    <a:pt x="16" y="256"/>
                  </a:lnTo>
                  <a:lnTo>
                    <a:pt x="18" y="262"/>
                  </a:lnTo>
                  <a:lnTo>
                    <a:pt x="20" y="262"/>
                  </a:lnTo>
                  <a:lnTo>
                    <a:pt x="22" y="262"/>
                  </a:lnTo>
                  <a:lnTo>
                    <a:pt x="24" y="262"/>
                  </a:lnTo>
                  <a:lnTo>
                    <a:pt x="26" y="262"/>
                  </a:lnTo>
                  <a:lnTo>
                    <a:pt x="28" y="260"/>
                  </a:lnTo>
                  <a:lnTo>
                    <a:pt x="28" y="260"/>
                  </a:lnTo>
                  <a:lnTo>
                    <a:pt x="30" y="262"/>
                  </a:lnTo>
                  <a:lnTo>
                    <a:pt x="30" y="262"/>
                  </a:lnTo>
                  <a:lnTo>
                    <a:pt x="32" y="262"/>
                  </a:lnTo>
                  <a:lnTo>
                    <a:pt x="34" y="260"/>
                  </a:lnTo>
                  <a:lnTo>
                    <a:pt x="37" y="260"/>
                  </a:lnTo>
                  <a:lnTo>
                    <a:pt x="37" y="260"/>
                  </a:lnTo>
                  <a:lnTo>
                    <a:pt x="37" y="262"/>
                  </a:lnTo>
                  <a:lnTo>
                    <a:pt x="39" y="262"/>
                  </a:lnTo>
                  <a:lnTo>
                    <a:pt x="39" y="264"/>
                  </a:lnTo>
                  <a:lnTo>
                    <a:pt x="39" y="264"/>
                  </a:lnTo>
                  <a:lnTo>
                    <a:pt x="43" y="266"/>
                  </a:lnTo>
                  <a:lnTo>
                    <a:pt x="53" y="266"/>
                  </a:lnTo>
                  <a:lnTo>
                    <a:pt x="55" y="266"/>
                  </a:lnTo>
                  <a:lnTo>
                    <a:pt x="55" y="269"/>
                  </a:lnTo>
                  <a:lnTo>
                    <a:pt x="57" y="271"/>
                  </a:lnTo>
                  <a:lnTo>
                    <a:pt x="57" y="273"/>
                  </a:lnTo>
                  <a:lnTo>
                    <a:pt x="57" y="275"/>
                  </a:lnTo>
                  <a:lnTo>
                    <a:pt x="63" y="281"/>
                  </a:lnTo>
                  <a:lnTo>
                    <a:pt x="63" y="281"/>
                  </a:lnTo>
                  <a:lnTo>
                    <a:pt x="65" y="283"/>
                  </a:lnTo>
                  <a:lnTo>
                    <a:pt x="67" y="283"/>
                  </a:lnTo>
                  <a:lnTo>
                    <a:pt x="71" y="281"/>
                  </a:lnTo>
                  <a:lnTo>
                    <a:pt x="73" y="281"/>
                  </a:lnTo>
                  <a:lnTo>
                    <a:pt x="77" y="281"/>
                  </a:lnTo>
                  <a:lnTo>
                    <a:pt x="80" y="283"/>
                  </a:lnTo>
                  <a:lnTo>
                    <a:pt x="80" y="283"/>
                  </a:lnTo>
                  <a:lnTo>
                    <a:pt x="82" y="287"/>
                  </a:lnTo>
                  <a:lnTo>
                    <a:pt x="84" y="287"/>
                  </a:lnTo>
                  <a:lnTo>
                    <a:pt x="86" y="287"/>
                  </a:lnTo>
                  <a:lnTo>
                    <a:pt x="88" y="289"/>
                  </a:lnTo>
                  <a:lnTo>
                    <a:pt x="90" y="291"/>
                  </a:lnTo>
                  <a:lnTo>
                    <a:pt x="92" y="293"/>
                  </a:lnTo>
                  <a:lnTo>
                    <a:pt x="92" y="295"/>
                  </a:lnTo>
                  <a:lnTo>
                    <a:pt x="94" y="297"/>
                  </a:lnTo>
                  <a:lnTo>
                    <a:pt x="94" y="299"/>
                  </a:lnTo>
                  <a:lnTo>
                    <a:pt x="94" y="303"/>
                  </a:lnTo>
                  <a:lnTo>
                    <a:pt x="96" y="305"/>
                  </a:lnTo>
                  <a:lnTo>
                    <a:pt x="96" y="305"/>
                  </a:lnTo>
                  <a:lnTo>
                    <a:pt x="96" y="307"/>
                  </a:lnTo>
                  <a:lnTo>
                    <a:pt x="98" y="310"/>
                  </a:lnTo>
                  <a:lnTo>
                    <a:pt x="96" y="314"/>
                  </a:lnTo>
                  <a:lnTo>
                    <a:pt x="98" y="318"/>
                  </a:lnTo>
                  <a:lnTo>
                    <a:pt x="96" y="320"/>
                  </a:lnTo>
                  <a:lnTo>
                    <a:pt x="96" y="322"/>
                  </a:lnTo>
                  <a:lnTo>
                    <a:pt x="96" y="324"/>
                  </a:lnTo>
                  <a:lnTo>
                    <a:pt x="96" y="328"/>
                  </a:lnTo>
                  <a:lnTo>
                    <a:pt x="96" y="328"/>
                  </a:lnTo>
                  <a:lnTo>
                    <a:pt x="96" y="330"/>
                  </a:lnTo>
                  <a:lnTo>
                    <a:pt x="96" y="332"/>
                  </a:lnTo>
                  <a:lnTo>
                    <a:pt x="96" y="332"/>
                  </a:lnTo>
                  <a:lnTo>
                    <a:pt x="96" y="336"/>
                  </a:lnTo>
                  <a:lnTo>
                    <a:pt x="96" y="340"/>
                  </a:lnTo>
                  <a:lnTo>
                    <a:pt x="96" y="340"/>
                  </a:lnTo>
                  <a:lnTo>
                    <a:pt x="96" y="342"/>
                  </a:lnTo>
                  <a:lnTo>
                    <a:pt x="98" y="344"/>
                  </a:lnTo>
                  <a:lnTo>
                    <a:pt x="100" y="346"/>
                  </a:lnTo>
                  <a:lnTo>
                    <a:pt x="106" y="348"/>
                  </a:lnTo>
                  <a:lnTo>
                    <a:pt x="108" y="348"/>
                  </a:lnTo>
                  <a:lnTo>
                    <a:pt x="110" y="348"/>
                  </a:lnTo>
                  <a:lnTo>
                    <a:pt x="112" y="351"/>
                  </a:lnTo>
                  <a:lnTo>
                    <a:pt x="116" y="353"/>
                  </a:lnTo>
                  <a:lnTo>
                    <a:pt x="118" y="355"/>
                  </a:lnTo>
                  <a:lnTo>
                    <a:pt x="125" y="355"/>
                  </a:lnTo>
                  <a:lnTo>
                    <a:pt x="131" y="359"/>
                  </a:lnTo>
                  <a:lnTo>
                    <a:pt x="131" y="359"/>
                  </a:lnTo>
                  <a:lnTo>
                    <a:pt x="133" y="359"/>
                  </a:lnTo>
                  <a:lnTo>
                    <a:pt x="139" y="357"/>
                  </a:lnTo>
                  <a:lnTo>
                    <a:pt x="153" y="355"/>
                  </a:lnTo>
                  <a:lnTo>
                    <a:pt x="157" y="355"/>
                  </a:lnTo>
                  <a:lnTo>
                    <a:pt x="163" y="351"/>
                  </a:lnTo>
                  <a:lnTo>
                    <a:pt x="168" y="351"/>
                  </a:lnTo>
                  <a:lnTo>
                    <a:pt x="170" y="351"/>
                  </a:lnTo>
                  <a:lnTo>
                    <a:pt x="176" y="353"/>
                  </a:lnTo>
                  <a:lnTo>
                    <a:pt x="186" y="353"/>
                  </a:lnTo>
                  <a:lnTo>
                    <a:pt x="209" y="359"/>
                  </a:lnTo>
                  <a:lnTo>
                    <a:pt x="213" y="361"/>
                  </a:lnTo>
                  <a:lnTo>
                    <a:pt x="215" y="363"/>
                  </a:lnTo>
                  <a:lnTo>
                    <a:pt x="215" y="365"/>
                  </a:lnTo>
                  <a:lnTo>
                    <a:pt x="215" y="367"/>
                  </a:lnTo>
                  <a:lnTo>
                    <a:pt x="215" y="369"/>
                  </a:lnTo>
                  <a:lnTo>
                    <a:pt x="217" y="369"/>
                  </a:lnTo>
                  <a:lnTo>
                    <a:pt x="219" y="369"/>
                  </a:lnTo>
                  <a:lnTo>
                    <a:pt x="225" y="369"/>
                  </a:lnTo>
                  <a:lnTo>
                    <a:pt x="225" y="369"/>
                  </a:lnTo>
                  <a:lnTo>
                    <a:pt x="227" y="369"/>
                  </a:lnTo>
                  <a:lnTo>
                    <a:pt x="229" y="369"/>
                  </a:lnTo>
                  <a:lnTo>
                    <a:pt x="229" y="369"/>
                  </a:lnTo>
                  <a:lnTo>
                    <a:pt x="231" y="369"/>
                  </a:lnTo>
                  <a:lnTo>
                    <a:pt x="233" y="369"/>
                  </a:lnTo>
                  <a:lnTo>
                    <a:pt x="233" y="371"/>
                  </a:lnTo>
                  <a:lnTo>
                    <a:pt x="237" y="371"/>
                  </a:lnTo>
                  <a:lnTo>
                    <a:pt x="239" y="371"/>
                  </a:lnTo>
                  <a:lnTo>
                    <a:pt x="241" y="371"/>
                  </a:lnTo>
                  <a:lnTo>
                    <a:pt x="241" y="371"/>
                  </a:lnTo>
                  <a:lnTo>
                    <a:pt x="245" y="369"/>
                  </a:lnTo>
                  <a:lnTo>
                    <a:pt x="245" y="369"/>
                  </a:lnTo>
                  <a:lnTo>
                    <a:pt x="252" y="369"/>
                  </a:lnTo>
                  <a:lnTo>
                    <a:pt x="256" y="369"/>
                  </a:lnTo>
                  <a:lnTo>
                    <a:pt x="256" y="367"/>
                  </a:lnTo>
                  <a:lnTo>
                    <a:pt x="256" y="367"/>
                  </a:lnTo>
                  <a:lnTo>
                    <a:pt x="258" y="367"/>
                  </a:lnTo>
                  <a:lnTo>
                    <a:pt x="260" y="367"/>
                  </a:lnTo>
                  <a:lnTo>
                    <a:pt x="270" y="371"/>
                  </a:lnTo>
                  <a:lnTo>
                    <a:pt x="272" y="371"/>
                  </a:lnTo>
                  <a:lnTo>
                    <a:pt x="274" y="371"/>
                  </a:lnTo>
                  <a:lnTo>
                    <a:pt x="274" y="371"/>
                  </a:lnTo>
                  <a:lnTo>
                    <a:pt x="278" y="371"/>
                  </a:lnTo>
                  <a:lnTo>
                    <a:pt x="278" y="371"/>
                  </a:lnTo>
                  <a:lnTo>
                    <a:pt x="280" y="371"/>
                  </a:lnTo>
                  <a:lnTo>
                    <a:pt x="284" y="371"/>
                  </a:lnTo>
                  <a:lnTo>
                    <a:pt x="284" y="371"/>
                  </a:lnTo>
                  <a:lnTo>
                    <a:pt x="286" y="371"/>
                  </a:lnTo>
                  <a:lnTo>
                    <a:pt x="288" y="371"/>
                  </a:lnTo>
                  <a:lnTo>
                    <a:pt x="290" y="371"/>
                  </a:lnTo>
                  <a:lnTo>
                    <a:pt x="293" y="371"/>
                  </a:lnTo>
                  <a:lnTo>
                    <a:pt x="295" y="371"/>
                  </a:lnTo>
                  <a:lnTo>
                    <a:pt x="297" y="369"/>
                  </a:lnTo>
                  <a:lnTo>
                    <a:pt x="299" y="367"/>
                  </a:lnTo>
                  <a:lnTo>
                    <a:pt x="303" y="367"/>
                  </a:lnTo>
                  <a:lnTo>
                    <a:pt x="315" y="365"/>
                  </a:lnTo>
                  <a:lnTo>
                    <a:pt x="336" y="365"/>
                  </a:lnTo>
                  <a:lnTo>
                    <a:pt x="340" y="363"/>
                  </a:lnTo>
                  <a:lnTo>
                    <a:pt x="342" y="361"/>
                  </a:lnTo>
                  <a:lnTo>
                    <a:pt x="344" y="361"/>
                  </a:lnTo>
                  <a:lnTo>
                    <a:pt x="346" y="361"/>
                  </a:lnTo>
                  <a:lnTo>
                    <a:pt x="352" y="363"/>
                  </a:lnTo>
                  <a:lnTo>
                    <a:pt x="356" y="363"/>
                  </a:lnTo>
                  <a:lnTo>
                    <a:pt x="362" y="363"/>
                  </a:lnTo>
                  <a:lnTo>
                    <a:pt x="381" y="365"/>
                  </a:lnTo>
                  <a:lnTo>
                    <a:pt x="385" y="365"/>
                  </a:lnTo>
                  <a:lnTo>
                    <a:pt x="389" y="361"/>
                  </a:lnTo>
                  <a:lnTo>
                    <a:pt x="391" y="361"/>
                  </a:lnTo>
                  <a:lnTo>
                    <a:pt x="393" y="363"/>
                  </a:lnTo>
                  <a:lnTo>
                    <a:pt x="403" y="365"/>
                  </a:lnTo>
                  <a:lnTo>
                    <a:pt x="413" y="365"/>
                  </a:lnTo>
                  <a:lnTo>
                    <a:pt x="424" y="367"/>
                  </a:lnTo>
                  <a:lnTo>
                    <a:pt x="434" y="369"/>
                  </a:lnTo>
                  <a:lnTo>
                    <a:pt x="442" y="371"/>
                  </a:lnTo>
                  <a:lnTo>
                    <a:pt x="463" y="373"/>
                  </a:lnTo>
                  <a:lnTo>
                    <a:pt x="473" y="375"/>
                  </a:lnTo>
                  <a:lnTo>
                    <a:pt x="483" y="377"/>
                  </a:lnTo>
                  <a:lnTo>
                    <a:pt x="493" y="379"/>
                  </a:lnTo>
                  <a:lnTo>
                    <a:pt x="503" y="381"/>
                  </a:lnTo>
                  <a:lnTo>
                    <a:pt x="512" y="381"/>
                  </a:lnTo>
                  <a:lnTo>
                    <a:pt x="522" y="383"/>
                  </a:lnTo>
                  <a:lnTo>
                    <a:pt x="532" y="385"/>
                  </a:lnTo>
                  <a:lnTo>
                    <a:pt x="542" y="387"/>
                  </a:lnTo>
                  <a:lnTo>
                    <a:pt x="553" y="387"/>
                  </a:lnTo>
                  <a:lnTo>
                    <a:pt x="553" y="383"/>
                  </a:lnTo>
                  <a:lnTo>
                    <a:pt x="549" y="377"/>
                  </a:lnTo>
                  <a:lnTo>
                    <a:pt x="549" y="377"/>
                  </a:lnTo>
                  <a:lnTo>
                    <a:pt x="551" y="375"/>
                  </a:lnTo>
                  <a:lnTo>
                    <a:pt x="553" y="373"/>
                  </a:lnTo>
                  <a:lnTo>
                    <a:pt x="553" y="371"/>
                  </a:lnTo>
                  <a:lnTo>
                    <a:pt x="553" y="369"/>
                  </a:lnTo>
                  <a:lnTo>
                    <a:pt x="553" y="367"/>
                  </a:lnTo>
                  <a:lnTo>
                    <a:pt x="553" y="361"/>
                  </a:lnTo>
                  <a:lnTo>
                    <a:pt x="551" y="359"/>
                  </a:lnTo>
                  <a:lnTo>
                    <a:pt x="549" y="355"/>
                  </a:lnTo>
                  <a:lnTo>
                    <a:pt x="546" y="348"/>
                  </a:lnTo>
                  <a:lnTo>
                    <a:pt x="546" y="348"/>
                  </a:lnTo>
                  <a:lnTo>
                    <a:pt x="546" y="346"/>
                  </a:lnTo>
                  <a:lnTo>
                    <a:pt x="549" y="342"/>
                  </a:lnTo>
                  <a:lnTo>
                    <a:pt x="549" y="340"/>
                  </a:lnTo>
                  <a:lnTo>
                    <a:pt x="551" y="324"/>
                  </a:lnTo>
                  <a:lnTo>
                    <a:pt x="555" y="307"/>
                  </a:lnTo>
                  <a:lnTo>
                    <a:pt x="557" y="291"/>
                  </a:lnTo>
                  <a:lnTo>
                    <a:pt x="559" y="275"/>
                  </a:lnTo>
                  <a:lnTo>
                    <a:pt x="561" y="258"/>
                  </a:lnTo>
                  <a:lnTo>
                    <a:pt x="563" y="242"/>
                  </a:lnTo>
                  <a:lnTo>
                    <a:pt x="565" y="225"/>
                  </a:lnTo>
                  <a:lnTo>
                    <a:pt x="569" y="209"/>
                  </a:lnTo>
                  <a:lnTo>
                    <a:pt x="571" y="195"/>
                  </a:lnTo>
                  <a:lnTo>
                    <a:pt x="573" y="178"/>
                  </a:lnTo>
                  <a:lnTo>
                    <a:pt x="575" y="162"/>
                  </a:lnTo>
                  <a:lnTo>
                    <a:pt x="577" y="146"/>
                  </a:lnTo>
                  <a:lnTo>
                    <a:pt x="581" y="129"/>
                  </a:lnTo>
                  <a:lnTo>
                    <a:pt x="583" y="113"/>
                  </a:lnTo>
                  <a:lnTo>
                    <a:pt x="585" y="98"/>
                  </a:lnTo>
                  <a:lnTo>
                    <a:pt x="587" y="82"/>
                  </a:lnTo>
                  <a:lnTo>
                    <a:pt x="579" y="80"/>
                  </a:lnTo>
                  <a:close/>
                  <a:moveTo>
                    <a:pt x="143" y="0"/>
                  </a:moveTo>
                  <a:lnTo>
                    <a:pt x="139" y="0"/>
                  </a:lnTo>
                  <a:lnTo>
                    <a:pt x="139" y="0"/>
                  </a:lnTo>
                  <a:lnTo>
                    <a:pt x="139" y="2"/>
                  </a:lnTo>
                  <a:lnTo>
                    <a:pt x="143" y="0"/>
                  </a:lnTo>
                  <a:lnTo>
                    <a:pt x="143" y="0"/>
                  </a:lnTo>
                  <a:close/>
                  <a:moveTo>
                    <a:pt x="125" y="31"/>
                  </a:moveTo>
                  <a:lnTo>
                    <a:pt x="127" y="31"/>
                  </a:lnTo>
                  <a:lnTo>
                    <a:pt x="125" y="31"/>
                  </a:lnTo>
                  <a:lnTo>
                    <a:pt x="125" y="31"/>
                  </a:lnTo>
                  <a:lnTo>
                    <a:pt x="125" y="29"/>
                  </a:lnTo>
                  <a:lnTo>
                    <a:pt x="125" y="31"/>
                  </a:lnTo>
                  <a:lnTo>
                    <a:pt x="127" y="31"/>
                  </a:lnTo>
                  <a:lnTo>
                    <a:pt x="127" y="31"/>
                  </a:lnTo>
                  <a:lnTo>
                    <a:pt x="127" y="31"/>
                  </a:lnTo>
                  <a:lnTo>
                    <a:pt x="127" y="29"/>
                  </a:lnTo>
                  <a:lnTo>
                    <a:pt x="127" y="29"/>
                  </a:lnTo>
                  <a:lnTo>
                    <a:pt x="127" y="29"/>
                  </a:lnTo>
                  <a:lnTo>
                    <a:pt x="127" y="29"/>
                  </a:lnTo>
                  <a:lnTo>
                    <a:pt x="125" y="29"/>
                  </a:lnTo>
                  <a:lnTo>
                    <a:pt x="125" y="29"/>
                  </a:lnTo>
                  <a:lnTo>
                    <a:pt x="125" y="29"/>
                  </a:lnTo>
                  <a:lnTo>
                    <a:pt x="125" y="29"/>
                  </a:lnTo>
                  <a:lnTo>
                    <a:pt x="123" y="27"/>
                  </a:lnTo>
                  <a:lnTo>
                    <a:pt x="123" y="27"/>
                  </a:lnTo>
                  <a:lnTo>
                    <a:pt x="123" y="29"/>
                  </a:lnTo>
                  <a:lnTo>
                    <a:pt x="125" y="31"/>
                  </a:lnTo>
                  <a:close/>
                  <a:moveTo>
                    <a:pt x="163" y="53"/>
                  </a:moveTo>
                  <a:lnTo>
                    <a:pt x="163" y="53"/>
                  </a:lnTo>
                  <a:lnTo>
                    <a:pt x="166" y="53"/>
                  </a:lnTo>
                  <a:lnTo>
                    <a:pt x="168" y="53"/>
                  </a:lnTo>
                  <a:lnTo>
                    <a:pt x="168" y="53"/>
                  </a:lnTo>
                  <a:lnTo>
                    <a:pt x="168" y="53"/>
                  </a:lnTo>
                  <a:lnTo>
                    <a:pt x="168" y="53"/>
                  </a:lnTo>
                  <a:lnTo>
                    <a:pt x="168" y="51"/>
                  </a:lnTo>
                  <a:lnTo>
                    <a:pt x="166" y="49"/>
                  </a:lnTo>
                  <a:lnTo>
                    <a:pt x="163" y="47"/>
                  </a:lnTo>
                  <a:lnTo>
                    <a:pt x="163" y="47"/>
                  </a:lnTo>
                  <a:lnTo>
                    <a:pt x="163" y="47"/>
                  </a:lnTo>
                  <a:lnTo>
                    <a:pt x="163" y="49"/>
                  </a:lnTo>
                  <a:lnTo>
                    <a:pt x="163" y="49"/>
                  </a:lnTo>
                  <a:lnTo>
                    <a:pt x="161" y="51"/>
                  </a:lnTo>
                  <a:lnTo>
                    <a:pt x="163" y="53"/>
                  </a:lnTo>
                  <a:close/>
                </a:path>
              </a:pathLst>
            </a:custGeom>
            <a:solidFill>
              <a:schemeClr val="bg1">
                <a:lumMod val="75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WA</a:t>
              </a:r>
            </a:p>
          </p:txBody>
        </p:sp>
        <p:sp>
          <p:nvSpPr>
            <p:cNvPr id="69" name="Freeform 9">
              <a:extLst>
                <a:ext uri="{FF2B5EF4-FFF2-40B4-BE49-F238E27FC236}">
                  <a16:creationId xmlns:a16="http://schemas.microsoft.com/office/drawing/2014/main" id="{902D4D4A-4190-05F0-5079-0161B82B1F44}"/>
                </a:ext>
              </a:extLst>
            </p:cNvPr>
            <p:cNvSpPr>
              <a:spLocks/>
            </p:cNvSpPr>
            <p:nvPr/>
          </p:nvSpPr>
          <p:spPr bwMode="auto">
            <a:xfrm>
              <a:off x="4810" y="303"/>
              <a:ext cx="150" cy="265"/>
            </a:xfrm>
            <a:custGeom>
              <a:avLst/>
              <a:gdLst>
                <a:gd name="T0" fmla="*/ 2 w 150"/>
                <a:gd name="T1" fmla="*/ 37 h 265"/>
                <a:gd name="T2" fmla="*/ 2 w 150"/>
                <a:gd name="T3" fmla="*/ 41 h 265"/>
                <a:gd name="T4" fmla="*/ 0 w 150"/>
                <a:gd name="T5" fmla="*/ 45 h 265"/>
                <a:gd name="T6" fmla="*/ 2 w 150"/>
                <a:gd name="T7" fmla="*/ 56 h 265"/>
                <a:gd name="T8" fmla="*/ 4 w 150"/>
                <a:gd name="T9" fmla="*/ 62 h 265"/>
                <a:gd name="T10" fmla="*/ 2 w 150"/>
                <a:gd name="T11" fmla="*/ 64 h 265"/>
                <a:gd name="T12" fmla="*/ 7 w 150"/>
                <a:gd name="T13" fmla="*/ 68 h 265"/>
                <a:gd name="T14" fmla="*/ 2 w 150"/>
                <a:gd name="T15" fmla="*/ 68 h 265"/>
                <a:gd name="T16" fmla="*/ 2 w 150"/>
                <a:gd name="T17" fmla="*/ 76 h 265"/>
                <a:gd name="T18" fmla="*/ 4 w 150"/>
                <a:gd name="T19" fmla="*/ 78 h 265"/>
                <a:gd name="T20" fmla="*/ 9 w 150"/>
                <a:gd name="T21" fmla="*/ 84 h 265"/>
                <a:gd name="T22" fmla="*/ 13 w 150"/>
                <a:gd name="T23" fmla="*/ 93 h 265"/>
                <a:gd name="T24" fmla="*/ 13 w 150"/>
                <a:gd name="T25" fmla="*/ 101 h 265"/>
                <a:gd name="T26" fmla="*/ 15 w 150"/>
                <a:gd name="T27" fmla="*/ 95 h 265"/>
                <a:gd name="T28" fmla="*/ 19 w 150"/>
                <a:gd name="T29" fmla="*/ 105 h 265"/>
                <a:gd name="T30" fmla="*/ 17 w 150"/>
                <a:gd name="T31" fmla="*/ 119 h 265"/>
                <a:gd name="T32" fmla="*/ 19 w 150"/>
                <a:gd name="T33" fmla="*/ 138 h 265"/>
                <a:gd name="T34" fmla="*/ 21 w 150"/>
                <a:gd name="T35" fmla="*/ 140 h 265"/>
                <a:gd name="T36" fmla="*/ 25 w 150"/>
                <a:gd name="T37" fmla="*/ 152 h 265"/>
                <a:gd name="T38" fmla="*/ 27 w 150"/>
                <a:gd name="T39" fmla="*/ 158 h 265"/>
                <a:gd name="T40" fmla="*/ 31 w 150"/>
                <a:gd name="T41" fmla="*/ 164 h 265"/>
                <a:gd name="T42" fmla="*/ 31 w 150"/>
                <a:gd name="T43" fmla="*/ 179 h 265"/>
                <a:gd name="T44" fmla="*/ 33 w 150"/>
                <a:gd name="T45" fmla="*/ 185 h 265"/>
                <a:gd name="T46" fmla="*/ 35 w 150"/>
                <a:gd name="T47" fmla="*/ 183 h 265"/>
                <a:gd name="T48" fmla="*/ 35 w 150"/>
                <a:gd name="T49" fmla="*/ 179 h 265"/>
                <a:gd name="T50" fmla="*/ 37 w 150"/>
                <a:gd name="T51" fmla="*/ 177 h 265"/>
                <a:gd name="T52" fmla="*/ 43 w 150"/>
                <a:gd name="T53" fmla="*/ 181 h 265"/>
                <a:gd name="T54" fmla="*/ 47 w 150"/>
                <a:gd name="T55" fmla="*/ 185 h 265"/>
                <a:gd name="T56" fmla="*/ 50 w 150"/>
                <a:gd name="T57" fmla="*/ 201 h 265"/>
                <a:gd name="T58" fmla="*/ 58 w 150"/>
                <a:gd name="T59" fmla="*/ 238 h 265"/>
                <a:gd name="T60" fmla="*/ 62 w 150"/>
                <a:gd name="T61" fmla="*/ 252 h 265"/>
                <a:gd name="T62" fmla="*/ 66 w 150"/>
                <a:gd name="T63" fmla="*/ 265 h 265"/>
                <a:gd name="T64" fmla="*/ 93 w 150"/>
                <a:gd name="T65" fmla="*/ 259 h 265"/>
                <a:gd name="T66" fmla="*/ 113 w 150"/>
                <a:gd name="T67" fmla="*/ 257 h 265"/>
                <a:gd name="T68" fmla="*/ 129 w 150"/>
                <a:gd name="T69" fmla="*/ 252 h 265"/>
                <a:gd name="T70" fmla="*/ 119 w 150"/>
                <a:gd name="T71" fmla="*/ 242 h 265"/>
                <a:gd name="T72" fmla="*/ 117 w 150"/>
                <a:gd name="T73" fmla="*/ 236 h 265"/>
                <a:gd name="T74" fmla="*/ 121 w 150"/>
                <a:gd name="T75" fmla="*/ 226 h 265"/>
                <a:gd name="T76" fmla="*/ 119 w 150"/>
                <a:gd name="T77" fmla="*/ 207 h 265"/>
                <a:gd name="T78" fmla="*/ 117 w 150"/>
                <a:gd name="T79" fmla="*/ 201 h 265"/>
                <a:gd name="T80" fmla="*/ 117 w 150"/>
                <a:gd name="T81" fmla="*/ 197 h 265"/>
                <a:gd name="T82" fmla="*/ 117 w 150"/>
                <a:gd name="T83" fmla="*/ 191 h 265"/>
                <a:gd name="T84" fmla="*/ 115 w 150"/>
                <a:gd name="T85" fmla="*/ 160 h 265"/>
                <a:gd name="T86" fmla="*/ 115 w 150"/>
                <a:gd name="T87" fmla="*/ 148 h 265"/>
                <a:gd name="T88" fmla="*/ 121 w 150"/>
                <a:gd name="T89" fmla="*/ 136 h 265"/>
                <a:gd name="T90" fmla="*/ 125 w 150"/>
                <a:gd name="T91" fmla="*/ 117 h 265"/>
                <a:gd name="T92" fmla="*/ 123 w 150"/>
                <a:gd name="T93" fmla="*/ 113 h 265"/>
                <a:gd name="T94" fmla="*/ 121 w 150"/>
                <a:gd name="T95" fmla="*/ 84 h 265"/>
                <a:gd name="T96" fmla="*/ 133 w 150"/>
                <a:gd name="T97" fmla="*/ 74 h 265"/>
                <a:gd name="T98" fmla="*/ 144 w 150"/>
                <a:gd name="T99" fmla="*/ 62 h 265"/>
                <a:gd name="T100" fmla="*/ 148 w 150"/>
                <a:gd name="T101" fmla="*/ 52 h 265"/>
                <a:gd name="T102" fmla="*/ 150 w 150"/>
                <a:gd name="T103" fmla="*/ 45 h 265"/>
                <a:gd name="T104" fmla="*/ 144 w 150"/>
                <a:gd name="T105" fmla="*/ 35 h 265"/>
                <a:gd name="T106" fmla="*/ 140 w 150"/>
                <a:gd name="T107" fmla="*/ 27 h 265"/>
                <a:gd name="T108" fmla="*/ 144 w 150"/>
                <a:gd name="T109" fmla="*/ 9 h 265"/>
                <a:gd name="T110" fmla="*/ 144 w 150"/>
                <a:gd name="T111" fmla="*/ 0 h 265"/>
                <a:gd name="T112" fmla="*/ 105 w 150"/>
                <a:gd name="T113" fmla="*/ 11 h 265"/>
                <a:gd name="T114" fmla="*/ 66 w 150"/>
                <a:gd name="T115" fmla="*/ 21 h 265"/>
                <a:gd name="T116" fmla="*/ 21 w 150"/>
                <a:gd name="T117" fmla="*/ 31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265">
                  <a:moveTo>
                    <a:pt x="17" y="33"/>
                  </a:moveTo>
                  <a:lnTo>
                    <a:pt x="13" y="33"/>
                  </a:lnTo>
                  <a:lnTo>
                    <a:pt x="13" y="35"/>
                  </a:lnTo>
                  <a:lnTo>
                    <a:pt x="7" y="35"/>
                  </a:lnTo>
                  <a:lnTo>
                    <a:pt x="2" y="37"/>
                  </a:lnTo>
                  <a:lnTo>
                    <a:pt x="2" y="37"/>
                  </a:lnTo>
                  <a:lnTo>
                    <a:pt x="0" y="37"/>
                  </a:lnTo>
                  <a:lnTo>
                    <a:pt x="2" y="39"/>
                  </a:lnTo>
                  <a:lnTo>
                    <a:pt x="2" y="41"/>
                  </a:lnTo>
                  <a:lnTo>
                    <a:pt x="2" y="41"/>
                  </a:lnTo>
                  <a:lnTo>
                    <a:pt x="2" y="43"/>
                  </a:lnTo>
                  <a:lnTo>
                    <a:pt x="2" y="43"/>
                  </a:lnTo>
                  <a:lnTo>
                    <a:pt x="0" y="43"/>
                  </a:lnTo>
                  <a:lnTo>
                    <a:pt x="0" y="43"/>
                  </a:lnTo>
                  <a:lnTo>
                    <a:pt x="0" y="45"/>
                  </a:lnTo>
                  <a:lnTo>
                    <a:pt x="2" y="48"/>
                  </a:lnTo>
                  <a:lnTo>
                    <a:pt x="2" y="52"/>
                  </a:lnTo>
                  <a:lnTo>
                    <a:pt x="2" y="54"/>
                  </a:lnTo>
                  <a:lnTo>
                    <a:pt x="2" y="56"/>
                  </a:lnTo>
                  <a:lnTo>
                    <a:pt x="2" y="56"/>
                  </a:lnTo>
                  <a:lnTo>
                    <a:pt x="4" y="58"/>
                  </a:lnTo>
                  <a:lnTo>
                    <a:pt x="4" y="58"/>
                  </a:lnTo>
                  <a:lnTo>
                    <a:pt x="4" y="60"/>
                  </a:lnTo>
                  <a:lnTo>
                    <a:pt x="4" y="62"/>
                  </a:lnTo>
                  <a:lnTo>
                    <a:pt x="4" y="62"/>
                  </a:lnTo>
                  <a:lnTo>
                    <a:pt x="4" y="62"/>
                  </a:lnTo>
                  <a:lnTo>
                    <a:pt x="2" y="62"/>
                  </a:lnTo>
                  <a:lnTo>
                    <a:pt x="2" y="64"/>
                  </a:lnTo>
                  <a:lnTo>
                    <a:pt x="2" y="64"/>
                  </a:lnTo>
                  <a:lnTo>
                    <a:pt x="2" y="64"/>
                  </a:lnTo>
                  <a:lnTo>
                    <a:pt x="4" y="66"/>
                  </a:lnTo>
                  <a:lnTo>
                    <a:pt x="4" y="66"/>
                  </a:lnTo>
                  <a:lnTo>
                    <a:pt x="7" y="66"/>
                  </a:lnTo>
                  <a:lnTo>
                    <a:pt x="7" y="68"/>
                  </a:lnTo>
                  <a:lnTo>
                    <a:pt x="7" y="68"/>
                  </a:lnTo>
                  <a:lnTo>
                    <a:pt x="7" y="70"/>
                  </a:lnTo>
                  <a:lnTo>
                    <a:pt x="7" y="70"/>
                  </a:lnTo>
                  <a:lnTo>
                    <a:pt x="4" y="68"/>
                  </a:lnTo>
                  <a:lnTo>
                    <a:pt x="4" y="68"/>
                  </a:lnTo>
                  <a:lnTo>
                    <a:pt x="2" y="68"/>
                  </a:lnTo>
                  <a:lnTo>
                    <a:pt x="2" y="68"/>
                  </a:lnTo>
                  <a:lnTo>
                    <a:pt x="2" y="70"/>
                  </a:lnTo>
                  <a:lnTo>
                    <a:pt x="4" y="72"/>
                  </a:lnTo>
                  <a:lnTo>
                    <a:pt x="4" y="74"/>
                  </a:lnTo>
                  <a:lnTo>
                    <a:pt x="2" y="76"/>
                  </a:lnTo>
                  <a:lnTo>
                    <a:pt x="4" y="76"/>
                  </a:lnTo>
                  <a:lnTo>
                    <a:pt x="4" y="78"/>
                  </a:lnTo>
                  <a:lnTo>
                    <a:pt x="4" y="78"/>
                  </a:lnTo>
                  <a:lnTo>
                    <a:pt x="4" y="78"/>
                  </a:lnTo>
                  <a:lnTo>
                    <a:pt x="4" y="78"/>
                  </a:lnTo>
                  <a:lnTo>
                    <a:pt x="4" y="80"/>
                  </a:lnTo>
                  <a:lnTo>
                    <a:pt x="7" y="82"/>
                  </a:lnTo>
                  <a:lnTo>
                    <a:pt x="7" y="84"/>
                  </a:lnTo>
                  <a:lnTo>
                    <a:pt x="9" y="84"/>
                  </a:lnTo>
                  <a:lnTo>
                    <a:pt x="9" y="84"/>
                  </a:lnTo>
                  <a:lnTo>
                    <a:pt x="11" y="86"/>
                  </a:lnTo>
                  <a:lnTo>
                    <a:pt x="11" y="88"/>
                  </a:lnTo>
                  <a:lnTo>
                    <a:pt x="9" y="91"/>
                  </a:lnTo>
                  <a:lnTo>
                    <a:pt x="11" y="93"/>
                  </a:lnTo>
                  <a:lnTo>
                    <a:pt x="13" y="93"/>
                  </a:lnTo>
                  <a:lnTo>
                    <a:pt x="13" y="95"/>
                  </a:lnTo>
                  <a:lnTo>
                    <a:pt x="11" y="97"/>
                  </a:lnTo>
                  <a:lnTo>
                    <a:pt x="11" y="97"/>
                  </a:lnTo>
                  <a:lnTo>
                    <a:pt x="13" y="99"/>
                  </a:lnTo>
                  <a:lnTo>
                    <a:pt x="13" y="101"/>
                  </a:lnTo>
                  <a:lnTo>
                    <a:pt x="13" y="99"/>
                  </a:lnTo>
                  <a:lnTo>
                    <a:pt x="13" y="97"/>
                  </a:lnTo>
                  <a:lnTo>
                    <a:pt x="13" y="95"/>
                  </a:lnTo>
                  <a:lnTo>
                    <a:pt x="13" y="95"/>
                  </a:lnTo>
                  <a:lnTo>
                    <a:pt x="15" y="95"/>
                  </a:lnTo>
                  <a:lnTo>
                    <a:pt x="15" y="101"/>
                  </a:lnTo>
                  <a:lnTo>
                    <a:pt x="15" y="101"/>
                  </a:lnTo>
                  <a:lnTo>
                    <a:pt x="17" y="101"/>
                  </a:lnTo>
                  <a:lnTo>
                    <a:pt x="17" y="103"/>
                  </a:lnTo>
                  <a:lnTo>
                    <a:pt x="19" y="105"/>
                  </a:lnTo>
                  <a:lnTo>
                    <a:pt x="19" y="109"/>
                  </a:lnTo>
                  <a:lnTo>
                    <a:pt x="19" y="109"/>
                  </a:lnTo>
                  <a:lnTo>
                    <a:pt x="21" y="111"/>
                  </a:lnTo>
                  <a:lnTo>
                    <a:pt x="21" y="113"/>
                  </a:lnTo>
                  <a:lnTo>
                    <a:pt x="17" y="119"/>
                  </a:lnTo>
                  <a:lnTo>
                    <a:pt x="15" y="121"/>
                  </a:lnTo>
                  <a:lnTo>
                    <a:pt x="17" y="123"/>
                  </a:lnTo>
                  <a:lnTo>
                    <a:pt x="17" y="136"/>
                  </a:lnTo>
                  <a:lnTo>
                    <a:pt x="19" y="140"/>
                  </a:lnTo>
                  <a:lnTo>
                    <a:pt x="19" y="138"/>
                  </a:lnTo>
                  <a:lnTo>
                    <a:pt x="19" y="138"/>
                  </a:lnTo>
                  <a:lnTo>
                    <a:pt x="21" y="138"/>
                  </a:lnTo>
                  <a:lnTo>
                    <a:pt x="21" y="138"/>
                  </a:lnTo>
                  <a:lnTo>
                    <a:pt x="21" y="138"/>
                  </a:lnTo>
                  <a:lnTo>
                    <a:pt x="21" y="140"/>
                  </a:lnTo>
                  <a:lnTo>
                    <a:pt x="21" y="142"/>
                  </a:lnTo>
                  <a:lnTo>
                    <a:pt x="23" y="146"/>
                  </a:lnTo>
                  <a:lnTo>
                    <a:pt x="23" y="148"/>
                  </a:lnTo>
                  <a:lnTo>
                    <a:pt x="25" y="150"/>
                  </a:lnTo>
                  <a:lnTo>
                    <a:pt x="25" y="152"/>
                  </a:lnTo>
                  <a:lnTo>
                    <a:pt x="27" y="152"/>
                  </a:lnTo>
                  <a:lnTo>
                    <a:pt x="27" y="154"/>
                  </a:lnTo>
                  <a:lnTo>
                    <a:pt x="27" y="154"/>
                  </a:lnTo>
                  <a:lnTo>
                    <a:pt x="27" y="156"/>
                  </a:lnTo>
                  <a:lnTo>
                    <a:pt x="27" y="158"/>
                  </a:lnTo>
                  <a:lnTo>
                    <a:pt x="27" y="158"/>
                  </a:lnTo>
                  <a:lnTo>
                    <a:pt x="29" y="160"/>
                  </a:lnTo>
                  <a:lnTo>
                    <a:pt x="31" y="160"/>
                  </a:lnTo>
                  <a:lnTo>
                    <a:pt x="31" y="162"/>
                  </a:lnTo>
                  <a:lnTo>
                    <a:pt x="31" y="164"/>
                  </a:lnTo>
                  <a:lnTo>
                    <a:pt x="31" y="164"/>
                  </a:lnTo>
                  <a:lnTo>
                    <a:pt x="31" y="166"/>
                  </a:lnTo>
                  <a:lnTo>
                    <a:pt x="31" y="177"/>
                  </a:lnTo>
                  <a:lnTo>
                    <a:pt x="31" y="177"/>
                  </a:lnTo>
                  <a:lnTo>
                    <a:pt x="31" y="179"/>
                  </a:lnTo>
                  <a:lnTo>
                    <a:pt x="31" y="181"/>
                  </a:lnTo>
                  <a:lnTo>
                    <a:pt x="31" y="183"/>
                  </a:lnTo>
                  <a:lnTo>
                    <a:pt x="31" y="183"/>
                  </a:lnTo>
                  <a:lnTo>
                    <a:pt x="33" y="185"/>
                  </a:lnTo>
                  <a:lnTo>
                    <a:pt x="33" y="185"/>
                  </a:lnTo>
                  <a:lnTo>
                    <a:pt x="33" y="185"/>
                  </a:lnTo>
                  <a:lnTo>
                    <a:pt x="33" y="185"/>
                  </a:lnTo>
                  <a:lnTo>
                    <a:pt x="35" y="183"/>
                  </a:lnTo>
                  <a:lnTo>
                    <a:pt x="35" y="183"/>
                  </a:lnTo>
                  <a:lnTo>
                    <a:pt x="35" y="183"/>
                  </a:lnTo>
                  <a:lnTo>
                    <a:pt x="35" y="183"/>
                  </a:lnTo>
                  <a:lnTo>
                    <a:pt x="35" y="181"/>
                  </a:lnTo>
                  <a:lnTo>
                    <a:pt x="35" y="179"/>
                  </a:lnTo>
                  <a:lnTo>
                    <a:pt x="35" y="179"/>
                  </a:lnTo>
                  <a:lnTo>
                    <a:pt x="35" y="179"/>
                  </a:lnTo>
                  <a:lnTo>
                    <a:pt x="35" y="179"/>
                  </a:lnTo>
                  <a:lnTo>
                    <a:pt x="37" y="177"/>
                  </a:lnTo>
                  <a:lnTo>
                    <a:pt x="37" y="177"/>
                  </a:lnTo>
                  <a:lnTo>
                    <a:pt x="37" y="177"/>
                  </a:lnTo>
                  <a:lnTo>
                    <a:pt x="37" y="177"/>
                  </a:lnTo>
                  <a:lnTo>
                    <a:pt x="39" y="177"/>
                  </a:lnTo>
                  <a:lnTo>
                    <a:pt x="39" y="177"/>
                  </a:lnTo>
                  <a:lnTo>
                    <a:pt x="41" y="177"/>
                  </a:lnTo>
                  <a:lnTo>
                    <a:pt x="41" y="179"/>
                  </a:lnTo>
                  <a:lnTo>
                    <a:pt x="43" y="181"/>
                  </a:lnTo>
                  <a:lnTo>
                    <a:pt x="43" y="183"/>
                  </a:lnTo>
                  <a:lnTo>
                    <a:pt x="45" y="183"/>
                  </a:lnTo>
                  <a:lnTo>
                    <a:pt x="45" y="183"/>
                  </a:lnTo>
                  <a:lnTo>
                    <a:pt x="45" y="183"/>
                  </a:lnTo>
                  <a:lnTo>
                    <a:pt x="47" y="185"/>
                  </a:lnTo>
                  <a:lnTo>
                    <a:pt x="47" y="187"/>
                  </a:lnTo>
                  <a:lnTo>
                    <a:pt x="47" y="189"/>
                  </a:lnTo>
                  <a:lnTo>
                    <a:pt x="47" y="191"/>
                  </a:lnTo>
                  <a:lnTo>
                    <a:pt x="50" y="195"/>
                  </a:lnTo>
                  <a:lnTo>
                    <a:pt x="50" y="201"/>
                  </a:lnTo>
                  <a:lnTo>
                    <a:pt x="52" y="207"/>
                  </a:lnTo>
                  <a:lnTo>
                    <a:pt x="54" y="214"/>
                  </a:lnTo>
                  <a:lnTo>
                    <a:pt x="56" y="226"/>
                  </a:lnTo>
                  <a:lnTo>
                    <a:pt x="58" y="232"/>
                  </a:lnTo>
                  <a:lnTo>
                    <a:pt x="58" y="238"/>
                  </a:lnTo>
                  <a:lnTo>
                    <a:pt x="60" y="242"/>
                  </a:lnTo>
                  <a:lnTo>
                    <a:pt x="60" y="246"/>
                  </a:lnTo>
                  <a:lnTo>
                    <a:pt x="62" y="250"/>
                  </a:lnTo>
                  <a:lnTo>
                    <a:pt x="62" y="252"/>
                  </a:lnTo>
                  <a:lnTo>
                    <a:pt x="62" y="252"/>
                  </a:lnTo>
                  <a:lnTo>
                    <a:pt x="62" y="254"/>
                  </a:lnTo>
                  <a:lnTo>
                    <a:pt x="62" y="257"/>
                  </a:lnTo>
                  <a:lnTo>
                    <a:pt x="62" y="261"/>
                  </a:lnTo>
                  <a:lnTo>
                    <a:pt x="64" y="263"/>
                  </a:lnTo>
                  <a:lnTo>
                    <a:pt x="66" y="265"/>
                  </a:lnTo>
                  <a:lnTo>
                    <a:pt x="78" y="263"/>
                  </a:lnTo>
                  <a:lnTo>
                    <a:pt x="82" y="263"/>
                  </a:lnTo>
                  <a:lnTo>
                    <a:pt x="86" y="261"/>
                  </a:lnTo>
                  <a:lnTo>
                    <a:pt x="88" y="261"/>
                  </a:lnTo>
                  <a:lnTo>
                    <a:pt x="93" y="259"/>
                  </a:lnTo>
                  <a:lnTo>
                    <a:pt x="97" y="259"/>
                  </a:lnTo>
                  <a:lnTo>
                    <a:pt x="101" y="259"/>
                  </a:lnTo>
                  <a:lnTo>
                    <a:pt x="105" y="257"/>
                  </a:lnTo>
                  <a:lnTo>
                    <a:pt x="109" y="257"/>
                  </a:lnTo>
                  <a:lnTo>
                    <a:pt x="113" y="257"/>
                  </a:lnTo>
                  <a:lnTo>
                    <a:pt x="117" y="254"/>
                  </a:lnTo>
                  <a:lnTo>
                    <a:pt x="121" y="254"/>
                  </a:lnTo>
                  <a:lnTo>
                    <a:pt x="125" y="252"/>
                  </a:lnTo>
                  <a:lnTo>
                    <a:pt x="129" y="252"/>
                  </a:lnTo>
                  <a:lnTo>
                    <a:pt x="129" y="252"/>
                  </a:lnTo>
                  <a:lnTo>
                    <a:pt x="127" y="248"/>
                  </a:lnTo>
                  <a:lnTo>
                    <a:pt x="125" y="248"/>
                  </a:lnTo>
                  <a:lnTo>
                    <a:pt x="121" y="244"/>
                  </a:lnTo>
                  <a:lnTo>
                    <a:pt x="119" y="244"/>
                  </a:lnTo>
                  <a:lnTo>
                    <a:pt x="119" y="242"/>
                  </a:lnTo>
                  <a:lnTo>
                    <a:pt x="119" y="242"/>
                  </a:lnTo>
                  <a:lnTo>
                    <a:pt x="117" y="240"/>
                  </a:lnTo>
                  <a:lnTo>
                    <a:pt x="117" y="238"/>
                  </a:lnTo>
                  <a:lnTo>
                    <a:pt x="117" y="238"/>
                  </a:lnTo>
                  <a:lnTo>
                    <a:pt x="117" y="236"/>
                  </a:lnTo>
                  <a:lnTo>
                    <a:pt x="119" y="234"/>
                  </a:lnTo>
                  <a:lnTo>
                    <a:pt x="117" y="230"/>
                  </a:lnTo>
                  <a:lnTo>
                    <a:pt x="117" y="228"/>
                  </a:lnTo>
                  <a:lnTo>
                    <a:pt x="119" y="228"/>
                  </a:lnTo>
                  <a:lnTo>
                    <a:pt x="121" y="226"/>
                  </a:lnTo>
                  <a:lnTo>
                    <a:pt x="121" y="224"/>
                  </a:lnTo>
                  <a:lnTo>
                    <a:pt x="119" y="220"/>
                  </a:lnTo>
                  <a:lnTo>
                    <a:pt x="119" y="214"/>
                  </a:lnTo>
                  <a:lnTo>
                    <a:pt x="119" y="211"/>
                  </a:lnTo>
                  <a:lnTo>
                    <a:pt x="119" y="207"/>
                  </a:lnTo>
                  <a:lnTo>
                    <a:pt x="117" y="207"/>
                  </a:lnTo>
                  <a:lnTo>
                    <a:pt x="117" y="203"/>
                  </a:lnTo>
                  <a:lnTo>
                    <a:pt x="117" y="201"/>
                  </a:lnTo>
                  <a:lnTo>
                    <a:pt x="117" y="201"/>
                  </a:lnTo>
                  <a:lnTo>
                    <a:pt x="117" y="201"/>
                  </a:lnTo>
                  <a:lnTo>
                    <a:pt x="117" y="199"/>
                  </a:lnTo>
                  <a:lnTo>
                    <a:pt x="117" y="199"/>
                  </a:lnTo>
                  <a:lnTo>
                    <a:pt x="117" y="199"/>
                  </a:lnTo>
                  <a:lnTo>
                    <a:pt x="117" y="199"/>
                  </a:lnTo>
                  <a:lnTo>
                    <a:pt x="117" y="197"/>
                  </a:lnTo>
                  <a:lnTo>
                    <a:pt x="117" y="197"/>
                  </a:lnTo>
                  <a:lnTo>
                    <a:pt x="117" y="195"/>
                  </a:lnTo>
                  <a:lnTo>
                    <a:pt x="117" y="195"/>
                  </a:lnTo>
                  <a:lnTo>
                    <a:pt x="119" y="193"/>
                  </a:lnTo>
                  <a:lnTo>
                    <a:pt x="117" y="191"/>
                  </a:lnTo>
                  <a:lnTo>
                    <a:pt x="117" y="187"/>
                  </a:lnTo>
                  <a:lnTo>
                    <a:pt x="113" y="168"/>
                  </a:lnTo>
                  <a:lnTo>
                    <a:pt x="113" y="166"/>
                  </a:lnTo>
                  <a:lnTo>
                    <a:pt x="113" y="164"/>
                  </a:lnTo>
                  <a:lnTo>
                    <a:pt x="115" y="160"/>
                  </a:lnTo>
                  <a:lnTo>
                    <a:pt x="115" y="158"/>
                  </a:lnTo>
                  <a:lnTo>
                    <a:pt x="115" y="156"/>
                  </a:lnTo>
                  <a:lnTo>
                    <a:pt x="115" y="152"/>
                  </a:lnTo>
                  <a:lnTo>
                    <a:pt x="115" y="148"/>
                  </a:lnTo>
                  <a:lnTo>
                    <a:pt x="115" y="148"/>
                  </a:lnTo>
                  <a:lnTo>
                    <a:pt x="117" y="146"/>
                  </a:lnTo>
                  <a:lnTo>
                    <a:pt x="117" y="144"/>
                  </a:lnTo>
                  <a:lnTo>
                    <a:pt x="121" y="140"/>
                  </a:lnTo>
                  <a:lnTo>
                    <a:pt x="121" y="138"/>
                  </a:lnTo>
                  <a:lnTo>
                    <a:pt x="121" y="136"/>
                  </a:lnTo>
                  <a:lnTo>
                    <a:pt x="121" y="134"/>
                  </a:lnTo>
                  <a:lnTo>
                    <a:pt x="121" y="132"/>
                  </a:lnTo>
                  <a:lnTo>
                    <a:pt x="121" y="127"/>
                  </a:lnTo>
                  <a:lnTo>
                    <a:pt x="121" y="125"/>
                  </a:lnTo>
                  <a:lnTo>
                    <a:pt x="125" y="117"/>
                  </a:lnTo>
                  <a:lnTo>
                    <a:pt x="125" y="117"/>
                  </a:lnTo>
                  <a:lnTo>
                    <a:pt x="123" y="117"/>
                  </a:lnTo>
                  <a:lnTo>
                    <a:pt x="123" y="115"/>
                  </a:lnTo>
                  <a:lnTo>
                    <a:pt x="123" y="115"/>
                  </a:lnTo>
                  <a:lnTo>
                    <a:pt x="123" y="113"/>
                  </a:lnTo>
                  <a:lnTo>
                    <a:pt x="125" y="107"/>
                  </a:lnTo>
                  <a:lnTo>
                    <a:pt x="125" y="103"/>
                  </a:lnTo>
                  <a:lnTo>
                    <a:pt x="123" y="99"/>
                  </a:lnTo>
                  <a:lnTo>
                    <a:pt x="121" y="91"/>
                  </a:lnTo>
                  <a:lnTo>
                    <a:pt x="121" y="84"/>
                  </a:lnTo>
                  <a:lnTo>
                    <a:pt x="121" y="80"/>
                  </a:lnTo>
                  <a:lnTo>
                    <a:pt x="123" y="78"/>
                  </a:lnTo>
                  <a:lnTo>
                    <a:pt x="127" y="76"/>
                  </a:lnTo>
                  <a:lnTo>
                    <a:pt x="131" y="76"/>
                  </a:lnTo>
                  <a:lnTo>
                    <a:pt x="133" y="74"/>
                  </a:lnTo>
                  <a:lnTo>
                    <a:pt x="136" y="74"/>
                  </a:lnTo>
                  <a:lnTo>
                    <a:pt x="136" y="70"/>
                  </a:lnTo>
                  <a:lnTo>
                    <a:pt x="138" y="68"/>
                  </a:lnTo>
                  <a:lnTo>
                    <a:pt x="144" y="62"/>
                  </a:lnTo>
                  <a:lnTo>
                    <a:pt x="144" y="62"/>
                  </a:lnTo>
                  <a:lnTo>
                    <a:pt x="146" y="60"/>
                  </a:lnTo>
                  <a:lnTo>
                    <a:pt x="146" y="58"/>
                  </a:lnTo>
                  <a:lnTo>
                    <a:pt x="148" y="56"/>
                  </a:lnTo>
                  <a:lnTo>
                    <a:pt x="150" y="52"/>
                  </a:lnTo>
                  <a:lnTo>
                    <a:pt x="148" y="52"/>
                  </a:lnTo>
                  <a:lnTo>
                    <a:pt x="148" y="50"/>
                  </a:lnTo>
                  <a:lnTo>
                    <a:pt x="148" y="48"/>
                  </a:lnTo>
                  <a:lnTo>
                    <a:pt x="148" y="45"/>
                  </a:lnTo>
                  <a:lnTo>
                    <a:pt x="150" y="45"/>
                  </a:lnTo>
                  <a:lnTo>
                    <a:pt x="150" y="45"/>
                  </a:lnTo>
                  <a:lnTo>
                    <a:pt x="150" y="43"/>
                  </a:lnTo>
                  <a:lnTo>
                    <a:pt x="150" y="43"/>
                  </a:lnTo>
                  <a:lnTo>
                    <a:pt x="150" y="41"/>
                  </a:lnTo>
                  <a:lnTo>
                    <a:pt x="148" y="41"/>
                  </a:lnTo>
                  <a:lnTo>
                    <a:pt x="144" y="35"/>
                  </a:lnTo>
                  <a:lnTo>
                    <a:pt x="144" y="35"/>
                  </a:lnTo>
                  <a:lnTo>
                    <a:pt x="144" y="33"/>
                  </a:lnTo>
                  <a:lnTo>
                    <a:pt x="142" y="31"/>
                  </a:lnTo>
                  <a:lnTo>
                    <a:pt x="140" y="31"/>
                  </a:lnTo>
                  <a:lnTo>
                    <a:pt x="140" y="27"/>
                  </a:lnTo>
                  <a:lnTo>
                    <a:pt x="142" y="23"/>
                  </a:lnTo>
                  <a:lnTo>
                    <a:pt x="144" y="19"/>
                  </a:lnTo>
                  <a:lnTo>
                    <a:pt x="146" y="13"/>
                  </a:lnTo>
                  <a:lnTo>
                    <a:pt x="146" y="11"/>
                  </a:lnTo>
                  <a:lnTo>
                    <a:pt x="144" y="9"/>
                  </a:lnTo>
                  <a:lnTo>
                    <a:pt x="144" y="7"/>
                  </a:lnTo>
                  <a:lnTo>
                    <a:pt x="142" y="4"/>
                  </a:lnTo>
                  <a:lnTo>
                    <a:pt x="142" y="2"/>
                  </a:lnTo>
                  <a:lnTo>
                    <a:pt x="142" y="0"/>
                  </a:lnTo>
                  <a:lnTo>
                    <a:pt x="144" y="0"/>
                  </a:lnTo>
                  <a:lnTo>
                    <a:pt x="136" y="2"/>
                  </a:lnTo>
                  <a:lnTo>
                    <a:pt x="127" y="4"/>
                  </a:lnTo>
                  <a:lnTo>
                    <a:pt x="119" y="7"/>
                  </a:lnTo>
                  <a:lnTo>
                    <a:pt x="113" y="9"/>
                  </a:lnTo>
                  <a:lnTo>
                    <a:pt x="105" y="11"/>
                  </a:lnTo>
                  <a:lnTo>
                    <a:pt x="97" y="13"/>
                  </a:lnTo>
                  <a:lnTo>
                    <a:pt x="90" y="15"/>
                  </a:lnTo>
                  <a:lnTo>
                    <a:pt x="82" y="17"/>
                  </a:lnTo>
                  <a:lnTo>
                    <a:pt x="74" y="19"/>
                  </a:lnTo>
                  <a:lnTo>
                    <a:pt x="66" y="21"/>
                  </a:lnTo>
                  <a:lnTo>
                    <a:pt x="60" y="23"/>
                  </a:lnTo>
                  <a:lnTo>
                    <a:pt x="52" y="25"/>
                  </a:lnTo>
                  <a:lnTo>
                    <a:pt x="35" y="29"/>
                  </a:lnTo>
                  <a:lnTo>
                    <a:pt x="29" y="31"/>
                  </a:lnTo>
                  <a:lnTo>
                    <a:pt x="21" y="31"/>
                  </a:lnTo>
                  <a:lnTo>
                    <a:pt x="21" y="31"/>
                  </a:lnTo>
                  <a:lnTo>
                    <a:pt x="19" y="33"/>
                  </a:lnTo>
                  <a:lnTo>
                    <a:pt x="17" y="33"/>
                  </a:lnTo>
                  <a:close/>
                </a:path>
              </a:pathLst>
            </a:custGeom>
            <a:solidFill>
              <a:schemeClr val="bg1">
                <a:lumMod val="75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VT</a:t>
              </a:r>
            </a:p>
          </p:txBody>
        </p:sp>
        <p:sp>
          <p:nvSpPr>
            <p:cNvPr id="70" name="Freeform 10">
              <a:extLst>
                <a:ext uri="{FF2B5EF4-FFF2-40B4-BE49-F238E27FC236}">
                  <a16:creationId xmlns:a16="http://schemas.microsoft.com/office/drawing/2014/main" id="{FFCEC55F-F794-2518-42AE-DA6898455E06}"/>
                </a:ext>
              </a:extLst>
            </p:cNvPr>
            <p:cNvSpPr>
              <a:spLocks noEditPoints="1"/>
            </p:cNvSpPr>
            <p:nvPr/>
          </p:nvSpPr>
          <p:spPr bwMode="auto">
            <a:xfrm>
              <a:off x="4143" y="1002"/>
              <a:ext cx="688" cy="379"/>
            </a:xfrm>
            <a:custGeom>
              <a:avLst/>
              <a:gdLst>
                <a:gd name="T0" fmla="*/ 665 w 688"/>
                <a:gd name="T1" fmla="*/ 166 h 379"/>
                <a:gd name="T2" fmla="*/ 655 w 688"/>
                <a:gd name="T3" fmla="*/ 111 h 379"/>
                <a:gd name="T4" fmla="*/ 651 w 688"/>
                <a:gd name="T5" fmla="*/ 129 h 379"/>
                <a:gd name="T6" fmla="*/ 641 w 688"/>
                <a:gd name="T7" fmla="*/ 150 h 379"/>
                <a:gd name="T8" fmla="*/ 641 w 688"/>
                <a:gd name="T9" fmla="*/ 170 h 379"/>
                <a:gd name="T10" fmla="*/ 649 w 688"/>
                <a:gd name="T11" fmla="*/ 201 h 379"/>
                <a:gd name="T12" fmla="*/ 655 w 688"/>
                <a:gd name="T13" fmla="*/ 170 h 379"/>
                <a:gd name="T14" fmla="*/ 665 w 688"/>
                <a:gd name="T15" fmla="*/ 156 h 379"/>
                <a:gd name="T16" fmla="*/ 676 w 688"/>
                <a:gd name="T17" fmla="*/ 101 h 379"/>
                <a:gd name="T18" fmla="*/ 680 w 688"/>
                <a:gd name="T19" fmla="*/ 113 h 379"/>
                <a:gd name="T20" fmla="*/ 624 w 688"/>
                <a:gd name="T21" fmla="*/ 232 h 379"/>
                <a:gd name="T22" fmla="*/ 608 w 688"/>
                <a:gd name="T23" fmla="*/ 234 h 379"/>
                <a:gd name="T24" fmla="*/ 585 w 688"/>
                <a:gd name="T25" fmla="*/ 209 h 379"/>
                <a:gd name="T26" fmla="*/ 536 w 688"/>
                <a:gd name="T27" fmla="*/ 207 h 379"/>
                <a:gd name="T28" fmla="*/ 553 w 688"/>
                <a:gd name="T29" fmla="*/ 205 h 379"/>
                <a:gd name="T30" fmla="*/ 571 w 688"/>
                <a:gd name="T31" fmla="*/ 205 h 379"/>
                <a:gd name="T32" fmla="*/ 598 w 688"/>
                <a:gd name="T33" fmla="*/ 217 h 379"/>
                <a:gd name="T34" fmla="*/ 620 w 688"/>
                <a:gd name="T35" fmla="*/ 209 h 379"/>
                <a:gd name="T36" fmla="*/ 579 w 688"/>
                <a:gd name="T37" fmla="*/ 187 h 379"/>
                <a:gd name="T38" fmla="*/ 598 w 688"/>
                <a:gd name="T39" fmla="*/ 195 h 379"/>
                <a:gd name="T40" fmla="*/ 604 w 688"/>
                <a:gd name="T41" fmla="*/ 183 h 379"/>
                <a:gd name="T42" fmla="*/ 614 w 688"/>
                <a:gd name="T43" fmla="*/ 174 h 379"/>
                <a:gd name="T44" fmla="*/ 604 w 688"/>
                <a:gd name="T45" fmla="*/ 162 h 379"/>
                <a:gd name="T46" fmla="*/ 573 w 688"/>
                <a:gd name="T47" fmla="*/ 146 h 379"/>
                <a:gd name="T48" fmla="*/ 549 w 688"/>
                <a:gd name="T49" fmla="*/ 129 h 379"/>
                <a:gd name="T50" fmla="*/ 534 w 688"/>
                <a:gd name="T51" fmla="*/ 115 h 379"/>
                <a:gd name="T52" fmla="*/ 575 w 688"/>
                <a:gd name="T53" fmla="*/ 144 h 379"/>
                <a:gd name="T54" fmla="*/ 596 w 688"/>
                <a:gd name="T55" fmla="*/ 156 h 379"/>
                <a:gd name="T56" fmla="*/ 604 w 688"/>
                <a:gd name="T57" fmla="*/ 146 h 379"/>
                <a:gd name="T58" fmla="*/ 602 w 688"/>
                <a:gd name="T59" fmla="*/ 123 h 379"/>
                <a:gd name="T60" fmla="*/ 573 w 688"/>
                <a:gd name="T61" fmla="*/ 111 h 379"/>
                <a:gd name="T62" fmla="*/ 540 w 688"/>
                <a:gd name="T63" fmla="*/ 107 h 379"/>
                <a:gd name="T64" fmla="*/ 530 w 688"/>
                <a:gd name="T65" fmla="*/ 88 h 379"/>
                <a:gd name="T66" fmla="*/ 506 w 688"/>
                <a:gd name="T67" fmla="*/ 88 h 379"/>
                <a:gd name="T68" fmla="*/ 514 w 688"/>
                <a:gd name="T69" fmla="*/ 66 h 379"/>
                <a:gd name="T70" fmla="*/ 518 w 688"/>
                <a:gd name="T71" fmla="*/ 39 h 379"/>
                <a:gd name="T72" fmla="*/ 483 w 688"/>
                <a:gd name="T73" fmla="*/ 25 h 379"/>
                <a:gd name="T74" fmla="*/ 450 w 688"/>
                <a:gd name="T75" fmla="*/ 4 h 379"/>
                <a:gd name="T76" fmla="*/ 397 w 688"/>
                <a:gd name="T77" fmla="*/ 4 h 379"/>
                <a:gd name="T78" fmla="*/ 397 w 688"/>
                <a:gd name="T79" fmla="*/ 29 h 379"/>
                <a:gd name="T80" fmla="*/ 385 w 688"/>
                <a:gd name="T81" fmla="*/ 56 h 379"/>
                <a:gd name="T82" fmla="*/ 372 w 688"/>
                <a:gd name="T83" fmla="*/ 70 h 379"/>
                <a:gd name="T84" fmla="*/ 352 w 688"/>
                <a:gd name="T85" fmla="*/ 94 h 379"/>
                <a:gd name="T86" fmla="*/ 340 w 688"/>
                <a:gd name="T87" fmla="*/ 123 h 379"/>
                <a:gd name="T88" fmla="*/ 307 w 688"/>
                <a:gd name="T89" fmla="*/ 113 h 379"/>
                <a:gd name="T90" fmla="*/ 301 w 688"/>
                <a:gd name="T91" fmla="*/ 140 h 379"/>
                <a:gd name="T92" fmla="*/ 293 w 688"/>
                <a:gd name="T93" fmla="*/ 162 h 379"/>
                <a:gd name="T94" fmla="*/ 276 w 688"/>
                <a:gd name="T95" fmla="*/ 222 h 379"/>
                <a:gd name="T96" fmla="*/ 272 w 688"/>
                <a:gd name="T97" fmla="*/ 236 h 379"/>
                <a:gd name="T98" fmla="*/ 245 w 688"/>
                <a:gd name="T99" fmla="*/ 250 h 379"/>
                <a:gd name="T100" fmla="*/ 227 w 688"/>
                <a:gd name="T101" fmla="*/ 252 h 379"/>
                <a:gd name="T102" fmla="*/ 217 w 688"/>
                <a:gd name="T103" fmla="*/ 269 h 379"/>
                <a:gd name="T104" fmla="*/ 184 w 688"/>
                <a:gd name="T105" fmla="*/ 271 h 379"/>
                <a:gd name="T106" fmla="*/ 157 w 688"/>
                <a:gd name="T107" fmla="*/ 285 h 379"/>
                <a:gd name="T108" fmla="*/ 137 w 688"/>
                <a:gd name="T109" fmla="*/ 275 h 379"/>
                <a:gd name="T110" fmla="*/ 133 w 688"/>
                <a:gd name="T111" fmla="*/ 260 h 379"/>
                <a:gd name="T112" fmla="*/ 75 w 688"/>
                <a:gd name="T113" fmla="*/ 316 h 379"/>
                <a:gd name="T114" fmla="*/ 63 w 688"/>
                <a:gd name="T115" fmla="*/ 338 h 379"/>
                <a:gd name="T116" fmla="*/ 22 w 688"/>
                <a:gd name="T117" fmla="*/ 367 h 379"/>
                <a:gd name="T118" fmla="*/ 143 w 688"/>
                <a:gd name="T119" fmla="*/ 357 h 379"/>
                <a:gd name="T120" fmla="*/ 311 w 688"/>
                <a:gd name="T121" fmla="*/ 330 h 379"/>
                <a:gd name="T122" fmla="*/ 626 w 688"/>
                <a:gd name="T123" fmla="*/ 271 h 379"/>
                <a:gd name="T124" fmla="*/ 667 w 688"/>
                <a:gd name="T125" fmla="*/ 25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8" h="379">
                  <a:moveTo>
                    <a:pt x="663" y="260"/>
                  </a:moveTo>
                  <a:lnTo>
                    <a:pt x="663" y="262"/>
                  </a:lnTo>
                  <a:lnTo>
                    <a:pt x="663" y="262"/>
                  </a:lnTo>
                  <a:lnTo>
                    <a:pt x="663" y="262"/>
                  </a:lnTo>
                  <a:lnTo>
                    <a:pt x="665" y="262"/>
                  </a:lnTo>
                  <a:lnTo>
                    <a:pt x="665" y="262"/>
                  </a:lnTo>
                  <a:lnTo>
                    <a:pt x="665" y="260"/>
                  </a:lnTo>
                  <a:lnTo>
                    <a:pt x="663" y="260"/>
                  </a:lnTo>
                  <a:close/>
                  <a:moveTo>
                    <a:pt x="657" y="189"/>
                  </a:moveTo>
                  <a:lnTo>
                    <a:pt x="655" y="189"/>
                  </a:lnTo>
                  <a:lnTo>
                    <a:pt x="657" y="191"/>
                  </a:lnTo>
                  <a:lnTo>
                    <a:pt x="659" y="189"/>
                  </a:lnTo>
                  <a:lnTo>
                    <a:pt x="659" y="187"/>
                  </a:lnTo>
                  <a:lnTo>
                    <a:pt x="659" y="185"/>
                  </a:lnTo>
                  <a:lnTo>
                    <a:pt x="659" y="181"/>
                  </a:lnTo>
                  <a:lnTo>
                    <a:pt x="659" y="181"/>
                  </a:lnTo>
                  <a:lnTo>
                    <a:pt x="659" y="183"/>
                  </a:lnTo>
                  <a:lnTo>
                    <a:pt x="659" y="185"/>
                  </a:lnTo>
                  <a:lnTo>
                    <a:pt x="657" y="187"/>
                  </a:lnTo>
                  <a:lnTo>
                    <a:pt x="657" y="189"/>
                  </a:lnTo>
                  <a:close/>
                  <a:moveTo>
                    <a:pt x="665" y="166"/>
                  </a:moveTo>
                  <a:lnTo>
                    <a:pt x="665" y="164"/>
                  </a:lnTo>
                  <a:lnTo>
                    <a:pt x="665" y="162"/>
                  </a:lnTo>
                  <a:lnTo>
                    <a:pt x="665" y="162"/>
                  </a:lnTo>
                  <a:lnTo>
                    <a:pt x="663" y="162"/>
                  </a:lnTo>
                  <a:lnTo>
                    <a:pt x="663" y="168"/>
                  </a:lnTo>
                  <a:lnTo>
                    <a:pt x="663" y="170"/>
                  </a:lnTo>
                  <a:lnTo>
                    <a:pt x="663" y="170"/>
                  </a:lnTo>
                  <a:lnTo>
                    <a:pt x="663" y="170"/>
                  </a:lnTo>
                  <a:lnTo>
                    <a:pt x="665" y="166"/>
                  </a:lnTo>
                  <a:close/>
                  <a:moveTo>
                    <a:pt x="676" y="99"/>
                  </a:moveTo>
                  <a:lnTo>
                    <a:pt x="674" y="99"/>
                  </a:lnTo>
                  <a:lnTo>
                    <a:pt x="669" y="101"/>
                  </a:lnTo>
                  <a:lnTo>
                    <a:pt x="665" y="103"/>
                  </a:lnTo>
                  <a:lnTo>
                    <a:pt x="661" y="103"/>
                  </a:lnTo>
                  <a:lnTo>
                    <a:pt x="659" y="105"/>
                  </a:lnTo>
                  <a:lnTo>
                    <a:pt x="657" y="105"/>
                  </a:lnTo>
                  <a:lnTo>
                    <a:pt x="657" y="105"/>
                  </a:lnTo>
                  <a:lnTo>
                    <a:pt x="655" y="107"/>
                  </a:lnTo>
                  <a:lnTo>
                    <a:pt x="655" y="109"/>
                  </a:lnTo>
                  <a:lnTo>
                    <a:pt x="657" y="109"/>
                  </a:lnTo>
                  <a:lnTo>
                    <a:pt x="655" y="111"/>
                  </a:lnTo>
                  <a:lnTo>
                    <a:pt x="655" y="111"/>
                  </a:lnTo>
                  <a:lnTo>
                    <a:pt x="651" y="113"/>
                  </a:lnTo>
                  <a:lnTo>
                    <a:pt x="651" y="115"/>
                  </a:lnTo>
                  <a:lnTo>
                    <a:pt x="649" y="117"/>
                  </a:lnTo>
                  <a:lnTo>
                    <a:pt x="649" y="117"/>
                  </a:lnTo>
                  <a:lnTo>
                    <a:pt x="651" y="117"/>
                  </a:lnTo>
                  <a:lnTo>
                    <a:pt x="653" y="117"/>
                  </a:lnTo>
                  <a:lnTo>
                    <a:pt x="655" y="117"/>
                  </a:lnTo>
                  <a:lnTo>
                    <a:pt x="655" y="119"/>
                  </a:lnTo>
                  <a:lnTo>
                    <a:pt x="655" y="119"/>
                  </a:lnTo>
                  <a:lnTo>
                    <a:pt x="655" y="121"/>
                  </a:lnTo>
                  <a:lnTo>
                    <a:pt x="655" y="121"/>
                  </a:lnTo>
                  <a:lnTo>
                    <a:pt x="657" y="121"/>
                  </a:lnTo>
                  <a:lnTo>
                    <a:pt x="655" y="123"/>
                  </a:lnTo>
                  <a:lnTo>
                    <a:pt x="653" y="123"/>
                  </a:lnTo>
                  <a:lnTo>
                    <a:pt x="653" y="123"/>
                  </a:lnTo>
                  <a:lnTo>
                    <a:pt x="653" y="123"/>
                  </a:lnTo>
                  <a:lnTo>
                    <a:pt x="653" y="125"/>
                  </a:lnTo>
                  <a:lnTo>
                    <a:pt x="653" y="125"/>
                  </a:lnTo>
                  <a:lnTo>
                    <a:pt x="655" y="127"/>
                  </a:lnTo>
                  <a:lnTo>
                    <a:pt x="651" y="129"/>
                  </a:lnTo>
                  <a:lnTo>
                    <a:pt x="649" y="129"/>
                  </a:lnTo>
                  <a:lnTo>
                    <a:pt x="649" y="127"/>
                  </a:lnTo>
                  <a:lnTo>
                    <a:pt x="647" y="127"/>
                  </a:lnTo>
                  <a:lnTo>
                    <a:pt x="647" y="129"/>
                  </a:lnTo>
                  <a:lnTo>
                    <a:pt x="649" y="131"/>
                  </a:lnTo>
                  <a:lnTo>
                    <a:pt x="649" y="131"/>
                  </a:lnTo>
                  <a:lnTo>
                    <a:pt x="649" y="133"/>
                  </a:lnTo>
                  <a:lnTo>
                    <a:pt x="647" y="135"/>
                  </a:lnTo>
                  <a:lnTo>
                    <a:pt x="647" y="135"/>
                  </a:lnTo>
                  <a:lnTo>
                    <a:pt x="649" y="135"/>
                  </a:lnTo>
                  <a:lnTo>
                    <a:pt x="649" y="135"/>
                  </a:lnTo>
                  <a:lnTo>
                    <a:pt x="647" y="140"/>
                  </a:lnTo>
                  <a:lnTo>
                    <a:pt x="647" y="142"/>
                  </a:lnTo>
                  <a:lnTo>
                    <a:pt x="647" y="144"/>
                  </a:lnTo>
                  <a:lnTo>
                    <a:pt x="645" y="144"/>
                  </a:lnTo>
                  <a:lnTo>
                    <a:pt x="645" y="144"/>
                  </a:lnTo>
                  <a:lnTo>
                    <a:pt x="643" y="146"/>
                  </a:lnTo>
                  <a:lnTo>
                    <a:pt x="643" y="148"/>
                  </a:lnTo>
                  <a:lnTo>
                    <a:pt x="645" y="148"/>
                  </a:lnTo>
                  <a:lnTo>
                    <a:pt x="643" y="150"/>
                  </a:lnTo>
                  <a:lnTo>
                    <a:pt x="641" y="150"/>
                  </a:lnTo>
                  <a:lnTo>
                    <a:pt x="641" y="152"/>
                  </a:lnTo>
                  <a:lnTo>
                    <a:pt x="641" y="152"/>
                  </a:lnTo>
                  <a:lnTo>
                    <a:pt x="641" y="152"/>
                  </a:lnTo>
                  <a:lnTo>
                    <a:pt x="641" y="154"/>
                  </a:lnTo>
                  <a:lnTo>
                    <a:pt x="641" y="156"/>
                  </a:lnTo>
                  <a:lnTo>
                    <a:pt x="643" y="156"/>
                  </a:lnTo>
                  <a:lnTo>
                    <a:pt x="643" y="158"/>
                  </a:lnTo>
                  <a:lnTo>
                    <a:pt x="641" y="160"/>
                  </a:lnTo>
                  <a:lnTo>
                    <a:pt x="641" y="162"/>
                  </a:lnTo>
                  <a:lnTo>
                    <a:pt x="641" y="164"/>
                  </a:lnTo>
                  <a:lnTo>
                    <a:pt x="643" y="164"/>
                  </a:lnTo>
                  <a:lnTo>
                    <a:pt x="643" y="164"/>
                  </a:lnTo>
                  <a:lnTo>
                    <a:pt x="643" y="164"/>
                  </a:lnTo>
                  <a:lnTo>
                    <a:pt x="641" y="166"/>
                  </a:lnTo>
                  <a:lnTo>
                    <a:pt x="641" y="168"/>
                  </a:lnTo>
                  <a:lnTo>
                    <a:pt x="641" y="170"/>
                  </a:lnTo>
                  <a:lnTo>
                    <a:pt x="641" y="172"/>
                  </a:lnTo>
                  <a:lnTo>
                    <a:pt x="641" y="172"/>
                  </a:lnTo>
                  <a:lnTo>
                    <a:pt x="641" y="172"/>
                  </a:lnTo>
                  <a:lnTo>
                    <a:pt x="641" y="170"/>
                  </a:lnTo>
                  <a:lnTo>
                    <a:pt x="641" y="170"/>
                  </a:lnTo>
                  <a:lnTo>
                    <a:pt x="643" y="170"/>
                  </a:lnTo>
                  <a:lnTo>
                    <a:pt x="643" y="172"/>
                  </a:lnTo>
                  <a:lnTo>
                    <a:pt x="641" y="174"/>
                  </a:lnTo>
                  <a:lnTo>
                    <a:pt x="641" y="174"/>
                  </a:lnTo>
                  <a:lnTo>
                    <a:pt x="641" y="176"/>
                  </a:lnTo>
                  <a:lnTo>
                    <a:pt x="641" y="176"/>
                  </a:lnTo>
                  <a:lnTo>
                    <a:pt x="641" y="178"/>
                  </a:lnTo>
                  <a:lnTo>
                    <a:pt x="639" y="185"/>
                  </a:lnTo>
                  <a:lnTo>
                    <a:pt x="641" y="183"/>
                  </a:lnTo>
                  <a:lnTo>
                    <a:pt x="641" y="183"/>
                  </a:lnTo>
                  <a:lnTo>
                    <a:pt x="643" y="183"/>
                  </a:lnTo>
                  <a:lnTo>
                    <a:pt x="641" y="185"/>
                  </a:lnTo>
                  <a:lnTo>
                    <a:pt x="641" y="187"/>
                  </a:lnTo>
                  <a:lnTo>
                    <a:pt x="641" y="191"/>
                  </a:lnTo>
                  <a:lnTo>
                    <a:pt x="643" y="191"/>
                  </a:lnTo>
                  <a:lnTo>
                    <a:pt x="643" y="193"/>
                  </a:lnTo>
                  <a:lnTo>
                    <a:pt x="643" y="193"/>
                  </a:lnTo>
                  <a:lnTo>
                    <a:pt x="645" y="197"/>
                  </a:lnTo>
                  <a:lnTo>
                    <a:pt x="647" y="199"/>
                  </a:lnTo>
                  <a:lnTo>
                    <a:pt x="647" y="201"/>
                  </a:lnTo>
                  <a:lnTo>
                    <a:pt x="649" y="201"/>
                  </a:lnTo>
                  <a:lnTo>
                    <a:pt x="651" y="201"/>
                  </a:lnTo>
                  <a:lnTo>
                    <a:pt x="651" y="199"/>
                  </a:lnTo>
                  <a:lnTo>
                    <a:pt x="651" y="197"/>
                  </a:lnTo>
                  <a:lnTo>
                    <a:pt x="651" y="193"/>
                  </a:lnTo>
                  <a:lnTo>
                    <a:pt x="651" y="193"/>
                  </a:lnTo>
                  <a:lnTo>
                    <a:pt x="651" y="191"/>
                  </a:lnTo>
                  <a:lnTo>
                    <a:pt x="651" y="191"/>
                  </a:lnTo>
                  <a:lnTo>
                    <a:pt x="653" y="191"/>
                  </a:lnTo>
                  <a:lnTo>
                    <a:pt x="653" y="195"/>
                  </a:lnTo>
                  <a:lnTo>
                    <a:pt x="653" y="197"/>
                  </a:lnTo>
                  <a:lnTo>
                    <a:pt x="655" y="195"/>
                  </a:lnTo>
                  <a:lnTo>
                    <a:pt x="655" y="195"/>
                  </a:lnTo>
                  <a:lnTo>
                    <a:pt x="653" y="193"/>
                  </a:lnTo>
                  <a:lnTo>
                    <a:pt x="653" y="191"/>
                  </a:lnTo>
                  <a:lnTo>
                    <a:pt x="653" y="189"/>
                  </a:lnTo>
                  <a:lnTo>
                    <a:pt x="653" y="187"/>
                  </a:lnTo>
                  <a:lnTo>
                    <a:pt x="653" y="176"/>
                  </a:lnTo>
                  <a:lnTo>
                    <a:pt x="653" y="176"/>
                  </a:lnTo>
                  <a:lnTo>
                    <a:pt x="653" y="174"/>
                  </a:lnTo>
                  <a:lnTo>
                    <a:pt x="653" y="172"/>
                  </a:lnTo>
                  <a:lnTo>
                    <a:pt x="655" y="170"/>
                  </a:lnTo>
                  <a:lnTo>
                    <a:pt x="655" y="168"/>
                  </a:lnTo>
                  <a:lnTo>
                    <a:pt x="653" y="168"/>
                  </a:lnTo>
                  <a:lnTo>
                    <a:pt x="653" y="166"/>
                  </a:lnTo>
                  <a:lnTo>
                    <a:pt x="653" y="166"/>
                  </a:lnTo>
                  <a:lnTo>
                    <a:pt x="655" y="162"/>
                  </a:lnTo>
                  <a:lnTo>
                    <a:pt x="655" y="162"/>
                  </a:lnTo>
                  <a:lnTo>
                    <a:pt x="655" y="160"/>
                  </a:lnTo>
                  <a:lnTo>
                    <a:pt x="661" y="158"/>
                  </a:lnTo>
                  <a:lnTo>
                    <a:pt x="661" y="158"/>
                  </a:lnTo>
                  <a:lnTo>
                    <a:pt x="659" y="158"/>
                  </a:lnTo>
                  <a:lnTo>
                    <a:pt x="659" y="158"/>
                  </a:lnTo>
                  <a:lnTo>
                    <a:pt x="657" y="158"/>
                  </a:lnTo>
                  <a:lnTo>
                    <a:pt x="657" y="156"/>
                  </a:lnTo>
                  <a:lnTo>
                    <a:pt x="659" y="154"/>
                  </a:lnTo>
                  <a:lnTo>
                    <a:pt x="659" y="152"/>
                  </a:lnTo>
                  <a:lnTo>
                    <a:pt x="661" y="154"/>
                  </a:lnTo>
                  <a:lnTo>
                    <a:pt x="661" y="156"/>
                  </a:lnTo>
                  <a:lnTo>
                    <a:pt x="663" y="156"/>
                  </a:lnTo>
                  <a:lnTo>
                    <a:pt x="663" y="158"/>
                  </a:lnTo>
                  <a:lnTo>
                    <a:pt x="665" y="158"/>
                  </a:lnTo>
                  <a:lnTo>
                    <a:pt x="665" y="156"/>
                  </a:lnTo>
                  <a:lnTo>
                    <a:pt x="667" y="154"/>
                  </a:lnTo>
                  <a:lnTo>
                    <a:pt x="669" y="152"/>
                  </a:lnTo>
                  <a:lnTo>
                    <a:pt x="669" y="148"/>
                  </a:lnTo>
                  <a:lnTo>
                    <a:pt x="667" y="148"/>
                  </a:lnTo>
                  <a:lnTo>
                    <a:pt x="667" y="146"/>
                  </a:lnTo>
                  <a:lnTo>
                    <a:pt x="667" y="142"/>
                  </a:lnTo>
                  <a:lnTo>
                    <a:pt x="669" y="137"/>
                  </a:lnTo>
                  <a:lnTo>
                    <a:pt x="669" y="133"/>
                  </a:lnTo>
                  <a:lnTo>
                    <a:pt x="671" y="119"/>
                  </a:lnTo>
                  <a:lnTo>
                    <a:pt x="676" y="115"/>
                  </a:lnTo>
                  <a:lnTo>
                    <a:pt x="676" y="113"/>
                  </a:lnTo>
                  <a:lnTo>
                    <a:pt x="674" y="111"/>
                  </a:lnTo>
                  <a:lnTo>
                    <a:pt x="676" y="111"/>
                  </a:lnTo>
                  <a:lnTo>
                    <a:pt x="676" y="109"/>
                  </a:lnTo>
                  <a:lnTo>
                    <a:pt x="676" y="109"/>
                  </a:lnTo>
                  <a:lnTo>
                    <a:pt x="674" y="109"/>
                  </a:lnTo>
                  <a:lnTo>
                    <a:pt x="674" y="105"/>
                  </a:lnTo>
                  <a:lnTo>
                    <a:pt x="674" y="103"/>
                  </a:lnTo>
                  <a:lnTo>
                    <a:pt x="674" y="103"/>
                  </a:lnTo>
                  <a:lnTo>
                    <a:pt x="674" y="101"/>
                  </a:lnTo>
                  <a:lnTo>
                    <a:pt x="676" y="101"/>
                  </a:lnTo>
                  <a:lnTo>
                    <a:pt x="676" y="99"/>
                  </a:lnTo>
                  <a:lnTo>
                    <a:pt x="676" y="99"/>
                  </a:lnTo>
                  <a:lnTo>
                    <a:pt x="676" y="99"/>
                  </a:lnTo>
                  <a:close/>
                  <a:moveTo>
                    <a:pt x="688" y="94"/>
                  </a:moveTo>
                  <a:lnTo>
                    <a:pt x="686" y="94"/>
                  </a:lnTo>
                  <a:lnTo>
                    <a:pt x="686" y="94"/>
                  </a:lnTo>
                  <a:lnTo>
                    <a:pt x="686" y="97"/>
                  </a:lnTo>
                  <a:lnTo>
                    <a:pt x="684" y="101"/>
                  </a:lnTo>
                  <a:lnTo>
                    <a:pt x="684" y="101"/>
                  </a:lnTo>
                  <a:lnTo>
                    <a:pt x="684" y="105"/>
                  </a:lnTo>
                  <a:lnTo>
                    <a:pt x="684" y="107"/>
                  </a:lnTo>
                  <a:lnTo>
                    <a:pt x="682" y="107"/>
                  </a:lnTo>
                  <a:lnTo>
                    <a:pt x="682" y="109"/>
                  </a:lnTo>
                  <a:lnTo>
                    <a:pt x="682" y="109"/>
                  </a:lnTo>
                  <a:lnTo>
                    <a:pt x="680" y="109"/>
                  </a:lnTo>
                  <a:lnTo>
                    <a:pt x="680" y="109"/>
                  </a:lnTo>
                  <a:lnTo>
                    <a:pt x="682" y="111"/>
                  </a:lnTo>
                  <a:lnTo>
                    <a:pt x="682" y="111"/>
                  </a:lnTo>
                  <a:lnTo>
                    <a:pt x="682" y="113"/>
                  </a:lnTo>
                  <a:lnTo>
                    <a:pt x="682" y="113"/>
                  </a:lnTo>
                  <a:lnTo>
                    <a:pt x="680" y="113"/>
                  </a:lnTo>
                  <a:lnTo>
                    <a:pt x="680" y="113"/>
                  </a:lnTo>
                  <a:lnTo>
                    <a:pt x="680" y="113"/>
                  </a:lnTo>
                  <a:lnTo>
                    <a:pt x="682" y="113"/>
                  </a:lnTo>
                  <a:lnTo>
                    <a:pt x="684" y="111"/>
                  </a:lnTo>
                  <a:lnTo>
                    <a:pt x="686" y="107"/>
                  </a:lnTo>
                  <a:lnTo>
                    <a:pt x="688" y="92"/>
                  </a:lnTo>
                  <a:lnTo>
                    <a:pt x="688" y="94"/>
                  </a:lnTo>
                  <a:close/>
                  <a:moveTo>
                    <a:pt x="655" y="236"/>
                  </a:moveTo>
                  <a:lnTo>
                    <a:pt x="653" y="228"/>
                  </a:lnTo>
                  <a:lnTo>
                    <a:pt x="651" y="226"/>
                  </a:lnTo>
                  <a:lnTo>
                    <a:pt x="649" y="226"/>
                  </a:lnTo>
                  <a:lnTo>
                    <a:pt x="647" y="228"/>
                  </a:lnTo>
                  <a:lnTo>
                    <a:pt x="643" y="228"/>
                  </a:lnTo>
                  <a:lnTo>
                    <a:pt x="639" y="228"/>
                  </a:lnTo>
                  <a:lnTo>
                    <a:pt x="635" y="228"/>
                  </a:lnTo>
                  <a:lnTo>
                    <a:pt x="626" y="226"/>
                  </a:lnTo>
                  <a:lnTo>
                    <a:pt x="624" y="226"/>
                  </a:lnTo>
                  <a:lnTo>
                    <a:pt x="622" y="230"/>
                  </a:lnTo>
                  <a:lnTo>
                    <a:pt x="622" y="230"/>
                  </a:lnTo>
                  <a:lnTo>
                    <a:pt x="624" y="232"/>
                  </a:lnTo>
                  <a:lnTo>
                    <a:pt x="624" y="232"/>
                  </a:lnTo>
                  <a:lnTo>
                    <a:pt x="624" y="234"/>
                  </a:lnTo>
                  <a:lnTo>
                    <a:pt x="624" y="234"/>
                  </a:lnTo>
                  <a:lnTo>
                    <a:pt x="624" y="236"/>
                  </a:lnTo>
                  <a:lnTo>
                    <a:pt x="626" y="238"/>
                  </a:lnTo>
                  <a:lnTo>
                    <a:pt x="624" y="238"/>
                  </a:lnTo>
                  <a:lnTo>
                    <a:pt x="624" y="238"/>
                  </a:lnTo>
                  <a:lnTo>
                    <a:pt x="622" y="236"/>
                  </a:lnTo>
                  <a:lnTo>
                    <a:pt x="622" y="236"/>
                  </a:lnTo>
                  <a:lnTo>
                    <a:pt x="620" y="234"/>
                  </a:lnTo>
                  <a:lnTo>
                    <a:pt x="618" y="234"/>
                  </a:lnTo>
                  <a:lnTo>
                    <a:pt x="616" y="234"/>
                  </a:lnTo>
                  <a:lnTo>
                    <a:pt x="614" y="236"/>
                  </a:lnTo>
                  <a:lnTo>
                    <a:pt x="612" y="238"/>
                  </a:lnTo>
                  <a:lnTo>
                    <a:pt x="610" y="238"/>
                  </a:lnTo>
                  <a:lnTo>
                    <a:pt x="608" y="240"/>
                  </a:lnTo>
                  <a:lnTo>
                    <a:pt x="606" y="240"/>
                  </a:lnTo>
                  <a:lnTo>
                    <a:pt x="606" y="240"/>
                  </a:lnTo>
                  <a:lnTo>
                    <a:pt x="608" y="238"/>
                  </a:lnTo>
                  <a:lnTo>
                    <a:pt x="610" y="236"/>
                  </a:lnTo>
                  <a:lnTo>
                    <a:pt x="610" y="236"/>
                  </a:lnTo>
                  <a:lnTo>
                    <a:pt x="608" y="234"/>
                  </a:lnTo>
                  <a:lnTo>
                    <a:pt x="608" y="234"/>
                  </a:lnTo>
                  <a:lnTo>
                    <a:pt x="608" y="232"/>
                  </a:lnTo>
                  <a:lnTo>
                    <a:pt x="608" y="230"/>
                  </a:lnTo>
                  <a:lnTo>
                    <a:pt x="608" y="230"/>
                  </a:lnTo>
                  <a:lnTo>
                    <a:pt x="602" y="228"/>
                  </a:lnTo>
                  <a:lnTo>
                    <a:pt x="602" y="228"/>
                  </a:lnTo>
                  <a:lnTo>
                    <a:pt x="600" y="228"/>
                  </a:lnTo>
                  <a:lnTo>
                    <a:pt x="600" y="228"/>
                  </a:lnTo>
                  <a:lnTo>
                    <a:pt x="598" y="228"/>
                  </a:lnTo>
                  <a:lnTo>
                    <a:pt x="598" y="226"/>
                  </a:lnTo>
                  <a:lnTo>
                    <a:pt x="598" y="226"/>
                  </a:lnTo>
                  <a:lnTo>
                    <a:pt x="598" y="226"/>
                  </a:lnTo>
                  <a:lnTo>
                    <a:pt x="600" y="226"/>
                  </a:lnTo>
                  <a:lnTo>
                    <a:pt x="600" y="224"/>
                  </a:lnTo>
                  <a:lnTo>
                    <a:pt x="594" y="224"/>
                  </a:lnTo>
                  <a:lnTo>
                    <a:pt x="592" y="224"/>
                  </a:lnTo>
                  <a:lnTo>
                    <a:pt x="592" y="222"/>
                  </a:lnTo>
                  <a:lnTo>
                    <a:pt x="590" y="215"/>
                  </a:lnTo>
                  <a:lnTo>
                    <a:pt x="587" y="209"/>
                  </a:lnTo>
                  <a:lnTo>
                    <a:pt x="585" y="209"/>
                  </a:lnTo>
                  <a:lnTo>
                    <a:pt x="585" y="209"/>
                  </a:lnTo>
                  <a:lnTo>
                    <a:pt x="583" y="213"/>
                  </a:lnTo>
                  <a:lnTo>
                    <a:pt x="581" y="213"/>
                  </a:lnTo>
                  <a:lnTo>
                    <a:pt x="579" y="213"/>
                  </a:lnTo>
                  <a:lnTo>
                    <a:pt x="577" y="209"/>
                  </a:lnTo>
                  <a:lnTo>
                    <a:pt x="575" y="209"/>
                  </a:lnTo>
                  <a:lnTo>
                    <a:pt x="567" y="211"/>
                  </a:lnTo>
                  <a:lnTo>
                    <a:pt x="565" y="211"/>
                  </a:lnTo>
                  <a:lnTo>
                    <a:pt x="563" y="209"/>
                  </a:lnTo>
                  <a:lnTo>
                    <a:pt x="561" y="209"/>
                  </a:lnTo>
                  <a:lnTo>
                    <a:pt x="559" y="209"/>
                  </a:lnTo>
                  <a:lnTo>
                    <a:pt x="559" y="207"/>
                  </a:lnTo>
                  <a:lnTo>
                    <a:pt x="557" y="205"/>
                  </a:lnTo>
                  <a:lnTo>
                    <a:pt x="555" y="205"/>
                  </a:lnTo>
                  <a:lnTo>
                    <a:pt x="555" y="205"/>
                  </a:lnTo>
                  <a:lnTo>
                    <a:pt x="553" y="207"/>
                  </a:lnTo>
                  <a:lnTo>
                    <a:pt x="551" y="207"/>
                  </a:lnTo>
                  <a:lnTo>
                    <a:pt x="551" y="207"/>
                  </a:lnTo>
                  <a:lnTo>
                    <a:pt x="551" y="207"/>
                  </a:lnTo>
                  <a:lnTo>
                    <a:pt x="549" y="207"/>
                  </a:lnTo>
                  <a:lnTo>
                    <a:pt x="542" y="207"/>
                  </a:lnTo>
                  <a:lnTo>
                    <a:pt x="536" y="207"/>
                  </a:lnTo>
                  <a:lnTo>
                    <a:pt x="534" y="207"/>
                  </a:lnTo>
                  <a:lnTo>
                    <a:pt x="534" y="207"/>
                  </a:lnTo>
                  <a:lnTo>
                    <a:pt x="534" y="207"/>
                  </a:lnTo>
                  <a:lnTo>
                    <a:pt x="532" y="207"/>
                  </a:lnTo>
                  <a:lnTo>
                    <a:pt x="532" y="205"/>
                  </a:lnTo>
                  <a:lnTo>
                    <a:pt x="534" y="203"/>
                  </a:lnTo>
                  <a:lnTo>
                    <a:pt x="536" y="203"/>
                  </a:lnTo>
                  <a:lnTo>
                    <a:pt x="536" y="205"/>
                  </a:lnTo>
                  <a:lnTo>
                    <a:pt x="540" y="203"/>
                  </a:lnTo>
                  <a:lnTo>
                    <a:pt x="540" y="203"/>
                  </a:lnTo>
                  <a:lnTo>
                    <a:pt x="542" y="205"/>
                  </a:lnTo>
                  <a:lnTo>
                    <a:pt x="544" y="205"/>
                  </a:lnTo>
                  <a:lnTo>
                    <a:pt x="544" y="203"/>
                  </a:lnTo>
                  <a:lnTo>
                    <a:pt x="547" y="203"/>
                  </a:lnTo>
                  <a:lnTo>
                    <a:pt x="547" y="203"/>
                  </a:lnTo>
                  <a:lnTo>
                    <a:pt x="549" y="203"/>
                  </a:lnTo>
                  <a:lnTo>
                    <a:pt x="549" y="203"/>
                  </a:lnTo>
                  <a:lnTo>
                    <a:pt x="551" y="203"/>
                  </a:lnTo>
                  <a:lnTo>
                    <a:pt x="551" y="203"/>
                  </a:lnTo>
                  <a:lnTo>
                    <a:pt x="551" y="205"/>
                  </a:lnTo>
                  <a:lnTo>
                    <a:pt x="553" y="205"/>
                  </a:lnTo>
                  <a:lnTo>
                    <a:pt x="553" y="205"/>
                  </a:lnTo>
                  <a:lnTo>
                    <a:pt x="553" y="205"/>
                  </a:lnTo>
                  <a:lnTo>
                    <a:pt x="555" y="201"/>
                  </a:lnTo>
                  <a:lnTo>
                    <a:pt x="555" y="201"/>
                  </a:lnTo>
                  <a:lnTo>
                    <a:pt x="557" y="201"/>
                  </a:lnTo>
                  <a:lnTo>
                    <a:pt x="557" y="201"/>
                  </a:lnTo>
                  <a:lnTo>
                    <a:pt x="561" y="205"/>
                  </a:lnTo>
                  <a:lnTo>
                    <a:pt x="563" y="207"/>
                  </a:lnTo>
                  <a:lnTo>
                    <a:pt x="563" y="207"/>
                  </a:lnTo>
                  <a:lnTo>
                    <a:pt x="565" y="207"/>
                  </a:lnTo>
                  <a:lnTo>
                    <a:pt x="567" y="205"/>
                  </a:lnTo>
                  <a:lnTo>
                    <a:pt x="567" y="205"/>
                  </a:lnTo>
                  <a:lnTo>
                    <a:pt x="567" y="203"/>
                  </a:lnTo>
                  <a:lnTo>
                    <a:pt x="567" y="201"/>
                  </a:lnTo>
                  <a:lnTo>
                    <a:pt x="567" y="199"/>
                  </a:lnTo>
                  <a:lnTo>
                    <a:pt x="567" y="199"/>
                  </a:lnTo>
                  <a:lnTo>
                    <a:pt x="569" y="201"/>
                  </a:lnTo>
                  <a:lnTo>
                    <a:pt x="569" y="203"/>
                  </a:lnTo>
                  <a:lnTo>
                    <a:pt x="569" y="205"/>
                  </a:lnTo>
                  <a:lnTo>
                    <a:pt x="571" y="205"/>
                  </a:lnTo>
                  <a:lnTo>
                    <a:pt x="571" y="205"/>
                  </a:lnTo>
                  <a:lnTo>
                    <a:pt x="575" y="207"/>
                  </a:lnTo>
                  <a:lnTo>
                    <a:pt x="577" y="207"/>
                  </a:lnTo>
                  <a:lnTo>
                    <a:pt x="577" y="207"/>
                  </a:lnTo>
                  <a:lnTo>
                    <a:pt x="579" y="207"/>
                  </a:lnTo>
                  <a:lnTo>
                    <a:pt x="579" y="209"/>
                  </a:lnTo>
                  <a:lnTo>
                    <a:pt x="579" y="209"/>
                  </a:lnTo>
                  <a:lnTo>
                    <a:pt x="581" y="209"/>
                  </a:lnTo>
                  <a:lnTo>
                    <a:pt x="581" y="209"/>
                  </a:lnTo>
                  <a:lnTo>
                    <a:pt x="581" y="207"/>
                  </a:lnTo>
                  <a:lnTo>
                    <a:pt x="581" y="207"/>
                  </a:lnTo>
                  <a:lnTo>
                    <a:pt x="583" y="207"/>
                  </a:lnTo>
                  <a:lnTo>
                    <a:pt x="585" y="205"/>
                  </a:lnTo>
                  <a:lnTo>
                    <a:pt x="587" y="205"/>
                  </a:lnTo>
                  <a:lnTo>
                    <a:pt x="590" y="205"/>
                  </a:lnTo>
                  <a:lnTo>
                    <a:pt x="592" y="207"/>
                  </a:lnTo>
                  <a:lnTo>
                    <a:pt x="592" y="209"/>
                  </a:lnTo>
                  <a:lnTo>
                    <a:pt x="592" y="213"/>
                  </a:lnTo>
                  <a:lnTo>
                    <a:pt x="594" y="213"/>
                  </a:lnTo>
                  <a:lnTo>
                    <a:pt x="594" y="215"/>
                  </a:lnTo>
                  <a:lnTo>
                    <a:pt x="596" y="215"/>
                  </a:lnTo>
                  <a:lnTo>
                    <a:pt x="598" y="217"/>
                  </a:lnTo>
                  <a:lnTo>
                    <a:pt x="600" y="217"/>
                  </a:lnTo>
                  <a:lnTo>
                    <a:pt x="608" y="222"/>
                  </a:lnTo>
                  <a:lnTo>
                    <a:pt x="610" y="224"/>
                  </a:lnTo>
                  <a:lnTo>
                    <a:pt x="612" y="228"/>
                  </a:lnTo>
                  <a:lnTo>
                    <a:pt x="614" y="228"/>
                  </a:lnTo>
                  <a:lnTo>
                    <a:pt x="614" y="226"/>
                  </a:lnTo>
                  <a:lnTo>
                    <a:pt x="616" y="224"/>
                  </a:lnTo>
                  <a:lnTo>
                    <a:pt x="618" y="224"/>
                  </a:lnTo>
                  <a:lnTo>
                    <a:pt x="618" y="222"/>
                  </a:lnTo>
                  <a:lnTo>
                    <a:pt x="620" y="222"/>
                  </a:lnTo>
                  <a:lnTo>
                    <a:pt x="622" y="222"/>
                  </a:lnTo>
                  <a:lnTo>
                    <a:pt x="622" y="219"/>
                  </a:lnTo>
                  <a:lnTo>
                    <a:pt x="624" y="217"/>
                  </a:lnTo>
                  <a:lnTo>
                    <a:pt x="624" y="215"/>
                  </a:lnTo>
                  <a:lnTo>
                    <a:pt x="622" y="211"/>
                  </a:lnTo>
                  <a:lnTo>
                    <a:pt x="622" y="211"/>
                  </a:lnTo>
                  <a:lnTo>
                    <a:pt x="618" y="213"/>
                  </a:lnTo>
                  <a:lnTo>
                    <a:pt x="616" y="211"/>
                  </a:lnTo>
                  <a:lnTo>
                    <a:pt x="618" y="211"/>
                  </a:lnTo>
                  <a:lnTo>
                    <a:pt x="620" y="209"/>
                  </a:lnTo>
                  <a:lnTo>
                    <a:pt x="620" y="209"/>
                  </a:lnTo>
                  <a:lnTo>
                    <a:pt x="620" y="207"/>
                  </a:lnTo>
                  <a:lnTo>
                    <a:pt x="618" y="205"/>
                  </a:lnTo>
                  <a:lnTo>
                    <a:pt x="614" y="205"/>
                  </a:lnTo>
                  <a:lnTo>
                    <a:pt x="614" y="205"/>
                  </a:lnTo>
                  <a:lnTo>
                    <a:pt x="614" y="205"/>
                  </a:lnTo>
                  <a:lnTo>
                    <a:pt x="612" y="205"/>
                  </a:lnTo>
                  <a:lnTo>
                    <a:pt x="612" y="205"/>
                  </a:lnTo>
                  <a:lnTo>
                    <a:pt x="612" y="203"/>
                  </a:lnTo>
                  <a:lnTo>
                    <a:pt x="610" y="201"/>
                  </a:lnTo>
                  <a:lnTo>
                    <a:pt x="610" y="201"/>
                  </a:lnTo>
                  <a:lnTo>
                    <a:pt x="612" y="201"/>
                  </a:lnTo>
                  <a:lnTo>
                    <a:pt x="610" y="199"/>
                  </a:lnTo>
                  <a:lnTo>
                    <a:pt x="608" y="199"/>
                  </a:lnTo>
                  <a:lnTo>
                    <a:pt x="606" y="201"/>
                  </a:lnTo>
                  <a:lnTo>
                    <a:pt x="604" y="201"/>
                  </a:lnTo>
                  <a:lnTo>
                    <a:pt x="602" y="201"/>
                  </a:lnTo>
                  <a:lnTo>
                    <a:pt x="598" y="199"/>
                  </a:lnTo>
                  <a:lnTo>
                    <a:pt x="590" y="195"/>
                  </a:lnTo>
                  <a:lnTo>
                    <a:pt x="583" y="191"/>
                  </a:lnTo>
                  <a:lnTo>
                    <a:pt x="581" y="187"/>
                  </a:lnTo>
                  <a:lnTo>
                    <a:pt x="579" y="187"/>
                  </a:lnTo>
                  <a:lnTo>
                    <a:pt x="577" y="185"/>
                  </a:lnTo>
                  <a:lnTo>
                    <a:pt x="573" y="181"/>
                  </a:lnTo>
                  <a:lnTo>
                    <a:pt x="571" y="178"/>
                  </a:lnTo>
                  <a:lnTo>
                    <a:pt x="571" y="178"/>
                  </a:lnTo>
                  <a:lnTo>
                    <a:pt x="569" y="178"/>
                  </a:lnTo>
                  <a:lnTo>
                    <a:pt x="569" y="178"/>
                  </a:lnTo>
                  <a:lnTo>
                    <a:pt x="569" y="176"/>
                  </a:lnTo>
                  <a:lnTo>
                    <a:pt x="569" y="176"/>
                  </a:lnTo>
                  <a:lnTo>
                    <a:pt x="569" y="174"/>
                  </a:lnTo>
                  <a:lnTo>
                    <a:pt x="569" y="174"/>
                  </a:lnTo>
                  <a:lnTo>
                    <a:pt x="575" y="178"/>
                  </a:lnTo>
                  <a:lnTo>
                    <a:pt x="579" y="183"/>
                  </a:lnTo>
                  <a:lnTo>
                    <a:pt x="581" y="185"/>
                  </a:lnTo>
                  <a:lnTo>
                    <a:pt x="583" y="185"/>
                  </a:lnTo>
                  <a:lnTo>
                    <a:pt x="583" y="185"/>
                  </a:lnTo>
                  <a:lnTo>
                    <a:pt x="592" y="193"/>
                  </a:lnTo>
                  <a:lnTo>
                    <a:pt x="592" y="193"/>
                  </a:lnTo>
                  <a:lnTo>
                    <a:pt x="594" y="193"/>
                  </a:lnTo>
                  <a:lnTo>
                    <a:pt x="594" y="193"/>
                  </a:lnTo>
                  <a:lnTo>
                    <a:pt x="596" y="195"/>
                  </a:lnTo>
                  <a:lnTo>
                    <a:pt x="598" y="195"/>
                  </a:lnTo>
                  <a:lnTo>
                    <a:pt x="602" y="197"/>
                  </a:lnTo>
                  <a:lnTo>
                    <a:pt x="604" y="197"/>
                  </a:lnTo>
                  <a:lnTo>
                    <a:pt x="610" y="195"/>
                  </a:lnTo>
                  <a:lnTo>
                    <a:pt x="610" y="193"/>
                  </a:lnTo>
                  <a:lnTo>
                    <a:pt x="610" y="193"/>
                  </a:lnTo>
                  <a:lnTo>
                    <a:pt x="608" y="191"/>
                  </a:lnTo>
                  <a:lnTo>
                    <a:pt x="608" y="191"/>
                  </a:lnTo>
                  <a:lnTo>
                    <a:pt x="606" y="191"/>
                  </a:lnTo>
                  <a:lnTo>
                    <a:pt x="604" y="191"/>
                  </a:lnTo>
                  <a:lnTo>
                    <a:pt x="604" y="191"/>
                  </a:lnTo>
                  <a:lnTo>
                    <a:pt x="606" y="189"/>
                  </a:lnTo>
                  <a:lnTo>
                    <a:pt x="606" y="189"/>
                  </a:lnTo>
                  <a:lnTo>
                    <a:pt x="606" y="187"/>
                  </a:lnTo>
                  <a:lnTo>
                    <a:pt x="606" y="187"/>
                  </a:lnTo>
                  <a:lnTo>
                    <a:pt x="604" y="187"/>
                  </a:lnTo>
                  <a:lnTo>
                    <a:pt x="602" y="187"/>
                  </a:lnTo>
                  <a:lnTo>
                    <a:pt x="602" y="185"/>
                  </a:lnTo>
                  <a:lnTo>
                    <a:pt x="602" y="185"/>
                  </a:lnTo>
                  <a:lnTo>
                    <a:pt x="602" y="183"/>
                  </a:lnTo>
                  <a:lnTo>
                    <a:pt x="604" y="183"/>
                  </a:lnTo>
                  <a:lnTo>
                    <a:pt x="604" y="183"/>
                  </a:lnTo>
                  <a:lnTo>
                    <a:pt x="606" y="183"/>
                  </a:lnTo>
                  <a:lnTo>
                    <a:pt x="604" y="183"/>
                  </a:lnTo>
                  <a:lnTo>
                    <a:pt x="604" y="181"/>
                  </a:lnTo>
                  <a:lnTo>
                    <a:pt x="604" y="181"/>
                  </a:lnTo>
                  <a:lnTo>
                    <a:pt x="602" y="181"/>
                  </a:lnTo>
                  <a:lnTo>
                    <a:pt x="602" y="178"/>
                  </a:lnTo>
                  <a:lnTo>
                    <a:pt x="604" y="178"/>
                  </a:lnTo>
                  <a:lnTo>
                    <a:pt x="608" y="183"/>
                  </a:lnTo>
                  <a:lnTo>
                    <a:pt x="610" y="183"/>
                  </a:lnTo>
                  <a:lnTo>
                    <a:pt x="610" y="183"/>
                  </a:lnTo>
                  <a:lnTo>
                    <a:pt x="612" y="183"/>
                  </a:lnTo>
                  <a:lnTo>
                    <a:pt x="612" y="185"/>
                  </a:lnTo>
                  <a:lnTo>
                    <a:pt x="616" y="187"/>
                  </a:lnTo>
                  <a:lnTo>
                    <a:pt x="618" y="189"/>
                  </a:lnTo>
                  <a:lnTo>
                    <a:pt x="618" y="189"/>
                  </a:lnTo>
                  <a:lnTo>
                    <a:pt x="618" y="185"/>
                  </a:lnTo>
                  <a:lnTo>
                    <a:pt x="618" y="178"/>
                  </a:lnTo>
                  <a:lnTo>
                    <a:pt x="618" y="176"/>
                  </a:lnTo>
                  <a:lnTo>
                    <a:pt x="616" y="174"/>
                  </a:lnTo>
                  <a:lnTo>
                    <a:pt x="616" y="174"/>
                  </a:lnTo>
                  <a:lnTo>
                    <a:pt x="614" y="174"/>
                  </a:lnTo>
                  <a:lnTo>
                    <a:pt x="614" y="174"/>
                  </a:lnTo>
                  <a:lnTo>
                    <a:pt x="614" y="172"/>
                  </a:lnTo>
                  <a:lnTo>
                    <a:pt x="614" y="170"/>
                  </a:lnTo>
                  <a:lnTo>
                    <a:pt x="614" y="170"/>
                  </a:lnTo>
                  <a:lnTo>
                    <a:pt x="616" y="170"/>
                  </a:lnTo>
                  <a:lnTo>
                    <a:pt x="616" y="168"/>
                  </a:lnTo>
                  <a:lnTo>
                    <a:pt x="612" y="166"/>
                  </a:lnTo>
                  <a:lnTo>
                    <a:pt x="612" y="166"/>
                  </a:lnTo>
                  <a:lnTo>
                    <a:pt x="612" y="168"/>
                  </a:lnTo>
                  <a:lnTo>
                    <a:pt x="610" y="170"/>
                  </a:lnTo>
                  <a:lnTo>
                    <a:pt x="610" y="170"/>
                  </a:lnTo>
                  <a:lnTo>
                    <a:pt x="606" y="168"/>
                  </a:lnTo>
                  <a:lnTo>
                    <a:pt x="604" y="168"/>
                  </a:lnTo>
                  <a:lnTo>
                    <a:pt x="602" y="168"/>
                  </a:lnTo>
                  <a:lnTo>
                    <a:pt x="602" y="166"/>
                  </a:lnTo>
                  <a:lnTo>
                    <a:pt x="604" y="166"/>
                  </a:lnTo>
                  <a:lnTo>
                    <a:pt x="608" y="164"/>
                  </a:lnTo>
                  <a:lnTo>
                    <a:pt x="610" y="164"/>
                  </a:lnTo>
                  <a:lnTo>
                    <a:pt x="610" y="162"/>
                  </a:lnTo>
                  <a:lnTo>
                    <a:pt x="608" y="162"/>
                  </a:lnTo>
                  <a:lnTo>
                    <a:pt x="604" y="162"/>
                  </a:lnTo>
                  <a:lnTo>
                    <a:pt x="600" y="162"/>
                  </a:lnTo>
                  <a:lnTo>
                    <a:pt x="598" y="160"/>
                  </a:lnTo>
                  <a:lnTo>
                    <a:pt x="596" y="160"/>
                  </a:lnTo>
                  <a:lnTo>
                    <a:pt x="594" y="160"/>
                  </a:lnTo>
                  <a:lnTo>
                    <a:pt x="590" y="160"/>
                  </a:lnTo>
                  <a:lnTo>
                    <a:pt x="587" y="160"/>
                  </a:lnTo>
                  <a:lnTo>
                    <a:pt x="585" y="158"/>
                  </a:lnTo>
                  <a:lnTo>
                    <a:pt x="585" y="156"/>
                  </a:lnTo>
                  <a:lnTo>
                    <a:pt x="583" y="156"/>
                  </a:lnTo>
                  <a:lnTo>
                    <a:pt x="583" y="154"/>
                  </a:lnTo>
                  <a:lnTo>
                    <a:pt x="583" y="154"/>
                  </a:lnTo>
                  <a:lnTo>
                    <a:pt x="581" y="152"/>
                  </a:lnTo>
                  <a:lnTo>
                    <a:pt x="581" y="150"/>
                  </a:lnTo>
                  <a:lnTo>
                    <a:pt x="577" y="148"/>
                  </a:lnTo>
                  <a:lnTo>
                    <a:pt x="577" y="148"/>
                  </a:lnTo>
                  <a:lnTo>
                    <a:pt x="573" y="148"/>
                  </a:lnTo>
                  <a:lnTo>
                    <a:pt x="573" y="148"/>
                  </a:lnTo>
                  <a:lnTo>
                    <a:pt x="573" y="146"/>
                  </a:lnTo>
                  <a:lnTo>
                    <a:pt x="573" y="146"/>
                  </a:lnTo>
                  <a:lnTo>
                    <a:pt x="573" y="146"/>
                  </a:lnTo>
                  <a:lnTo>
                    <a:pt x="573" y="146"/>
                  </a:lnTo>
                  <a:lnTo>
                    <a:pt x="571" y="146"/>
                  </a:lnTo>
                  <a:lnTo>
                    <a:pt x="571" y="146"/>
                  </a:lnTo>
                  <a:lnTo>
                    <a:pt x="569" y="146"/>
                  </a:lnTo>
                  <a:lnTo>
                    <a:pt x="569" y="146"/>
                  </a:lnTo>
                  <a:lnTo>
                    <a:pt x="567" y="144"/>
                  </a:lnTo>
                  <a:lnTo>
                    <a:pt x="567" y="144"/>
                  </a:lnTo>
                  <a:lnTo>
                    <a:pt x="565" y="144"/>
                  </a:lnTo>
                  <a:lnTo>
                    <a:pt x="563" y="140"/>
                  </a:lnTo>
                  <a:lnTo>
                    <a:pt x="563" y="140"/>
                  </a:lnTo>
                  <a:lnTo>
                    <a:pt x="561" y="137"/>
                  </a:lnTo>
                  <a:lnTo>
                    <a:pt x="561" y="135"/>
                  </a:lnTo>
                  <a:lnTo>
                    <a:pt x="559" y="135"/>
                  </a:lnTo>
                  <a:lnTo>
                    <a:pt x="557" y="135"/>
                  </a:lnTo>
                  <a:lnTo>
                    <a:pt x="555" y="135"/>
                  </a:lnTo>
                  <a:lnTo>
                    <a:pt x="555" y="133"/>
                  </a:lnTo>
                  <a:lnTo>
                    <a:pt x="553" y="131"/>
                  </a:lnTo>
                  <a:lnTo>
                    <a:pt x="553" y="131"/>
                  </a:lnTo>
                  <a:lnTo>
                    <a:pt x="551" y="131"/>
                  </a:lnTo>
                  <a:lnTo>
                    <a:pt x="551" y="129"/>
                  </a:lnTo>
                  <a:lnTo>
                    <a:pt x="549" y="129"/>
                  </a:lnTo>
                  <a:lnTo>
                    <a:pt x="549" y="129"/>
                  </a:lnTo>
                  <a:lnTo>
                    <a:pt x="547" y="123"/>
                  </a:lnTo>
                  <a:lnTo>
                    <a:pt x="547" y="123"/>
                  </a:lnTo>
                  <a:lnTo>
                    <a:pt x="544" y="121"/>
                  </a:lnTo>
                  <a:lnTo>
                    <a:pt x="542" y="121"/>
                  </a:lnTo>
                  <a:lnTo>
                    <a:pt x="542" y="119"/>
                  </a:lnTo>
                  <a:lnTo>
                    <a:pt x="536" y="119"/>
                  </a:lnTo>
                  <a:lnTo>
                    <a:pt x="534" y="119"/>
                  </a:lnTo>
                  <a:lnTo>
                    <a:pt x="534" y="119"/>
                  </a:lnTo>
                  <a:lnTo>
                    <a:pt x="534" y="117"/>
                  </a:lnTo>
                  <a:lnTo>
                    <a:pt x="534" y="115"/>
                  </a:lnTo>
                  <a:lnTo>
                    <a:pt x="532" y="115"/>
                  </a:lnTo>
                  <a:lnTo>
                    <a:pt x="532" y="115"/>
                  </a:lnTo>
                  <a:lnTo>
                    <a:pt x="532" y="115"/>
                  </a:lnTo>
                  <a:lnTo>
                    <a:pt x="528" y="117"/>
                  </a:lnTo>
                  <a:lnTo>
                    <a:pt x="526" y="115"/>
                  </a:lnTo>
                  <a:lnTo>
                    <a:pt x="526" y="115"/>
                  </a:lnTo>
                  <a:lnTo>
                    <a:pt x="526" y="113"/>
                  </a:lnTo>
                  <a:lnTo>
                    <a:pt x="528" y="113"/>
                  </a:lnTo>
                  <a:lnTo>
                    <a:pt x="532" y="113"/>
                  </a:lnTo>
                  <a:lnTo>
                    <a:pt x="534" y="115"/>
                  </a:lnTo>
                  <a:lnTo>
                    <a:pt x="534" y="115"/>
                  </a:lnTo>
                  <a:lnTo>
                    <a:pt x="536" y="117"/>
                  </a:lnTo>
                  <a:lnTo>
                    <a:pt x="536" y="117"/>
                  </a:lnTo>
                  <a:lnTo>
                    <a:pt x="538" y="117"/>
                  </a:lnTo>
                  <a:lnTo>
                    <a:pt x="542" y="117"/>
                  </a:lnTo>
                  <a:lnTo>
                    <a:pt x="542" y="119"/>
                  </a:lnTo>
                  <a:lnTo>
                    <a:pt x="544" y="119"/>
                  </a:lnTo>
                  <a:lnTo>
                    <a:pt x="547" y="121"/>
                  </a:lnTo>
                  <a:lnTo>
                    <a:pt x="551" y="127"/>
                  </a:lnTo>
                  <a:lnTo>
                    <a:pt x="551" y="127"/>
                  </a:lnTo>
                  <a:lnTo>
                    <a:pt x="555" y="129"/>
                  </a:lnTo>
                  <a:lnTo>
                    <a:pt x="557" y="131"/>
                  </a:lnTo>
                  <a:lnTo>
                    <a:pt x="563" y="133"/>
                  </a:lnTo>
                  <a:lnTo>
                    <a:pt x="565" y="135"/>
                  </a:lnTo>
                  <a:lnTo>
                    <a:pt x="569" y="142"/>
                  </a:lnTo>
                  <a:lnTo>
                    <a:pt x="569" y="142"/>
                  </a:lnTo>
                  <a:lnTo>
                    <a:pt x="571" y="142"/>
                  </a:lnTo>
                  <a:lnTo>
                    <a:pt x="571" y="142"/>
                  </a:lnTo>
                  <a:lnTo>
                    <a:pt x="573" y="140"/>
                  </a:lnTo>
                  <a:lnTo>
                    <a:pt x="573" y="142"/>
                  </a:lnTo>
                  <a:lnTo>
                    <a:pt x="573" y="144"/>
                  </a:lnTo>
                  <a:lnTo>
                    <a:pt x="575" y="144"/>
                  </a:lnTo>
                  <a:lnTo>
                    <a:pt x="575" y="144"/>
                  </a:lnTo>
                  <a:lnTo>
                    <a:pt x="575" y="142"/>
                  </a:lnTo>
                  <a:lnTo>
                    <a:pt x="577" y="144"/>
                  </a:lnTo>
                  <a:lnTo>
                    <a:pt x="577" y="144"/>
                  </a:lnTo>
                  <a:lnTo>
                    <a:pt x="577" y="144"/>
                  </a:lnTo>
                  <a:lnTo>
                    <a:pt x="581" y="146"/>
                  </a:lnTo>
                  <a:lnTo>
                    <a:pt x="581" y="146"/>
                  </a:lnTo>
                  <a:lnTo>
                    <a:pt x="583" y="148"/>
                  </a:lnTo>
                  <a:lnTo>
                    <a:pt x="585" y="152"/>
                  </a:lnTo>
                  <a:lnTo>
                    <a:pt x="587" y="154"/>
                  </a:lnTo>
                  <a:lnTo>
                    <a:pt x="587" y="154"/>
                  </a:lnTo>
                  <a:lnTo>
                    <a:pt x="590" y="156"/>
                  </a:lnTo>
                  <a:lnTo>
                    <a:pt x="590" y="158"/>
                  </a:lnTo>
                  <a:lnTo>
                    <a:pt x="592" y="156"/>
                  </a:lnTo>
                  <a:lnTo>
                    <a:pt x="592" y="152"/>
                  </a:lnTo>
                  <a:lnTo>
                    <a:pt x="592" y="152"/>
                  </a:lnTo>
                  <a:lnTo>
                    <a:pt x="594" y="152"/>
                  </a:lnTo>
                  <a:lnTo>
                    <a:pt x="594" y="154"/>
                  </a:lnTo>
                  <a:lnTo>
                    <a:pt x="596" y="154"/>
                  </a:lnTo>
                  <a:lnTo>
                    <a:pt x="596" y="156"/>
                  </a:lnTo>
                  <a:lnTo>
                    <a:pt x="596" y="156"/>
                  </a:lnTo>
                  <a:lnTo>
                    <a:pt x="596" y="154"/>
                  </a:lnTo>
                  <a:lnTo>
                    <a:pt x="598" y="156"/>
                  </a:lnTo>
                  <a:lnTo>
                    <a:pt x="598" y="156"/>
                  </a:lnTo>
                  <a:lnTo>
                    <a:pt x="600" y="156"/>
                  </a:lnTo>
                  <a:lnTo>
                    <a:pt x="604" y="158"/>
                  </a:lnTo>
                  <a:lnTo>
                    <a:pt x="606" y="158"/>
                  </a:lnTo>
                  <a:lnTo>
                    <a:pt x="608" y="156"/>
                  </a:lnTo>
                  <a:lnTo>
                    <a:pt x="606" y="156"/>
                  </a:lnTo>
                  <a:lnTo>
                    <a:pt x="606" y="156"/>
                  </a:lnTo>
                  <a:lnTo>
                    <a:pt x="604" y="154"/>
                  </a:lnTo>
                  <a:lnTo>
                    <a:pt x="604" y="152"/>
                  </a:lnTo>
                  <a:lnTo>
                    <a:pt x="604" y="152"/>
                  </a:lnTo>
                  <a:lnTo>
                    <a:pt x="604" y="152"/>
                  </a:lnTo>
                  <a:lnTo>
                    <a:pt x="606" y="150"/>
                  </a:lnTo>
                  <a:lnTo>
                    <a:pt x="604" y="150"/>
                  </a:lnTo>
                  <a:lnTo>
                    <a:pt x="606" y="150"/>
                  </a:lnTo>
                  <a:lnTo>
                    <a:pt x="606" y="150"/>
                  </a:lnTo>
                  <a:lnTo>
                    <a:pt x="608" y="150"/>
                  </a:lnTo>
                  <a:lnTo>
                    <a:pt x="608" y="148"/>
                  </a:lnTo>
                  <a:lnTo>
                    <a:pt x="608" y="148"/>
                  </a:lnTo>
                  <a:lnTo>
                    <a:pt x="604" y="146"/>
                  </a:lnTo>
                  <a:lnTo>
                    <a:pt x="604" y="144"/>
                  </a:lnTo>
                  <a:lnTo>
                    <a:pt x="604" y="144"/>
                  </a:lnTo>
                  <a:lnTo>
                    <a:pt x="604" y="144"/>
                  </a:lnTo>
                  <a:lnTo>
                    <a:pt x="604" y="144"/>
                  </a:lnTo>
                  <a:lnTo>
                    <a:pt x="606" y="144"/>
                  </a:lnTo>
                  <a:lnTo>
                    <a:pt x="606" y="142"/>
                  </a:lnTo>
                  <a:lnTo>
                    <a:pt x="606" y="142"/>
                  </a:lnTo>
                  <a:lnTo>
                    <a:pt x="606" y="140"/>
                  </a:lnTo>
                  <a:lnTo>
                    <a:pt x="604" y="140"/>
                  </a:lnTo>
                  <a:lnTo>
                    <a:pt x="602" y="135"/>
                  </a:lnTo>
                  <a:lnTo>
                    <a:pt x="602" y="133"/>
                  </a:lnTo>
                  <a:lnTo>
                    <a:pt x="602" y="133"/>
                  </a:lnTo>
                  <a:lnTo>
                    <a:pt x="604" y="133"/>
                  </a:lnTo>
                  <a:lnTo>
                    <a:pt x="606" y="135"/>
                  </a:lnTo>
                  <a:lnTo>
                    <a:pt x="608" y="135"/>
                  </a:lnTo>
                  <a:lnTo>
                    <a:pt x="608" y="133"/>
                  </a:lnTo>
                  <a:lnTo>
                    <a:pt x="608" y="131"/>
                  </a:lnTo>
                  <a:lnTo>
                    <a:pt x="608" y="127"/>
                  </a:lnTo>
                  <a:lnTo>
                    <a:pt x="606" y="125"/>
                  </a:lnTo>
                  <a:lnTo>
                    <a:pt x="604" y="125"/>
                  </a:lnTo>
                  <a:lnTo>
                    <a:pt x="602" y="123"/>
                  </a:lnTo>
                  <a:lnTo>
                    <a:pt x="594" y="123"/>
                  </a:lnTo>
                  <a:lnTo>
                    <a:pt x="592" y="121"/>
                  </a:lnTo>
                  <a:lnTo>
                    <a:pt x="585" y="121"/>
                  </a:lnTo>
                  <a:lnTo>
                    <a:pt x="585" y="121"/>
                  </a:lnTo>
                  <a:lnTo>
                    <a:pt x="585" y="119"/>
                  </a:lnTo>
                  <a:lnTo>
                    <a:pt x="587" y="119"/>
                  </a:lnTo>
                  <a:lnTo>
                    <a:pt x="587" y="119"/>
                  </a:lnTo>
                  <a:lnTo>
                    <a:pt x="585" y="119"/>
                  </a:lnTo>
                  <a:lnTo>
                    <a:pt x="585" y="119"/>
                  </a:lnTo>
                  <a:lnTo>
                    <a:pt x="583" y="117"/>
                  </a:lnTo>
                  <a:lnTo>
                    <a:pt x="583" y="117"/>
                  </a:lnTo>
                  <a:lnTo>
                    <a:pt x="579" y="119"/>
                  </a:lnTo>
                  <a:lnTo>
                    <a:pt x="579" y="119"/>
                  </a:lnTo>
                  <a:lnTo>
                    <a:pt x="579" y="117"/>
                  </a:lnTo>
                  <a:lnTo>
                    <a:pt x="579" y="117"/>
                  </a:lnTo>
                  <a:lnTo>
                    <a:pt x="579" y="115"/>
                  </a:lnTo>
                  <a:lnTo>
                    <a:pt x="579" y="115"/>
                  </a:lnTo>
                  <a:lnTo>
                    <a:pt x="579" y="113"/>
                  </a:lnTo>
                  <a:lnTo>
                    <a:pt x="575" y="111"/>
                  </a:lnTo>
                  <a:lnTo>
                    <a:pt x="573" y="111"/>
                  </a:lnTo>
                  <a:lnTo>
                    <a:pt x="573" y="111"/>
                  </a:lnTo>
                  <a:lnTo>
                    <a:pt x="571" y="107"/>
                  </a:lnTo>
                  <a:lnTo>
                    <a:pt x="571" y="107"/>
                  </a:lnTo>
                  <a:lnTo>
                    <a:pt x="571" y="107"/>
                  </a:lnTo>
                  <a:lnTo>
                    <a:pt x="569" y="107"/>
                  </a:lnTo>
                  <a:lnTo>
                    <a:pt x="569" y="109"/>
                  </a:lnTo>
                  <a:lnTo>
                    <a:pt x="567" y="109"/>
                  </a:lnTo>
                  <a:lnTo>
                    <a:pt x="567" y="109"/>
                  </a:lnTo>
                  <a:lnTo>
                    <a:pt x="565" y="109"/>
                  </a:lnTo>
                  <a:lnTo>
                    <a:pt x="565" y="107"/>
                  </a:lnTo>
                  <a:lnTo>
                    <a:pt x="565" y="107"/>
                  </a:lnTo>
                  <a:lnTo>
                    <a:pt x="563" y="109"/>
                  </a:lnTo>
                  <a:lnTo>
                    <a:pt x="561" y="111"/>
                  </a:lnTo>
                  <a:lnTo>
                    <a:pt x="559" y="111"/>
                  </a:lnTo>
                  <a:lnTo>
                    <a:pt x="559" y="111"/>
                  </a:lnTo>
                  <a:lnTo>
                    <a:pt x="557" y="109"/>
                  </a:lnTo>
                  <a:lnTo>
                    <a:pt x="557" y="109"/>
                  </a:lnTo>
                  <a:lnTo>
                    <a:pt x="555" y="109"/>
                  </a:lnTo>
                  <a:lnTo>
                    <a:pt x="553" y="109"/>
                  </a:lnTo>
                  <a:lnTo>
                    <a:pt x="549" y="109"/>
                  </a:lnTo>
                  <a:lnTo>
                    <a:pt x="544" y="109"/>
                  </a:lnTo>
                  <a:lnTo>
                    <a:pt x="540" y="107"/>
                  </a:lnTo>
                  <a:lnTo>
                    <a:pt x="540" y="105"/>
                  </a:lnTo>
                  <a:lnTo>
                    <a:pt x="540" y="105"/>
                  </a:lnTo>
                  <a:lnTo>
                    <a:pt x="540" y="103"/>
                  </a:lnTo>
                  <a:lnTo>
                    <a:pt x="540" y="103"/>
                  </a:lnTo>
                  <a:lnTo>
                    <a:pt x="538" y="101"/>
                  </a:lnTo>
                  <a:lnTo>
                    <a:pt x="538" y="101"/>
                  </a:lnTo>
                  <a:lnTo>
                    <a:pt x="536" y="101"/>
                  </a:lnTo>
                  <a:lnTo>
                    <a:pt x="536" y="101"/>
                  </a:lnTo>
                  <a:lnTo>
                    <a:pt x="532" y="97"/>
                  </a:lnTo>
                  <a:lnTo>
                    <a:pt x="532" y="97"/>
                  </a:lnTo>
                  <a:lnTo>
                    <a:pt x="530" y="97"/>
                  </a:lnTo>
                  <a:lnTo>
                    <a:pt x="530" y="97"/>
                  </a:lnTo>
                  <a:lnTo>
                    <a:pt x="530" y="97"/>
                  </a:lnTo>
                  <a:lnTo>
                    <a:pt x="532" y="97"/>
                  </a:lnTo>
                  <a:lnTo>
                    <a:pt x="532" y="94"/>
                  </a:lnTo>
                  <a:lnTo>
                    <a:pt x="532" y="94"/>
                  </a:lnTo>
                  <a:lnTo>
                    <a:pt x="534" y="92"/>
                  </a:lnTo>
                  <a:lnTo>
                    <a:pt x="532" y="92"/>
                  </a:lnTo>
                  <a:lnTo>
                    <a:pt x="532" y="90"/>
                  </a:lnTo>
                  <a:lnTo>
                    <a:pt x="532" y="88"/>
                  </a:lnTo>
                  <a:lnTo>
                    <a:pt x="530" y="88"/>
                  </a:lnTo>
                  <a:lnTo>
                    <a:pt x="528" y="90"/>
                  </a:lnTo>
                  <a:lnTo>
                    <a:pt x="526" y="92"/>
                  </a:lnTo>
                  <a:lnTo>
                    <a:pt x="522" y="94"/>
                  </a:lnTo>
                  <a:lnTo>
                    <a:pt x="520" y="97"/>
                  </a:lnTo>
                  <a:lnTo>
                    <a:pt x="518" y="97"/>
                  </a:lnTo>
                  <a:lnTo>
                    <a:pt x="512" y="99"/>
                  </a:lnTo>
                  <a:lnTo>
                    <a:pt x="510" y="99"/>
                  </a:lnTo>
                  <a:lnTo>
                    <a:pt x="506" y="99"/>
                  </a:lnTo>
                  <a:lnTo>
                    <a:pt x="506" y="99"/>
                  </a:lnTo>
                  <a:lnTo>
                    <a:pt x="506" y="99"/>
                  </a:lnTo>
                  <a:lnTo>
                    <a:pt x="508" y="97"/>
                  </a:lnTo>
                  <a:lnTo>
                    <a:pt x="510" y="97"/>
                  </a:lnTo>
                  <a:lnTo>
                    <a:pt x="510" y="97"/>
                  </a:lnTo>
                  <a:lnTo>
                    <a:pt x="508" y="94"/>
                  </a:lnTo>
                  <a:lnTo>
                    <a:pt x="508" y="94"/>
                  </a:lnTo>
                  <a:lnTo>
                    <a:pt x="504" y="92"/>
                  </a:lnTo>
                  <a:lnTo>
                    <a:pt x="501" y="90"/>
                  </a:lnTo>
                  <a:lnTo>
                    <a:pt x="504" y="90"/>
                  </a:lnTo>
                  <a:lnTo>
                    <a:pt x="504" y="90"/>
                  </a:lnTo>
                  <a:lnTo>
                    <a:pt x="506" y="92"/>
                  </a:lnTo>
                  <a:lnTo>
                    <a:pt x="506" y="88"/>
                  </a:lnTo>
                  <a:lnTo>
                    <a:pt x="506" y="84"/>
                  </a:lnTo>
                  <a:lnTo>
                    <a:pt x="506" y="80"/>
                  </a:lnTo>
                  <a:lnTo>
                    <a:pt x="506" y="78"/>
                  </a:lnTo>
                  <a:lnTo>
                    <a:pt x="506" y="76"/>
                  </a:lnTo>
                  <a:lnTo>
                    <a:pt x="506" y="76"/>
                  </a:lnTo>
                  <a:lnTo>
                    <a:pt x="508" y="74"/>
                  </a:lnTo>
                  <a:lnTo>
                    <a:pt x="506" y="74"/>
                  </a:lnTo>
                  <a:lnTo>
                    <a:pt x="506" y="74"/>
                  </a:lnTo>
                  <a:lnTo>
                    <a:pt x="506" y="74"/>
                  </a:lnTo>
                  <a:lnTo>
                    <a:pt x="506" y="72"/>
                  </a:lnTo>
                  <a:lnTo>
                    <a:pt x="508" y="70"/>
                  </a:lnTo>
                  <a:lnTo>
                    <a:pt x="508" y="68"/>
                  </a:lnTo>
                  <a:lnTo>
                    <a:pt x="508" y="66"/>
                  </a:lnTo>
                  <a:lnTo>
                    <a:pt x="508" y="66"/>
                  </a:lnTo>
                  <a:lnTo>
                    <a:pt x="508" y="64"/>
                  </a:lnTo>
                  <a:lnTo>
                    <a:pt x="510" y="64"/>
                  </a:lnTo>
                  <a:lnTo>
                    <a:pt x="510" y="64"/>
                  </a:lnTo>
                  <a:lnTo>
                    <a:pt x="510" y="66"/>
                  </a:lnTo>
                  <a:lnTo>
                    <a:pt x="512" y="68"/>
                  </a:lnTo>
                  <a:lnTo>
                    <a:pt x="512" y="66"/>
                  </a:lnTo>
                  <a:lnTo>
                    <a:pt x="514" y="66"/>
                  </a:lnTo>
                  <a:lnTo>
                    <a:pt x="514" y="64"/>
                  </a:lnTo>
                  <a:lnTo>
                    <a:pt x="516" y="64"/>
                  </a:lnTo>
                  <a:lnTo>
                    <a:pt x="514" y="62"/>
                  </a:lnTo>
                  <a:lnTo>
                    <a:pt x="514" y="62"/>
                  </a:lnTo>
                  <a:lnTo>
                    <a:pt x="512" y="62"/>
                  </a:lnTo>
                  <a:lnTo>
                    <a:pt x="512" y="60"/>
                  </a:lnTo>
                  <a:lnTo>
                    <a:pt x="514" y="58"/>
                  </a:lnTo>
                  <a:lnTo>
                    <a:pt x="514" y="58"/>
                  </a:lnTo>
                  <a:lnTo>
                    <a:pt x="514" y="60"/>
                  </a:lnTo>
                  <a:lnTo>
                    <a:pt x="514" y="60"/>
                  </a:lnTo>
                  <a:lnTo>
                    <a:pt x="516" y="60"/>
                  </a:lnTo>
                  <a:lnTo>
                    <a:pt x="516" y="58"/>
                  </a:lnTo>
                  <a:lnTo>
                    <a:pt x="516" y="58"/>
                  </a:lnTo>
                  <a:lnTo>
                    <a:pt x="518" y="58"/>
                  </a:lnTo>
                  <a:lnTo>
                    <a:pt x="518" y="58"/>
                  </a:lnTo>
                  <a:lnTo>
                    <a:pt x="520" y="56"/>
                  </a:lnTo>
                  <a:lnTo>
                    <a:pt x="520" y="56"/>
                  </a:lnTo>
                  <a:lnTo>
                    <a:pt x="522" y="53"/>
                  </a:lnTo>
                  <a:lnTo>
                    <a:pt x="522" y="51"/>
                  </a:lnTo>
                  <a:lnTo>
                    <a:pt x="518" y="39"/>
                  </a:lnTo>
                  <a:lnTo>
                    <a:pt x="518" y="39"/>
                  </a:lnTo>
                  <a:lnTo>
                    <a:pt x="518" y="39"/>
                  </a:lnTo>
                  <a:lnTo>
                    <a:pt x="518" y="37"/>
                  </a:lnTo>
                  <a:lnTo>
                    <a:pt x="516" y="35"/>
                  </a:lnTo>
                  <a:lnTo>
                    <a:pt x="516" y="35"/>
                  </a:lnTo>
                  <a:lnTo>
                    <a:pt x="516" y="35"/>
                  </a:lnTo>
                  <a:lnTo>
                    <a:pt x="514" y="35"/>
                  </a:lnTo>
                  <a:lnTo>
                    <a:pt x="512" y="33"/>
                  </a:lnTo>
                  <a:lnTo>
                    <a:pt x="510" y="33"/>
                  </a:lnTo>
                  <a:lnTo>
                    <a:pt x="510" y="31"/>
                  </a:lnTo>
                  <a:lnTo>
                    <a:pt x="508" y="31"/>
                  </a:lnTo>
                  <a:lnTo>
                    <a:pt x="506" y="31"/>
                  </a:lnTo>
                  <a:lnTo>
                    <a:pt x="501" y="31"/>
                  </a:lnTo>
                  <a:lnTo>
                    <a:pt x="501" y="31"/>
                  </a:lnTo>
                  <a:lnTo>
                    <a:pt x="499" y="31"/>
                  </a:lnTo>
                  <a:lnTo>
                    <a:pt x="499" y="29"/>
                  </a:lnTo>
                  <a:lnTo>
                    <a:pt x="497" y="27"/>
                  </a:lnTo>
                  <a:lnTo>
                    <a:pt x="497" y="27"/>
                  </a:lnTo>
                  <a:lnTo>
                    <a:pt x="495" y="25"/>
                  </a:lnTo>
                  <a:lnTo>
                    <a:pt x="493" y="25"/>
                  </a:lnTo>
                  <a:lnTo>
                    <a:pt x="489" y="23"/>
                  </a:lnTo>
                  <a:lnTo>
                    <a:pt x="483" y="25"/>
                  </a:lnTo>
                  <a:lnTo>
                    <a:pt x="481" y="25"/>
                  </a:lnTo>
                  <a:lnTo>
                    <a:pt x="477" y="21"/>
                  </a:lnTo>
                  <a:lnTo>
                    <a:pt x="475" y="21"/>
                  </a:lnTo>
                  <a:lnTo>
                    <a:pt x="473" y="19"/>
                  </a:lnTo>
                  <a:lnTo>
                    <a:pt x="473" y="19"/>
                  </a:lnTo>
                  <a:lnTo>
                    <a:pt x="473" y="17"/>
                  </a:lnTo>
                  <a:lnTo>
                    <a:pt x="475" y="12"/>
                  </a:lnTo>
                  <a:lnTo>
                    <a:pt x="477" y="10"/>
                  </a:lnTo>
                  <a:lnTo>
                    <a:pt x="477" y="8"/>
                  </a:lnTo>
                  <a:lnTo>
                    <a:pt x="475" y="8"/>
                  </a:lnTo>
                  <a:lnTo>
                    <a:pt x="473" y="6"/>
                  </a:lnTo>
                  <a:lnTo>
                    <a:pt x="471" y="6"/>
                  </a:lnTo>
                  <a:lnTo>
                    <a:pt x="469" y="6"/>
                  </a:lnTo>
                  <a:lnTo>
                    <a:pt x="467" y="4"/>
                  </a:lnTo>
                  <a:lnTo>
                    <a:pt x="467" y="4"/>
                  </a:lnTo>
                  <a:lnTo>
                    <a:pt x="463" y="2"/>
                  </a:lnTo>
                  <a:lnTo>
                    <a:pt x="458" y="2"/>
                  </a:lnTo>
                  <a:lnTo>
                    <a:pt x="456" y="2"/>
                  </a:lnTo>
                  <a:lnTo>
                    <a:pt x="452" y="4"/>
                  </a:lnTo>
                  <a:lnTo>
                    <a:pt x="450" y="2"/>
                  </a:lnTo>
                  <a:lnTo>
                    <a:pt x="450" y="4"/>
                  </a:lnTo>
                  <a:lnTo>
                    <a:pt x="450" y="4"/>
                  </a:lnTo>
                  <a:lnTo>
                    <a:pt x="450" y="8"/>
                  </a:lnTo>
                  <a:lnTo>
                    <a:pt x="448" y="12"/>
                  </a:lnTo>
                  <a:lnTo>
                    <a:pt x="448" y="19"/>
                  </a:lnTo>
                  <a:lnTo>
                    <a:pt x="446" y="21"/>
                  </a:lnTo>
                  <a:lnTo>
                    <a:pt x="446" y="23"/>
                  </a:lnTo>
                  <a:lnTo>
                    <a:pt x="446" y="25"/>
                  </a:lnTo>
                  <a:lnTo>
                    <a:pt x="446" y="23"/>
                  </a:lnTo>
                  <a:lnTo>
                    <a:pt x="444" y="23"/>
                  </a:lnTo>
                  <a:lnTo>
                    <a:pt x="440" y="21"/>
                  </a:lnTo>
                  <a:lnTo>
                    <a:pt x="434" y="19"/>
                  </a:lnTo>
                  <a:lnTo>
                    <a:pt x="428" y="15"/>
                  </a:lnTo>
                  <a:lnTo>
                    <a:pt x="424" y="12"/>
                  </a:lnTo>
                  <a:lnTo>
                    <a:pt x="417" y="8"/>
                  </a:lnTo>
                  <a:lnTo>
                    <a:pt x="411" y="6"/>
                  </a:lnTo>
                  <a:lnTo>
                    <a:pt x="407" y="4"/>
                  </a:lnTo>
                  <a:lnTo>
                    <a:pt x="401" y="0"/>
                  </a:lnTo>
                  <a:lnTo>
                    <a:pt x="399" y="0"/>
                  </a:lnTo>
                  <a:lnTo>
                    <a:pt x="399" y="0"/>
                  </a:lnTo>
                  <a:lnTo>
                    <a:pt x="397" y="2"/>
                  </a:lnTo>
                  <a:lnTo>
                    <a:pt x="397" y="4"/>
                  </a:lnTo>
                  <a:lnTo>
                    <a:pt x="397" y="4"/>
                  </a:lnTo>
                  <a:lnTo>
                    <a:pt x="397" y="6"/>
                  </a:lnTo>
                  <a:lnTo>
                    <a:pt x="399" y="8"/>
                  </a:lnTo>
                  <a:lnTo>
                    <a:pt x="399" y="10"/>
                  </a:lnTo>
                  <a:lnTo>
                    <a:pt x="399" y="12"/>
                  </a:lnTo>
                  <a:lnTo>
                    <a:pt x="399" y="12"/>
                  </a:lnTo>
                  <a:lnTo>
                    <a:pt x="399" y="12"/>
                  </a:lnTo>
                  <a:lnTo>
                    <a:pt x="399" y="17"/>
                  </a:lnTo>
                  <a:lnTo>
                    <a:pt x="397" y="19"/>
                  </a:lnTo>
                  <a:lnTo>
                    <a:pt x="397" y="21"/>
                  </a:lnTo>
                  <a:lnTo>
                    <a:pt x="397" y="21"/>
                  </a:lnTo>
                  <a:lnTo>
                    <a:pt x="397" y="21"/>
                  </a:lnTo>
                  <a:lnTo>
                    <a:pt x="397" y="21"/>
                  </a:lnTo>
                  <a:lnTo>
                    <a:pt x="397" y="23"/>
                  </a:lnTo>
                  <a:lnTo>
                    <a:pt x="397" y="23"/>
                  </a:lnTo>
                  <a:lnTo>
                    <a:pt x="397" y="23"/>
                  </a:lnTo>
                  <a:lnTo>
                    <a:pt x="397" y="25"/>
                  </a:lnTo>
                  <a:lnTo>
                    <a:pt x="397" y="25"/>
                  </a:lnTo>
                  <a:lnTo>
                    <a:pt x="397" y="27"/>
                  </a:lnTo>
                  <a:lnTo>
                    <a:pt x="397" y="27"/>
                  </a:lnTo>
                  <a:lnTo>
                    <a:pt x="397" y="29"/>
                  </a:lnTo>
                  <a:lnTo>
                    <a:pt x="397" y="29"/>
                  </a:lnTo>
                  <a:lnTo>
                    <a:pt x="397" y="29"/>
                  </a:lnTo>
                  <a:lnTo>
                    <a:pt x="397" y="31"/>
                  </a:lnTo>
                  <a:lnTo>
                    <a:pt x="397" y="31"/>
                  </a:lnTo>
                  <a:lnTo>
                    <a:pt x="397" y="31"/>
                  </a:lnTo>
                  <a:lnTo>
                    <a:pt x="397" y="31"/>
                  </a:lnTo>
                  <a:lnTo>
                    <a:pt x="397" y="33"/>
                  </a:lnTo>
                  <a:lnTo>
                    <a:pt x="395" y="37"/>
                  </a:lnTo>
                  <a:lnTo>
                    <a:pt x="393" y="39"/>
                  </a:lnTo>
                  <a:lnTo>
                    <a:pt x="391" y="43"/>
                  </a:lnTo>
                  <a:lnTo>
                    <a:pt x="389" y="47"/>
                  </a:lnTo>
                  <a:lnTo>
                    <a:pt x="389" y="47"/>
                  </a:lnTo>
                  <a:lnTo>
                    <a:pt x="389" y="47"/>
                  </a:lnTo>
                  <a:lnTo>
                    <a:pt x="389" y="47"/>
                  </a:lnTo>
                  <a:lnTo>
                    <a:pt x="389" y="47"/>
                  </a:lnTo>
                  <a:lnTo>
                    <a:pt x="389" y="49"/>
                  </a:lnTo>
                  <a:lnTo>
                    <a:pt x="389" y="49"/>
                  </a:lnTo>
                  <a:lnTo>
                    <a:pt x="387" y="53"/>
                  </a:lnTo>
                  <a:lnTo>
                    <a:pt x="387" y="53"/>
                  </a:lnTo>
                  <a:lnTo>
                    <a:pt x="387" y="53"/>
                  </a:lnTo>
                  <a:lnTo>
                    <a:pt x="385" y="56"/>
                  </a:lnTo>
                  <a:lnTo>
                    <a:pt x="385" y="56"/>
                  </a:lnTo>
                  <a:lnTo>
                    <a:pt x="385" y="56"/>
                  </a:lnTo>
                  <a:lnTo>
                    <a:pt x="383" y="56"/>
                  </a:lnTo>
                  <a:lnTo>
                    <a:pt x="383" y="58"/>
                  </a:lnTo>
                  <a:lnTo>
                    <a:pt x="383" y="60"/>
                  </a:lnTo>
                  <a:lnTo>
                    <a:pt x="383" y="60"/>
                  </a:lnTo>
                  <a:lnTo>
                    <a:pt x="383" y="60"/>
                  </a:lnTo>
                  <a:lnTo>
                    <a:pt x="381" y="62"/>
                  </a:lnTo>
                  <a:lnTo>
                    <a:pt x="379" y="62"/>
                  </a:lnTo>
                  <a:lnTo>
                    <a:pt x="379" y="62"/>
                  </a:lnTo>
                  <a:lnTo>
                    <a:pt x="379" y="64"/>
                  </a:lnTo>
                  <a:lnTo>
                    <a:pt x="379" y="62"/>
                  </a:lnTo>
                  <a:lnTo>
                    <a:pt x="377" y="62"/>
                  </a:lnTo>
                  <a:lnTo>
                    <a:pt x="377" y="62"/>
                  </a:lnTo>
                  <a:lnTo>
                    <a:pt x="377" y="62"/>
                  </a:lnTo>
                  <a:lnTo>
                    <a:pt x="377" y="62"/>
                  </a:lnTo>
                  <a:lnTo>
                    <a:pt x="377" y="62"/>
                  </a:lnTo>
                  <a:lnTo>
                    <a:pt x="377" y="62"/>
                  </a:lnTo>
                  <a:lnTo>
                    <a:pt x="374" y="62"/>
                  </a:lnTo>
                  <a:lnTo>
                    <a:pt x="374" y="66"/>
                  </a:lnTo>
                  <a:lnTo>
                    <a:pt x="372" y="70"/>
                  </a:lnTo>
                  <a:lnTo>
                    <a:pt x="370" y="74"/>
                  </a:lnTo>
                  <a:lnTo>
                    <a:pt x="368" y="78"/>
                  </a:lnTo>
                  <a:lnTo>
                    <a:pt x="368" y="78"/>
                  </a:lnTo>
                  <a:lnTo>
                    <a:pt x="368" y="78"/>
                  </a:lnTo>
                  <a:lnTo>
                    <a:pt x="366" y="78"/>
                  </a:lnTo>
                  <a:lnTo>
                    <a:pt x="364" y="78"/>
                  </a:lnTo>
                  <a:lnTo>
                    <a:pt x="360" y="76"/>
                  </a:lnTo>
                  <a:lnTo>
                    <a:pt x="356" y="74"/>
                  </a:lnTo>
                  <a:lnTo>
                    <a:pt x="356" y="74"/>
                  </a:lnTo>
                  <a:lnTo>
                    <a:pt x="356" y="76"/>
                  </a:lnTo>
                  <a:lnTo>
                    <a:pt x="354" y="80"/>
                  </a:lnTo>
                  <a:lnTo>
                    <a:pt x="352" y="82"/>
                  </a:lnTo>
                  <a:lnTo>
                    <a:pt x="352" y="82"/>
                  </a:lnTo>
                  <a:lnTo>
                    <a:pt x="352" y="82"/>
                  </a:lnTo>
                  <a:lnTo>
                    <a:pt x="352" y="84"/>
                  </a:lnTo>
                  <a:lnTo>
                    <a:pt x="352" y="84"/>
                  </a:lnTo>
                  <a:lnTo>
                    <a:pt x="352" y="86"/>
                  </a:lnTo>
                  <a:lnTo>
                    <a:pt x="352" y="88"/>
                  </a:lnTo>
                  <a:lnTo>
                    <a:pt x="350" y="88"/>
                  </a:lnTo>
                  <a:lnTo>
                    <a:pt x="352" y="94"/>
                  </a:lnTo>
                  <a:lnTo>
                    <a:pt x="352" y="94"/>
                  </a:lnTo>
                  <a:lnTo>
                    <a:pt x="350" y="94"/>
                  </a:lnTo>
                  <a:lnTo>
                    <a:pt x="350" y="97"/>
                  </a:lnTo>
                  <a:lnTo>
                    <a:pt x="350" y="97"/>
                  </a:lnTo>
                  <a:lnTo>
                    <a:pt x="348" y="99"/>
                  </a:lnTo>
                  <a:lnTo>
                    <a:pt x="348" y="99"/>
                  </a:lnTo>
                  <a:lnTo>
                    <a:pt x="348" y="101"/>
                  </a:lnTo>
                  <a:lnTo>
                    <a:pt x="348" y="101"/>
                  </a:lnTo>
                  <a:lnTo>
                    <a:pt x="348" y="103"/>
                  </a:lnTo>
                  <a:lnTo>
                    <a:pt x="346" y="105"/>
                  </a:lnTo>
                  <a:lnTo>
                    <a:pt x="346" y="107"/>
                  </a:lnTo>
                  <a:lnTo>
                    <a:pt x="346" y="107"/>
                  </a:lnTo>
                  <a:lnTo>
                    <a:pt x="346" y="107"/>
                  </a:lnTo>
                  <a:lnTo>
                    <a:pt x="346" y="107"/>
                  </a:lnTo>
                  <a:lnTo>
                    <a:pt x="346" y="111"/>
                  </a:lnTo>
                  <a:lnTo>
                    <a:pt x="346" y="111"/>
                  </a:lnTo>
                  <a:lnTo>
                    <a:pt x="346" y="113"/>
                  </a:lnTo>
                  <a:lnTo>
                    <a:pt x="344" y="115"/>
                  </a:lnTo>
                  <a:lnTo>
                    <a:pt x="344" y="119"/>
                  </a:lnTo>
                  <a:lnTo>
                    <a:pt x="340" y="123"/>
                  </a:lnTo>
                  <a:lnTo>
                    <a:pt x="340" y="123"/>
                  </a:lnTo>
                  <a:lnTo>
                    <a:pt x="340" y="123"/>
                  </a:lnTo>
                  <a:lnTo>
                    <a:pt x="340" y="123"/>
                  </a:lnTo>
                  <a:lnTo>
                    <a:pt x="334" y="123"/>
                  </a:lnTo>
                  <a:lnTo>
                    <a:pt x="329" y="123"/>
                  </a:lnTo>
                  <a:lnTo>
                    <a:pt x="325" y="121"/>
                  </a:lnTo>
                  <a:lnTo>
                    <a:pt x="321" y="121"/>
                  </a:lnTo>
                  <a:lnTo>
                    <a:pt x="321" y="121"/>
                  </a:lnTo>
                  <a:lnTo>
                    <a:pt x="321" y="121"/>
                  </a:lnTo>
                  <a:lnTo>
                    <a:pt x="321" y="121"/>
                  </a:lnTo>
                  <a:lnTo>
                    <a:pt x="321" y="119"/>
                  </a:lnTo>
                  <a:lnTo>
                    <a:pt x="321" y="119"/>
                  </a:lnTo>
                  <a:lnTo>
                    <a:pt x="321" y="119"/>
                  </a:lnTo>
                  <a:lnTo>
                    <a:pt x="321" y="119"/>
                  </a:lnTo>
                  <a:lnTo>
                    <a:pt x="321" y="119"/>
                  </a:lnTo>
                  <a:lnTo>
                    <a:pt x="315" y="113"/>
                  </a:lnTo>
                  <a:lnTo>
                    <a:pt x="315" y="113"/>
                  </a:lnTo>
                  <a:lnTo>
                    <a:pt x="315" y="113"/>
                  </a:lnTo>
                  <a:lnTo>
                    <a:pt x="315" y="113"/>
                  </a:lnTo>
                  <a:lnTo>
                    <a:pt x="307" y="111"/>
                  </a:lnTo>
                  <a:lnTo>
                    <a:pt x="307" y="111"/>
                  </a:lnTo>
                  <a:lnTo>
                    <a:pt x="307" y="113"/>
                  </a:lnTo>
                  <a:lnTo>
                    <a:pt x="307" y="113"/>
                  </a:lnTo>
                  <a:lnTo>
                    <a:pt x="307" y="115"/>
                  </a:lnTo>
                  <a:lnTo>
                    <a:pt x="307" y="115"/>
                  </a:lnTo>
                  <a:lnTo>
                    <a:pt x="307" y="117"/>
                  </a:lnTo>
                  <a:lnTo>
                    <a:pt x="307" y="117"/>
                  </a:lnTo>
                  <a:lnTo>
                    <a:pt x="307" y="117"/>
                  </a:lnTo>
                  <a:lnTo>
                    <a:pt x="307" y="119"/>
                  </a:lnTo>
                  <a:lnTo>
                    <a:pt x="307" y="119"/>
                  </a:lnTo>
                  <a:lnTo>
                    <a:pt x="305" y="121"/>
                  </a:lnTo>
                  <a:lnTo>
                    <a:pt x="305" y="123"/>
                  </a:lnTo>
                  <a:lnTo>
                    <a:pt x="305" y="123"/>
                  </a:lnTo>
                  <a:lnTo>
                    <a:pt x="305" y="127"/>
                  </a:lnTo>
                  <a:lnTo>
                    <a:pt x="305" y="129"/>
                  </a:lnTo>
                  <a:lnTo>
                    <a:pt x="305" y="129"/>
                  </a:lnTo>
                  <a:lnTo>
                    <a:pt x="305" y="131"/>
                  </a:lnTo>
                  <a:lnTo>
                    <a:pt x="305" y="133"/>
                  </a:lnTo>
                  <a:lnTo>
                    <a:pt x="305" y="135"/>
                  </a:lnTo>
                  <a:lnTo>
                    <a:pt x="303" y="137"/>
                  </a:lnTo>
                  <a:lnTo>
                    <a:pt x="303" y="137"/>
                  </a:lnTo>
                  <a:lnTo>
                    <a:pt x="301" y="137"/>
                  </a:lnTo>
                  <a:lnTo>
                    <a:pt x="301" y="137"/>
                  </a:lnTo>
                  <a:lnTo>
                    <a:pt x="301" y="140"/>
                  </a:lnTo>
                  <a:lnTo>
                    <a:pt x="301" y="140"/>
                  </a:lnTo>
                  <a:lnTo>
                    <a:pt x="301" y="142"/>
                  </a:lnTo>
                  <a:lnTo>
                    <a:pt x="301" y="142"/>
                  </a:lnTo>
                  <a:lnTo>
                    <a:pt x="299" y="144"/>
                  </a:lnTo>
                  <a:lnTo>
                    <a:pt x="299" y="144"/>
                  </a:lnTo>
                  <a:lnTo>
                    <a:pt x="301" y="146"/>
                  </a:lnTo>
                  <a:lnTo>
                    <a:pt x="301" y="146"/>
                  </a:lnTo>
                  <a:lnTo>
                    <a:pt x="301" y="146"/>
                  </a:lnTo>
                  <a:lnTo>
                    <a:pt x="301" y="148"/>
                  </a:lnTo>
                  <a:lnTo>
                    <a:pt x="301" y="148"/>
                  </a:lnTo>
                  <a:lnTo>
                    <a:pt x="301" y="148"/>
                  </a:lnTo>
                  <a:lnTo>
                    <a:pt x="299" y="150"/>
                  </a:lnTo>
                  <a:lnTo>
                    <a:pt x="297" y="152"/>
                  </a:lnTo>
                  <a:lnTo>
                    <a:pt x="297" y="152"/>
                  </a:lnTo>
                  <a:lnTo>
                    <a:pt x="295" y="156"/>
                  </a:lnTo>
                  <a:lnTo>
                    <a:pt x="293" y="160"/>
                  </a:lnTo>
                  <a:lnTo>
                    <a:pt x="293" y="160"/>
                  </a:lnTo>
                  <a:lnTo>
                    <a:pt x="293" y="160"/>
                  </a:lnTo>
                  <a:lnTo>
                    <a:pt x="293" y="162"/>
                  </a:lnTo>
                  <a:lnTo>
                    <a:pt x="293" y="162"/>
                  </a:lnTo>
                  <a:lnTo>
                    <a:pt x="293" y="162"/>
                  </a:lnTo>
                  <a:lnTo>
                    <a:pt x="293" y="170"/>
                  </a:lnTo>
                  <a:lnTo>
                    <a:pt x="291" y="174"/>
                  </a:lnTo>
                  <a:lnTo>
                    <a:pt x="288" y="178"/>
                  </a:lnTo>
                  <a:lnTo>
                    <a:pt x="286" y="183"/>
                  </a:lnTo>
                  <a:lnTo>
                    <a:pt x="282" y="189"/>
                  </a:lnTo>
                  <a:lnTo>
                    <a:pt x="280" y="193"/>
                  </a:lnTo>
                  <a:lnTo>
                    <a:pt x="278" y="197"/>
                  </a:lnTo>
                  <a:lnTo>
                    <a:pt x="274" y="203"/>
                  </a:lnTo>
                  <a:lnTo>
                    <a:pt x="274" y="203"/>
                  </a:lnTo>
                  <a:lnTo>
                    <a:pt x="274" y="205"/>
                  </a:lnTo>
                  <a:lnTo>
                    <a:pt x="274" y="205"/>
                  </a:lnTo>
                  <a:lnTo>
                    <a:pt x="272" y="211"/>
                  </a:lnTo>
                  <a:lnTo>
                    <a:pt x="270" y="217"/>
                  </a:lnTo>
                  <a:lnTo>
                    <a:pt x="270" y="217"/>
                  </a:lnTo>
                  <a:lnTo>
                    <a:pt x="270" y="219"/>
                  </a:lnTo>
                  <a:lnTo>
                    <a:pt x="270" y="219"/>
                  </a:lnTo>
                  <a:lnTo>
                    <a:pt x="270" y="219"/>
                  </a:lnTo>
                  <a:lnTo>
                    <a:pt x="272" y="219"/>
                  </a:lnTo>
                  <a:lnTo>
                    <a:pt x="272" y="219"/>
                  </a:lnTo>
                  <a:lnTo>
                    <a:pt x="276" y="222"/>
                  </a:lnTo>
                  <a:lnTo>
                    <a:pt x="276" y="222"/>
                  </a:lnTo>
                  <a:lnTo>
                    <a:pt x="276" y="222"/>
                  </a:lnTo>
                  <a:lnTo>
                    <a:pt x="276" y="224"/>
                  </a:lnTo>
                  <a:lnTo>
                    <a:pt x="276" y="224"/>
                  </a:lnTo>
                  <a:lnTo>
                    <a:pt x="276" y="224"/>
                  </a:lnTo>
                  <a:lnTo>
                    <a:pt x="276" y="226"/>
                  </a:lnTo>
                  <a:lnTo>
                    <a:pt x="274" y="226"/>
                  </a:lnTo>
                  <a:lnTo>
                    <a:pt x="272" y="228"/>
                  </a:lnTo>
                  <a:lnTo>
                    <a:pt x="272" y="228"/>
                  </a:lnTo>
                  <a:lnTo>
                    <a:pt x="272" y="228"/>
                  </a:lnTo>
                  <a:lnTo>
                    <a:pt x="272" y="230"/>
                  </a:lnTo>
                  <a:lnTo>
                    <a:pt x="270" y="230"/>
                  </a:lnTo>
                  <a:lnTo>
                    <a:pt x="270" y="232"/>
                  </a:lnTo>
                  <a:lnTo>
                    <a:pt x="270" y="232"/>
                  </a:lnTo>
                  <a:lnTo>
                    <a:pt x="272" y="232"/>
                  </a:lnTo>
                  <a:lnTo>
                    <a:pt x="272" y="232"/>
                  </a:lnTo>
                  <a:lnTo>
                    <a:pt x="272" y="232"/>
                  </a:lnTo>
                  <a:lnTo>
                    <a:pt x="272" y="234"/>
                  </a:lnTo>
                  <a:lnTo>
                    <a:pt x="274" y="234"/>
                  </a:lnTo>
                  <a:lnTo>
                    <a:pt x="274" y="234"/>
                  </a:lnTo>
                  <a:lnTo>
                    <a:pt x="274" y="236"/>
                  </a:lnTo>
                  <a:lnTo>
                    <a:pt x="272" y="236"/>
                  </a:lnTo>
                  <a:lnTo>
                    <a:pt x="264" y="244"/>
                  </a:lnTo>
                  <a:lnTo>
                    <a:pt x="262" y="246"/>
                  </a:lnTo>
                  <a:lnTo>
                    <a:pt x="262" y="246"/>
                  </a:lnTo>
                  <a:lnTo>
                    <a:pt x="260" y="246"/>
                  </a:lnTo>
                  <a:lnTo>
                    <a:pt x="260" y="246"/>
                  </a:lnTo>
                  <a:lnTo>
                    <a:pt x="260" y="246"/>
                  </a:lnTo>
                  <a:lnTo>
                    <a:pt x="260" y="246"/>
                  </a:lnTo>
                  <a:lnTo>
                    <a:pt x="260" y="246"/>
                  </a:lnTo>
                  <a:lnTo>
                    <a:pt x="258" y="246"/>
                  </a:lnTo>
                  <a:lnTo>
                    <a:pt x="258" y="246"/>
                  </a:lnTo>
                  <a:lnTo>
                    <a:pt x="258" y="246"/>
                  </a:lnTo>
                  <a:lnTo>
                    <a:pt x="258" y="244"/>
                  </a:lnTo>
                  <a:lnTo>
                    <a:pt x="258" y="244"/>
                  </a:lnTo>
                  <a:lnTo>
                    <a:pt x="258" y="244"/>
                  </a:lnTo>
                  <a:lnTo>
                    <a:pt x="258" y="244"/>
                  </a:lnTo>
                  <a:lnTo>
                    <a:pt x="256" y="244"/>
                  </a:lnTo>
                  <a:lnTo>
                    <a:pt x="256" y="244"/>
                  </a:lnTo>
                  <a:lnTo>
                    <a:pt x="254" y="244"/>
                  </a:lnTo>
                  <a:lnTo>
                    <a:pt x="252" y="244"/>
                  </a:lnTo>
                  <a:lnTo>
                    <a:pt x="250" y="246"/>
                  </a:lnTo>
                  <a:lnTo>
                    <a:pt x="245" y="250"/>
                  </a:lnTo>
                  <a:lnTo>
                    <a:pt x="241" y="252"/>
                  </a:lnTo>
                  <a:lnTo>
                    <a:pt x="237" y="256"/>
                  </a:lnTo>
                  <a:lnTo>
                    <a:pt x="237" y="256"/>
                  </a:lnTo>
                  <a:lnTo>
                    <a:pt x="237" y="256"/>
                  </a:lnTo>
                  <a:lnTo>
                    <a:pt x="237" y="256"/>
                  </a:lnTo>
                  <a:lnTo>
                    <a:pt x="237" y="256"/>
                  </a:lnTo>
                  <a:lnTo>
                    <a:pt x="237" y="256"/>
                  </a:lnTo>
                  <a:lnTo>
                    <a:pt x="235" y="256"/>
                  </a:lnTo>
                  <a:lnTo>
                    <a:pt x="235" y="254"/>
                  </a:lnTo>
                  <a:lnTo>
                    <a:pt x="235" y="254"/>
                  </a:lnTo>
                  <a:lnTo>
                    <a:pt x="235" y="254"/>
                  </a:lnTo>
                  <a:lnTo>
                    <a:pt x="233" y="254"/>
                  </a:lnTo>
                  <a:lnTo>
                    <a:pt x="233" y="254"/>
                  </a:lnTo>
                  <a:lnTo>
                    <a:pt x="233" y="254"/>
                  </a:lnTo>
                  <a:lnTo>
                    <a:pt x="233" y="254"/>
                  </a:lnTo>
                  <a:lnTo>
                    <a:pt x="233" y="252"/>
                  </a:lnTo>
                  <a:lnTo>
                    <a:pt x="231" y="252"/>
                  </a:lnTo>
                  <a:lnTo>
                    <a:pt x="231" y="252"/>
                  </a:lnTo>
                  <a:lnTo>
                    <a:pt x="229" y="252"/>
                  </a:lnTo>
                  <a:lnTo>
                    <a:pt x="229" y="252"/>
                  </a:lnTo>
                  <a:lnTo>
                    <a:pt x="227" y="252"/>
                  </a:lnTo>
                  <a:lnTo>
                    <a:pt x="227" y="254"/>
                  </a:lnTo>
                  <a:lnTo>
                    <a:pt x="227" y="254"/>
                  </a:lnTo>
                  <a:lnTo>
                    <a:pt x="225" y="254"/>
                  </a:lnTo>
                  <a:lnTo>
                    <a:pt x="225" y="256"/>
                  </a:lnTo>
                  <a:lnTo>
                    <a:pt x="225" y="256"/>
                  </a:lnTo>
                  <a:lnTo>
                    <a:pt x="225" y="256"/>
                  </a:lnTo>
                  <a:lnTo>
                    <a:pt x="225" y="256"/>
                  </a:lnTo>
                  <a:lnTo>
                    <a:pt x="225" y="258"/>
                  </a:lnTo>
                  <a:lnTo>
                    <a:pt x="225" y="258"/>
                  </a:lnTo>
                  <a:lnTo>
                    <a:pt x="227" y="260"/>
                  </a:lnTo>
                  <a:lnTo>
                    <a:pt x="227" y="260"/>
                  </a:lnTo>
                  <a:lnTo>
                    <a:pt x="227" y="262"/>
                  </a:lnTo>
                  <a:lnTo>
                    <a:pt x="227" y="262"/>
                  </a:lnTo>
                  <a:lnTo>
                    <a:pt x="227" y="265"/>
                  </a:lnTo>
                  <a:lnTo>
                    <a:pt x="227" y="265"/>
                  </a:lnTo>
                  <a:lnTo>
                    <a:pt x="221" y="269"/>
                  </a:lnTo>
                  <a:lnTo>
                    <a:pt x="221" y="269"/>
                  </a:lnTo>
                  <a:lnTo>
                    <a:pt x="221" y="269"/>
                  </a:lnTo>
                  <a:lnTo>
                    <a:pt x="219" y="269"/>
                  </a:lnTo>
                  <a:lnTo>
                    <a:pt x="219" y="269"/>
                  </a:lnTo>
                  <a:lnTo>
                    <a:pt x="217" y="269"/>
                  </a:lnTo>
                  <a:lnTo>
                    <a:pt x="215" y="271"/>
                  </a:lnTo>
                  <a:lnTo>
                    <a:pt x="215" y="271"/>
                  </a:lnTo>
                  <a:lnTo>
                    <a:pt x="207" y="273"/>
                  </a:lnTo>
                  <a:lnTo>
                    <a:pt x="200" y="277"/>
                  </a:lnTo>
                  <a:lnTo>
                    <a:pt x="198" y="279"/>
                  </a:lnTo>
                  <a:lnTo>
                    <a:pt x="198" y="277"/>
                  </a:lnTo>
                  <a:lnTo>
                    <a:pt x="198" y="277"/>
                  </a:lnTo>
                  <a:lnTo>
                    <a:pt x="198" y="277"/>
                  </a:lnTo>
                  <a:lnTo>
                    <a:pt x="198" y="277"/>
                  </a:lnTo>
                  <a:lnTo>
                    <a:pt x="198" y="277"/>
                  </a:lnTo>
                  <a:lnTo>
                    <a:pt x="196" y="277"/>
                  </a:lnTo>
                  <a:lnTo>
                    <a:pt x="196" y="275"/>
                  </a:lnTo>
                  <a:lnTo>
                    <a:pt x="192" y="273"/>
                  </a:lnTo>
                  <a:lnTo>
                    <a:pt x="190" y="273"/>
                  </a:lnTo>
                  <a:lnTo>
                    <a:pt x="190" y="273"/>
                  </a:lnTo>
                  <a:lnTo>
                    <a:pt x="188" y="271"/>
                  </a:lnTo>
                  <a:lnTo>
                    <a:pt x="188" y="271"/>
                  </a:lnTo>
                  <a:lnTo>
                    <a:pt x="188" y="271"/>
                  </a:lnTo>
                  <a:lnTo>
                    <a:pt x="186" y="271"/>
                  </a:lnTo>
                  <a:lnTo>
                    <a:pt x="186" y="271"/>
                  </a:lnTo>
                  <a:lnTo>
                    <a:pt x="184" y="271"/>
                  </a:lnTo>
                  <a:lnTo>
                    <a:pt x="184" y="271"/>
                  </a:lnTo>
                  <a:lnTo>
                    <a:pt x="184" y="273"/>
                  </a:lnTo>
                  <a:lnTo>
                    <a:pt x="184" y="273"/>
                  </a:lnTo>
                  <a:lnTo>
                    <a:pt x="184" y="275"/>
                  </a:lnTo>
                  <a:lnTo>
                    <a:pt x="184" y="275"/>
                  </a:lnTo>
                  <a:lnTo>
                    <a:pt x="182" y="277"/>
                  </a:lnTo>
                  <a:lnTo>
                    <a:pt x="182" y="277"/>
                  </a:lnTo>
                  <a:lnTo>
                    <a:pt x="182" y="279"/>
                  </a:lnTo>
                  <a:lnTo>
                    <a:pt x="178" y="279"/>
                  </a:lnTo>
                  <a:lnTo>
                    <a:pt x="176" y="279"/>
                  </a:lnTo>
                  <a:lnTo>
                    <a:pt x="176" y="279"/>
                  </a:lnTo>
                  <a:lnTo>
                    <a:pt x="176" y="281"/>
                  </a:lnTo>
                  <a:lnTo>
                    <a:pt x="172" y="285"/>
                  </a:lnTo>
                  <a:lnTo>
                    <a:pt x="172" y="287"/>
                  </a:lnTo>
                  <a:lnTo>
                    <a:pt x="172" y="287"/>
                  </a:lnTo>
                  <a:lnTo>
                    <a:pt x="170" y="287"/>
                  </a:lnTo>
                  <a:lnTo>
                    <a:pt x="164" y="287"/>
                  </a:lnTo>
                  <a:lnTo>
                    <a:pt x="164" y="287"/>
                  </a:lnTo>
                  <a:lnTo>
                    <a:pt x="159" y="287"/>
                  </a:lnTo>
                  <a:lnTo>
                    <a:pt x="157" y="285"/>
                  </a:lnTo>
                  <a:lnTo>
                    <a:pt x="157" y="285"/>
                  </a:lnTo>
                  <a:lnTo>
                    <a:pt x="155" y="285"/>
                  </a:lnTo>
                  <a:lnTo>
                    <a:pt x="153" y="283"/>
                  </a:lnTo>
                  <a:lnTo>
                    <a:pt x="153" y="283"/>
                  </a:lnTo>
                  <a:lnTo>
                    <a:pt x="153" y="283"/>
                  </a:lnTo>
                  <a:lnTo>
                    <a:pt x="153" y="281"/>
                  </a:lnTo>
                  <a:lnTo>
                    <a:pt x="153" y="281"/>
                  </a:lnTo>
                  <a:lnTo>
                    <a:pt x="151" y="281"/>
                  </a:lnTo>
                  <a:lnTo>
                    <a:pt x="149" y="281"/>
                  </a:lnTo>
                  <a:lnTo>
                    <a:pt x="149" y="281"/>
                  </a:lnTo>
                  <a:lnTo>
                    <a:pt x="147" y="283"/>
                  </a:lnTo>
                  <a:lnTo>
                    <a:pt x="147" y="281"/>
                  </a:lnTo>
                  <a:lnTo>
                    <a:pt x="145" y="281"/>
                  </a:lnTo>
                  <a:lnTo>
                    <a:pt x="145" y="281"/>
                  </a:lnTo>
                  <a:lnTo>
                    <a:pt x="145" y="281"/>
                  </a:lnTo>
                  <a:lnTo>
                    <a:pt x="145" y="281"/>
                  </a:lnTo>
                  <a:lnTo>
                    <a:pt x="143" y="279"/>
                  </a:lnTo>
                  <a:lnTo>
                    <a:pt x="143" y="279"/>
                  </a:lnTo>
                  <a:lnTo>
                    <a:pt x="143" y="277"/>
                  </a:lnTo>
                  <a:lnTo>
                    <a:pt x="141" y="277"/>
                  </a:lnTo>
                  <a:lnTo>
                    <a:pt x="137" y="275"/>
                  </a:lnTo>
                  <a:lnTo>
                    <a:pt x="137" y="275"/>
                  </a:lnTo>
                  <a:lnTo>
                    <a:pt x="137" y="275"/>
                  </a:lnTo>
                  <a:lnTo>
                    <a:pt x="137" y="273"/>
                  </a:lnTo>
                  <a:lnTo>
                    <a:pt x="137" y="273"/>
                  </a:lnTo>
                  <a:lnTo>
                    <a:pt x="135" y="273"/>
                  </a:lnTo>
                  <a:lnTo>
                    <a:pt x="135" y="271"/>
                  </a:lnTo>
                  <a:lnTo>
                    <a:pt x="135" y="269"/>
                  </a:lnTo>
                  <a:lnTo>
                    <a:pt x="135" y="269"/>
                  </a:lnTo>
                  <a:lnTo>
                    <a:pt x="135" y="269"/>
                  </a:lnTo>
                  <a:lnTo>
                    <a:pt x="135" y="269"/>
                  </a:lnTo>
                  <a:lnTo>
                    <a:pt x="135" y="267"/>
                  </a:lnTo>
                  <a:lnTo>
                    <a:pt x="135" y="267"/>
                  </a:lnTo>
                  <a:lnTo>
                    <a:pt x="135" y="267"/>
                  </a:lnTo>
                  <a:lnTo>
                    <a:pt x="131" y="265"/>
                  </a:lnTo>
                  <a:lnTo>
                    <a:pt x="131" y="265"/>
                  </a:lnTo>
                  <a:lnTo>
                    <a:pt x="131" y="265"/>
                  </a:lnTo>
                  <a:lnTo>
                    <a:pt x="131" y="265"/>
                  </a:lnTo>
                  <a:lnTo>
                    <a:pt x="131" y="262"/>
                  </a:lnTo>
                  <a:lnTo>
                    <a:pt x="131" y="262"/>
                  </a:lnTo>
                  <a:lnTo>
                    <a:pt x="133" y="260"/>
                  </a:lnTo>
                  <a:lnTo>
                    <a:pt x="133" y="260"/>
                  </a:lnTo>
                  <a:lnTo>
                    <a:pt x="133" y="260"/>
                  </a:lnTo>
                  <a:lnTo>
                    <a:pt x="133" y="260"/>
                  </a:lnTo>
                  <a:lnTo>
                    <a:pt x="133" y="260"/>
                  </a:lnTo>
                  <a:lnTo>
                    <a:pt x="133" y="258"/>
                  </a:lnTo>
                  <a:lnTo>
                    <a:pt x="133" y="258"/>
                  </a:lnTo>
                  <a:lnTo>
                    <a:pt x="131" y="258"/>
                  </a:lnTo>
                  <a:lnTo>
                    <a:pt x="131" y="258"/>
                  </a:lnTo>
                  <a:lnTo>
                    <a:pt x="131" y="256"/>
                  </a:lnTo>
                  <a:lnTo>
                    <a:pt x="127" y="262"/>
                  </a:lnTo>
                  <a:lnTo>
                    <a:pt x="121" y="269"/>
                  </a:lnTo>
                  <a:lnTo>
                    <a:pt x="116" y="275"/>
                  </a:lnTo>
                  <a:lnTo>
                    <a:pt x="108" y="283"/>
                  </a:lnTo>
                  <a:lnTo>
                    <a:pt x="102" y="291"/>
                  </a:lnTo>
                  <a:lnTo>
                    <a:pt x="100" y="291"/>
                  </a:lnTo>
                  <a:lnTo>
                    <a:pt x="94" y="295"/>
                  </a:lnTo>
                  <a:lnTo>
                    <a:pt x="88" y="299"/>
                  </a:lnTo>
                  <a:lnTo>
                    <a:pt x="80" y="306"/>
                  </a:lnTo>
                  <a:lnTo>
                    <a:pt x="75" y="310"/>
                  </a:lnTo>
                  <a:lnTo>
                    <a:pt x="75" y="312"/>
                  </a:lnTo>
                  <a:lnTo>
                    <a:pt x="73" y="312"/>
                  </a:lnTo>
                  <a:lnTo>
                    <a:pt x="75" y="314"/>
                  </a:lnTo>
                  <a:lnTo>
                    <a:pt x="75" y="316"/>
                  </a:lnTo>
                  <a:lnTo>
                    <a:pt x="75" y="318"/>
                  </a:lnTo>
                  <a:lnTo>
                    <a:pt x="75" y="318"/>
                  </a:lnTo>
                  <a:lnTo>
                    <a:pt x="75" y="318"/>
                  </a:lnTo>
                  <a:lnTo>
                    <a:pt x="75" y="320"/>
                  </a:lnTo>
                  <a:lnTo>
                    <a:pt x="75" y="320"/>
                  </a:lnTo>
                  <a:lnTo>
                    <a:pt x="75" y="320"/>
                  </a:lnTo>
                  <a:lnTo>
                    <a:pt x="73" y="320"/>
                  </a:lnTo>
                  <a:lnTo>
                    <a:pt x="67" y="326"/>
                  </a:lnTo>
                  <a:lnTo>
                    <a:pt x="65" y="328"/>
                  </a:lnTo>
                  <a:lnTo>
                    <a:pt x="65" y="328"/>
                  </a:lnTo>
                  <a:lnTo>
                    <a:pt x="63" y="330"/>
                  </a:lnTo>
                  <a:lnTo>
                    <a:pt x="65" y="332"/>
                  </a:lnTo>
                  <a:lnTo>
                    <a:pt x="65" y="332"/>
                  </a:lnTo>
                  <a:lnTo>
                    <a:pt x="65" y="332"/>
                  </a:lnTo>
                  <a:lnTo>
                    <a:pt x="65" y="334"/>
                  </a:lnTo>
                  <a:lnTo>
                    <a:pt x="65" y="334"/>
                  </a:lnTo>
                  <a:lnTo>
                    <a:pt x="65" y="336"/>
                  </a:lnTo>
                  <a:lnTo>
                    <a:pt x="65" y="336"/>
                  </a:lnTo>
                  <a:lnTo>
                    <a:pt x="65" y="336"/>
                  </a:lnTo>
                  <a:lnTo>
                    <a:pt x="63" y="338"/>
                  </a:lnTo>
                  <a:lnTo>
                    <a:pt x="63" y="338"/>
                  </a:lnTo>
                  <a:lnTo>
                    <a:pt x="57" y="340"/>
                  </a:lnTo>
                  <a:lnTo>
                    <a:pt x="53" y="344"/>
                  </a:lnTo>
                  <a:lnTo>
                    <a:pt x="49" y="344"/>
                  </a:lnTo>
                  <a:lnTo>
                    <a:pt x="49" y="344"/>
                  </a:lnTo>
                  <a:lnTo>
                    <a:pt x="49" y="344"/>
                  </a:lnTo>
                  <a:lnTo>
                    <a:pt x="47" y="347"/>
                  </a:lnTo>
                  <a:lnTo>
                    <a:pt x="47" y="351"/>
                  </a:lnTo>
                  <a:lnTo>
                    <a:pt x="45" y="353"/>
                  </a:lnTo>
                  <a:lnTo>
                    <a:pt x="45" y="353"/>
                  </a:lnTo>
                  <a:lnTo>
                    <a:pt x="45" y="353"/>
                  </a:lnTo>
                  <a:lnTo>
                    <a:pt x="45" y="355"/>
                  </a:lnTo>
                  <a:lnTo>
                    <a:pt x="45" y="355"/>
                  </a:lnTo>
                  <a:lnTo>
                    <a:pt x="45" y="355"/>
                  </a:lnTo>
                  <a:lnTo>
                    <a:pt x="45" y="357"/>
                  </a:lnTo>
                  <a:lnTo>
                    <a:pt x="45" y="357"/>
                  </a:lnTo>
                  <a:lnTo>
                    <a:pt x="43" y="357"/>
                  </a:lnTo>
                  <a:lnTo>
                    <a:pt x="35" y="359"/>
                  </a:lnTo>
                  <a:lnTo>
                    <a:pt x="26" y="363"/>
                  </a:lnTo>
                  <a:lnTo>
                    <a:pt x="24" y="367"/>
                  </a:lnTo>
                  <a:lnTo>
                    <a:pt x="22" y="367"/>
                  </a:lnTo>
                  <a:lnTo>
                    <a:pt x="22" y="367"/>
                  </a:lnTo>
                  <a:lnTo>
                    <a:pt x="20" y="369"/>
                  </a:lnTo>
                  <a:lnTo>
                    <a:pt x="12" y="371"/>
                  </a:lnTo>
                  <a:lnTo>
                    <a:pt x="6" y="375"/>
                  </a:lnTo>
                  <a:lnTo>
                    <a:pt x="6" y="375"/>
                  </a:lnTo>
                  <a:lnTo>
                    <a:pt x="4" y="375"/>
                  </a:lnTo>
                  <a:lnTo>
                    <a:pt x="0" y="379"/>
                  </a:lnTo>
                  <a:lnTo>
                    <a:pt x="10" y="377"/>
                  </a:lnTo>
                  <a:lnTo>
                    <a:pt x="18" y="377"/>
                  </a:lnTo>
                  <a:lnTo>
                    <a:pt x="37" y="373"/>
                  </a:lnTo>
                  <a:lnTo>
                    <a:pt x="45" y="373"/>
                  </a:lnTo>
                  <a:lnTo>
                    <a:pt x="55" y="371"/>
                  </a:lnTo>
                  <a:lnTo>
                    <a:pt x="63" y="371"/>
                  </a:lnTo>
                  <a:lnTo>
                    <a:pt x="71" y="369"/>
                  </a:lnTo>
                  <a:lnTo>
                    <a:pt x="82" y="367"/>
                  </a:lnTo>
                  <a:lnTo>
                    <a:pt x="90" y="367"/>
                  </a:lnTo>
                  <a:lnTo>
                    <a:pt x="100" y="365"/>
                  </a:lnTo>
                  <a:lnTo>
                    <a:pt x="108" y="363"/>
                  </a:lnTo>
                  <a:lnTo>
                    <a:pt x="116" y="361"/>
                  </a:lnTo>
                  <a:lnTo>
                    <a:pt x="127" y="361"/>
                  </a:lnTo>
                  <a:lnTo>
                    <a:pt x="135" y="359"/>
                  </a:lnTo>
                  <a:lnTo>
                    <a:pt x="143" y="357"/>
                  </a:lnTo>
                  <a:lnTo>
                    <a:pt x="147" y="357"/>
                  </a:lnTo>
                  <a:lnTo>
                    <a:pt x="149" y="357"/>
                  </a:lnTo>
                  <a:lnTo>
                    <a:pt x="151" y="355"/>
                  </a:lnTo>
                  <a:lnTo>
                    <a:pt x="151" y="355"/>
                  </a:lnTo>
                  <a:lnTo>
                    <a:pt x="151" y="355"/>
                  </a:lnTo>
                  <a:lnTo>
                    <a:pt x="157" y="353"/>
                  </a:lnTo>
                  <a:lnTo>
                    <a:pt x="166" y="353"/>
                  </a:lnTo>
                  <a:lnTo>
                    <a:pt x="174" y="351"/>
                  </a:lnTo>
                  <a:lnTo>
                    <a:pt x="174" y="353"/>
                  </a:lnTo>
                  <a:lnTo>
                    <a:pt x="174" y="353"/>
                  </a:lnTo>
                  <a:lnTo>
                    <a:pt x="176" y="353"/>
                  </a:lnTo>
                  <a:lnTo>
                    <a:pt x="176" y="353"/>
                  </a:lnTo>
                  <a:lnTo>
                    <a:pt x="192" y="351"/>
                  </a:lnTo>
                  <a:lnTo>
                    <a:pt x="207" y="349"/>
                  </a:lnTo>
                  <a:lnTo>
                    <a:pt x="221" y="344"/>
                  </a:lnTo>
                  <a:lnTo>
                    <a:pt x="237" y="342"/>
                  </a:lnTo>
                  <a:lnTo>
                    <a:pt x="252" y="340"/>
                  </a:lnTo>
                  <a:lnTo>
                    <a:pt x="266" y="338"/>
                  </a:lnTo>
                  <a:lnTo>
                    <a:pt x="282" y="336"/>
                  </a:lnTo>
                  <a:lnTo>
                    <a:pt x="297" y="332"/>
                  </a:lnTo>
                  <a:lnTo>
                    <a:pt x="311" y="330"/>
                  </a:lnTo>
                  <a:lnTo>
                    <a:pt x="327" y="328"/>
                  </a:lnTo>
                  <a:lnTo>
                    <a:pt x="342" y="326"/>
                  </a:lnTo>
                  <a:lnTo>
                    <a:pt x="356" y="322"/>
                  </a:lnTo>
                  <a:lnTo>
                    <a:pt x="372" y="320"/>
                  </a:lnTo>
                  <a:lnTo>
                    <a:pt x="387" y="318"/>
                  </a:lnTo>
                  <a:lnTo>
                    <a:pt x="401" y="314"/>
                  </a:lnTo>
                  <a:lnTo>
                    <a:pt x="417" y="312"/>
                  </a:lnTo>
                  <a:lnTo>
                    <a:pt x="432" y="310"/>
                  </a:lnTo>
                  <a:lnTo>
                    <a:pt x="446" y="306"/>
                  </a:lnTo>
                  <a:lnTo>
                    <a:pt x="461" y="303"/>
                  </a:lnTo>
                  <a:lnTo>
                    <a:pt x="477" y="301"/>
                  </a:lnTo>
                  <a:lnTo>
                    <a:pt x="491" y="297"/>
                  </a:lnTo>
                  <a:lnTo>
                    <a:pt x="506" y="295"/>
                  </a:lnTo>
                  <a:lnTo>
                    <a:pt x="522" y="291"/>
                  </a:lnTo>
                  <a:lnTo>
                    <a:pt x="536" y="289"/>
                  </a:lnTo>
                  <a:lnTo>
                    <a:pt x="551" y="285"/>
                  </a:lnTo>
                  <a:lnTo>
                    <a:pt x="567" y="283"/>
                  </a:lnTo>
                  <a:lnTo>
                    <a:pt x="581" y="279"/>
                  </a:lnTo>
                  <a:lnTo>
                    <a:pt x="596" y="277"/>
                  </a:lnTo>
                  <a:lnTo>
                    <a:pt x="610" y="275"/>
                  </a:lnTo>
                  <a:lnTo>
                    <a:pt x="626" y="271"/>
                  </a:lnTo>
                  <a:lnTo>
                    <a:pt x="641" y="269"/>
                  </a:lnTo>
                  <a:lnTo>
                    <a:pt x="653" y="265"/>
                  </a:lnTo>
                  <a:lnTo>
                    <a:pt x="655" y="265"/>
                  </a:lnTo>
                  <a:lnTo>
                    <a:pt x="655" y="265"/>
                  </a:lnTo>
                  <a:lnTo>
                    <a:pt x="655" y="262"/>
                  </a:lnTo>
                  <a:lnTo>
                    <a:pt x="653" y="262"/>
                  </a:lnTo>
                  <a:lnTo>
                    <a:pt x="653" y="260"/>
                  </a:lnTo>
                  <a:lnTo>
                    <a:pt x="657" y="265"/>
                  </a:lnTo>
                  <a:lnTo>
                    <a:pt x="661" y="262"/>
                  </a:lnTo>
                  <a:lnTo>
                    <a:pt x="661" y="262"/>
                  </a:lnTo>
                  <a:lnTo>
                    <a:pt x="659" y="258"/>
                  </a:lnTo>
                  <a:lnTo>
                    <a:pt x="657" y="246"/>
                  </a:lnTo>
                  <a:lnTo>
                    <a:pt x="657" y="246"/>
                  </a:lnTo>
                  <a:lnTo>
                    <a:pt x="659" y="246"/>
                  </a:lnTo>
                  <a:lnTo>
                    <a:pt x="659" y="246"/>
                  </a:lnTo>
                  <a:lnTo>
                    <a:pt x="661" y="246"/>
                  </a:lnTo>
                  <a:lnTo>
                    <a:pt x="661" y="248"/>
                  </a:lnTo>
                  <a:lnTo>
                    <a:pt x="665" y="254"/>
                  </a:lnTo>
                  <a:lnTo>
                    <a:pt x="665" y="254"/>
                  </a:lnTo>
                  <a:lnTo>
                    <a:pt x="667" y="256"/>
                  </a:lnTo>
                  <a:lnTo>
                    <a:pt x="667" y="256"/>
                  </a:lnTo>
                  <a:lnTo>
                    <a:pt x="667" y="258"/>
                  </a:lnTo>
                  <a:lnTo>
                    <a:pt x="667" y="258"/>
                  </a:lnTo>
                  <a:lnTo>
                    <a:pt x="667" y="260"/>
                  </a:lnTo>
                  <a:lnTo>
                    <a:pt x="669" y="262"/>
                  </a:lnTo>
                  <a:lnTo>
                    <a:pt x="669" y="262"/>
                  </a:lnTo>
                  <a:lnTo>
                    <a:pt x="671" y="260"/>
                  </a:lnTo>
                  <a:lnTo>
                    <a:pt x="669" y="256"/>
                  </a:lnTo>
                  <a:lnTo>
                    <a:pt x="655" y="236"/>
                  </a:lnTo>
                  <a:close/>
                </a:path>
              </a:pathLst>
            </a:custGeom>
            <a:solidFill>
              <a:schemeClr val="bg1">
                <a:lumMod val="75000"/>
              </a:schemeClr>
            </a:solidFill>
            <a:ln w="3175" cap="rnd">
              <a:solidFill>
                <a:schemeClr val="bg1"/>
              </a:solidFill>
              <a:prstDash val="solid"/>
              <a:round/>
              <a:headEnd/>
              <a:tailEnd/>
            </a:ln>
          </p:spPr>
          <p:txBody>
            <a:bodyPr vert="horz" wrap="square" lIns="19200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VA</a:t>
              </a:r>
            </a:p>
          </p:txBody>
        </p:sp>
        <p:sp>
          <p:nvSpPr>
            <p:cNvPr id="71" name="Freeform 11">
              <a:extLst>
                <a:ext uri="{FF2B5EF4-FFF2-40B4-BE49-F238E27FC236}">
                  <a16:creationId xmlns:a16="http://schemas.microsoft.com/office/drawing/2014/main" id="{EA888EBD-D35F-295B-154A-FDB629A28806}"/>
                </a:ext>
              </a:extLst>
            </p:cNvPr>
            <p:cNvSpPr>
              <a:spLocks/>
            </p:cNvSpPr>
            <p:nvPr/>
          </p:nvSpPr>
          <p:spPr bwMode="auto">
            <a:xfrm>
              <a:off x="1511" y="836"/>
              <a:ext cx="467" cy="576"/>
            </a:xfrm>
            <a:custGeom>
              <a:avLst/>
              <a:gdLst>
                <a:gd name="T0" fmla="*/ 309 w 467"/>
                <a:gd name="T1" fmla="*/ 41 h 576"/>
                <a:gd name="T2" fmla="*/ 307 w 467"/>
                <a:gd name="T3" fmla="*/ 62 h 576"/>
                <a:gd name="T4" fmla="*/ 307 w 467"/>
                <a:gd name="T5" fmla="*/ 80 h 576"/>
                <a:gd name="T6" fmla="*/ 305 w 467"/>
                <a:gd name="T7" fmla="*/ 101 h 576"/>
                <a:gd name="T8" fmla="*/ 303 w 467"/>
                <a:gd name="T9" fmla="*/ 121 h 576"/>
                <a:gd name="T10" fmla="*/ 301 w 467"/>
                <a:gd name="T11" fmla="*/ 133 h 576"/>
                <a:gd name="T12" fmla="*/ 301 w 467"/>
                <a:gd name="T13" fmla="*/ 133 h 576"/>
                <a:gd name="T14" fmla="*/ 301 w 467"/>
                <a:gd name="T15" fmla="*/ 133 h 576"/>
                <a:gd name="T16" fmla="*/ 332 w 467"/>
                <a:gd name="T17" fmla="*/ 137 h 576"/>
                <a:gd name="T18" fmla="*/ 362 w 467"/>
                <a:gd name="T19" fmla="*/ 140 h 576"/>
                <a:gd name="T20" fmla="*/ 393 w 467"/>
                <a:gd name="T21" fmla="*/ 142 h 576"/>
                <a:gd name="T22" fmla="*/ 424 w 467"/>
                <a:gd name="T23" fmla="*/ 146 h 576"/>
                <a:gd name="T24" fmla="*/ 457 w 467"/>
                <a:gd name="T25" fmla="*/ 148 h 576"/>
                <a:gd name="T26" fmla="*/ 465 w 467"/>
                <a:gd name="T27" fmla="*/ 174 h 576"/>
                <a:gd name="T28" fmla="*/ 461 w 467"/>
                <a:gd name="T29" fmla="*/ 215 h 576"/>
                <a:gd name="T30" fmla="*/ 457 w 467"/>
                <a:gd name="T31" fmla="*/ 254 h 576"/>
                <a:gd name="T32" fmla="*/ 455 w 467"/>
                <a:gd name="T33" fmla="*/ 295 h 576"/>
                <a:gd name="T34" fmla="*/ 451 w 467"/>
                <a:gd name="T35" fmla="*/ 334 h 576"/>
                <a:gd name="T36" fmla="*/ 448 w 467"/>
                <a:gd name="T37" fmla="*/ 375 h 576"/>
                <a:gd name="T38" fmla="*/ 444 w 467"/>
                <a:gd name="T39" fmla="*/ 414 h 576"/>
                <a:gd name="T40" fmla="*/ 440 w 467"/>
                <a:gd name="T41" fmla="*/ 455 h 576"/>
                <a:gd name="T42" fmla="*/ 438 w 467"/>
                <a:gd name="T43" fmla="*/ 496 h 576"/>
                <a:gd name="T44" fmla="*/ 434 w 467"/>
                <a:gd name="T45" fmla="*/ 535 h 576"/>
                <a:gd name="T46" fmla="*/ 432 w 467"/>
                <a:gd name="T47" fmla="*/ 576 h 576"/>
                <a:gd name="T48" fmla="*/ 391 w 467"/>
                <a:gd name="T49" fmla="*/ 572 h 576"/>
                <a:gd name="T50" fmla="*/ 350 w 467"/>
                <a:gd name="T51" fmla="*/ 568 h 576"/>
                <a:gd name="T52" fmla="*/ 309 w 467"/>
                <a:gd name="T53" fmla="*/ 564 h 576"/>
                <a:gd name="T54" fmla="*/ 270 w 467"/>
                <a:gd name="T55" fmla="*/ 562 h 576"/>
                <a:gd name="T56" fmla="*/ 229 w 467"/>
                <a:gd name="T57" fmla="*/ 558 h 576"/>
                <a:gd name="T58" fmla="*/ 188 w 467"/>
                <a:gd name="T59" fmla="*/ 551 h 576"/>
                <a:gd name="T60" fmla="*/ 149 w 467"/>
                <a:gd name="T61" fmla="*/ 547 h 576"/>
                <a:gd name="T62" fmla="*/ 108 w 467"/>
                <a:gd name="T63" fmla="*/ 543 h 576"/>
                <a:gd name="T64" fmla="*/ 68 w 467"/>
                <a:gd name="T65" fmla="*/ 539 h 576"/>
                <a:gd name="T66" fmla="*/ 27 w 467"/>
                <a:gd name="T67" fmla="*/ 533 h 576"/>
                <a:gd name="T68" fmla="*/ 2 w 467"/>
                <a:gd name="T69" fmla="*/ 513 h 576"/>
                <a:gd name="T70" fmla="*/ 8 w 467"/>
                <a:gd name="T71" fmla="*/ 463 h 576"/>
                <a:gd name="T72" fmla="*/ 16 w 467"/>
                <a:gd name="T73" fmla="*/ 414 h 576"/>
                <a:gd name="T74" fmla="*/ 22 w 467"/>
                <a:gd name="T75" fmla="*/ 363 h 576"/>
                <a:gd name="T76" fmla="*/ 29 w 467"/>
                <a:gd name="T77" fmla="*/ 314 h 576"/>
                <a:gd name="T78" fmla="*/ 35 w 467"/>
                <a:gd name="T79" fmla="*/ 265 h 576"/>
                <a:gd name="T80" fmla="*/ 41 w 467"/>
                <a:gd name="T81" fmla="*/ 215 h 576"/>
                <a:gd name="T82" fmla="*/ 47 w 467"/>
                <a:gd name="T83" fmla="*/ 164 h 576"/>
                <a:gd name="T84" fmla="*/ 53 w 467"/>
                <a:gd name="T85" fmla="*/ 115 h 576"/>
                <a:gd name="T86" fmla="*/ 59 w 467"/>
                <a:gd name="T87" fmla="*/ 66 h 576"/>
                <a:gd name="T88" fmla="*/ 65 w 467"/>
                <a:gd name="T89" fmla="*/ 17 h 576"/>
                <a:gd name="T90" fmla="*/ 98 w 467"/>
                <a:gd name="T91" fmla="*/ 4 h 576"/>
                <a:gd name="T92" fmla="*/ 143 w 467"/>
                <a:gd name="T93" fmla="*/ 10 h 576"/>
                <a:gd name="T94" fmla="*/ 190 w 467"/>
                <a:gd name="T95" fmla="*/ 15 h 576"/>
                <a:gd name="T96" fmla="*/ 235 w 467"/>
                <a:gd name="T97" fmla="*/ 21 h 576"/>
                <a:gd name="T98" fmla="*/ 281 w 467"/>
                <a:gd name="T99" fmla="*/ 25 h 576"/>
                <a:gd name="T100" fmla="*/ 311 w 467"/>
                <a:gd name="T101" fmla="*/ 29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7" h="576">
                  <a:moveTo>
                    <a:pt x="311" y="29"/>
                  </a:moveTo>
                  <a:lnTo>
                    <a:pt x="311" y="35"/>
                  </a:lnTo>
                  <a:lnTo>
                    <a:pt x="309" y="41"/>
                  </a:lnTo>
                  <a:lnTo>
                    <a:pt x="309" y="47"/>
                  </a:lnTo>
                  <a:lnTo>
                    <a:pt x="309" y="53"/>
                  </a:lnTo>
                  <a:lnTo>
                    <a:pt x="307" y="62"/>
                  </a:lnTo>
                  <a:lnTo>
                    <a:pt x="307" y="68"/>
                  </a:lnTo>
                  <a:lnTo>
                    <a:pt x="307" y="74"/>
                  </a:lnTo>
                  <a:lnTo>
                    <a:pt x="307" y="80"/>
                  </a:lnTo>
                  <a:lnTo>
                    <a:pt x="305" y="88"/>
                  </a:lnTo>
                  <a:lnTo>
                    <a:pt x="305" y="94"/>
                  </a:lnTo>
                  <a:lnTo>
                    <a:pt x="305" y="101"/>
                  </a:lnTo>
                  <a:lnTo>
                    <a:pt x="303" y="107"/>
                  </a:lnTo>
                  <a:lnTo>
                    <a:pt x="303" y="113"/>
                  </a:lnTo>
                  <a:lnTo>
                    <a:pt x="303" y="121"/>
                  </a:lnTo>
                  <a:lnTo>
                    <a:pt x="301" y="127"/>
                  </a:lnTo>
                  <a:lnTo>
                    <a:pt x="301" y="133"/>
                  </a:lnTo>
                  <a:lnTo>
                    <a:pt x="301" y="133"/>
                  </a:lnTo>
                  <a:lnTo>
                    <a:pt x="301" y="133"/>
                  </a:lnTo>
                  <a:lnTo>
                    <a:pt x="301" y="133"/>
                  </a:lnTo>
                  <a:lnTo>
                    <a:pt x="301" y="133"/>
                  </a:lnTo>
                  <a:lnTo>
                    <a:pt x="301" y="133"/>
                  </a:lnTo>
                  <a:lnTo>
                    <a:pt x="301" y="133"/>
                  </a:lnTo>
                  <a:lnTo>
                    <a:pt x="301" y="133"/>
                  </a:lnTo>
                  <a:lnTo>
                    <a:pt x="311" y="135"/>
                  </a:lnTo>
                  <a:lnTo>
                    <a:pt x="321" y="135"/>
                  </a:lnTo>
                  <a:lnTo>
                    <a:pt x="332" y="137"/>
                  </a:lnTo>
                  <a:lnTo>
                    <a:pt x="342" y="137"/>
                  </a:lnTo>
                  <a:lnTo>
                    <a:pt x="352" y="140"/>
                  </a:lnTo>
                  <a:lnTo>
                    <a:pt x="362" y="140"/>
                  </a:lnTo>
                  <a:lnTo>
                    <a:pt x="373" y="142"/>
                  </a:lnTo>
                  <a:lnTo>
                    <a:pt x="383" y="142"/>
                  </a:lnTo>
                  <a:lnTo>
                    <a:pt x="393" y="142"/>
                  </a:lnTo>
                  <a:lnTo>
                    <a:pt x="403" y="144"/>
                  </a:lnTo>
                  <a:lnTo>
                    <a:pt x="414" y="144"/>
                  </a:lnTo>
                  <a:lnTo>
                    <a:pt x="424" y="146"/>
                  </a:lnTo>
                  <a:lnTo>
                    <a:pt x="436" y="146"/>
                  </a:lnTo>
                  <a:lnTo>
                    <a:pt x="446" y="148"/>
                  </a:lnTo>
                  <a:lnTo>
                    <a:pt x="457" y="148"/>
                  </a:lnTo>
                  <a:lnTo>
                    <a:pt x="467" y="150"/>
                  </a:lnTo>
                  <a:lnTo>
                    <a:pt x="465" y="162"/>
                  </a:lnTo>
                  <a:lnTo>
                    <a:pt x="465" y="174"/>
                  </a:lnTo>
                  <a:lnTo>
                    <a:pt x="463" y="189"/>
                  </a:lnTo>
                  <a:lnTo>
                    <a:pt x="463" y="201"/>
                  </a:lnTo>
                  <a:lnTo>
                    <a:pt x="461" y="215"/>
                  </a:lnTo>
                  <a:lnTo>
                    <a:pt x="459" y="228"/>
                  </a:lnTo>
                  <a:lnTo>
                    <a:pt x="459" y="242"/>
                  </a:lnTo>
                  <a:lnTo>
                    <a:pt x="457" y="254"/>
                  </a:lnTo>
                  <a:lnTo>
                    <a:pt x="457" y="269"/>
                  </a:lnTo>
                  <a:lnTo>
                    <a:pt x="455" y="281"/>
                  </a:lnTo>
                  <a:lnTo>
                    <a:pt x="455" y="295"/>
                  </a:lnTo>
                  <a:lnTo>
                    <a:pt x="453" y="308"/>
                  </a:lnTo>
                  <a:lnTo>
                    <a:pt x="453" y="322"/>
                  </a:lnTo>
                  <a:lnTo>
                    <a:pt x="451" y="334"/>
                  </a:lnTo>
                  <a:lnTo>
                    <a:pt x="451" y="349"/>
                  </a:lnTo>
                  <a:lnTo>
                    <a:pt x="448" y="361"/>
                  </a:lnTo>
                  <a:lnTo>
                    <a:pt x="448" y="375"/>
                  </a:lnTo>
                  <a:lnTo>
                    <a:pt x="446" y="388"/>
                  </a:lnTo>
                  <a:lnTo>
                    <a:pt x="446" y="402"/>
                  </a:lnTo>
                  <a:lnTo>
                    <a:pt x="444" y="414"/>
                  </a:lnTo>
                  <a:lnTo>
                    <a:pt x="442" y="428"/>
                  </a:lnTo>
                  <a:lnTo>
                    <a:pt x="442" y="441"/>
                  </a:lnTo>
                  <a:lnTo>
                    <a:pt x="440" y="455"/>
                  </a:lnTo>
                  <a:lnTo>
                    <a:pt x="440" y="469"/>
                  </a:lnTo>
                  <a:lnTo>
                    <a:pt x="438" y="482"/>
                  </a:lnTo>
                  <a:lnTo>
                    <a:pt x="438" y="496"/>
                  </a:lnTo>
                  <a:lnTo>
                    <a:pt x="436" y="508"/>
                  </a:lnTo>
                  <a:lnTo>
                    <a:pt x="436" y="523"/>
                  </a:lnTo>
                  <a:lnTo>
                    <a:pt x="434" y="535"/>
                  </a:lnTo>
                  <a:lnTo>
                    <a:pt x="434" y="549"/>
                  </a:lnTo>
                  <a:lnTo>
                    <a:pt x="432" y="562"/>
                  </a:lnTo>
                  <a:lnTo>
                    <a:pt x="432" y="576"/>
                  </a:lnTo>
                  <a:lnTo>
                    <a:pt x="418" y="574"/>
                  </a:lnTo>
                  <a:lnTo>
                    <a:pt x="403" y="574"/>
                  </a:lnTo>
                  <a:lnTo>
                    <a:pt x="391" y="572"/>
                  </a:lnTo>
                  <a:lnTo>
                    <a:pt x="377" y="570"/>
                  </a:lnTo>
                  <a:lnTo>
                    <a:pt x="364" y="570"/>
                  </a:lnTo>
                  <a:lnTo>
                    <a:pt x="350" y="568"/>
                  </a:lnTo>
                  <a:lnTo>
                    <a:pt x="338" y="568"/>
                  </a:lnTo>
                  <a:lnTo>
                    <a:pt x="324" y="566"/>
                  </a:lnTo>
                  <a:lnTo>
                    <a:pt x="309" y="564"/>
                  </a:lnTo>
                  <a:lnTo>
                    <a:pt x="297" y="564"/>
                  </a:lnTo>
                  <a:lnTo>
                    <a:pt x="283" y="562"/>
                  </a:lnTo>
                  <a:lnTo>
                    <a:pt x="270" y="562"/>
                  </a:lnTo>
                  <a:lnTo>
                    <a:pt x="256" y="560"/>
                  </a:lnTo>
                  <a:lnTo>
                    <a:pt x="242" y="558"/>
                  </a:lnTo>
                  <a:lnTo>
                    <a:pt x="229" y="558"/>
                  </a:lnTo>
                  <a:lnTo>
                    <a:pt x="215" y="556"/>
                  </a:lnTo>
                  <a:lnTo>
                    <a:pt x="203" y="554"/>
                  </a:lnTo>
                  <a:lnTo>
                    <a:pt x="188" y="551"/>
                  </a:lnTo>
                  <a:lnTo>
                    <a:pt x="176" y="551"/>
                  </a:lnTo>
                  <a:lnTo>
                    <a:pt x="162" y="549"/>
                  </a:lnTo>
                  <a:lnTo>
                    <a:pt x="149" y="547"/>
                  </a:lnTo>
                  <a:lnTo>
                    <a:pt x="135" y="547"/>
                  </a:lnTo>
                  <a:lnTo>
                    <a:pt x="121" y="545"/>
                  </a:lnTo>
                  <a:lnTo>
                    <a:pt x="108" y="543"/>
                  </a:lnTo>
                  <a:lnTo>
                    <a:pt x="94" y="541"/>
                  </a:lnTo>
                  <a:lnTo>
                    <a:pt x="82" y="539"/>
                  </a:lnTo>
                  <a:lnTo>
                    <a:pt x="68" y="539"/>
                  </a:lnTo>
                  <a:lnTo>
                    <a:pt x="55" y="537"/>
                  </a:lnTo>
                  <a:lnTo>
                    <a:pt x="41" y="535"/>
                  </a:lnTo>
                  <a:lnTo>
                    <a:pt x="27" y="533"/>
                  </a:lnTo>
                  <a:lnTo>
                    <a:pt x="14" y="531"/>
                  </a:lnTo>
                  <a:lnTo>
                    <a:pt x="0" y="531"/>
                  </a:lnTo>
                  <a:lnTo>
                    <a:pt x="2" y="513"/>
                  </a:lnTo>
                  <a:lnTo>
                    <a:pt x="4" y="496"/>
                  </a:lnTo>
                  <a:lnTo>
                    <a:pt x="6" y="480"/>
                  </a:lnTo>
                  <a:lnTo>
                    <a:pt x="8" y="463"/>
                  </a:lnTo>
                  <a:lnTo>
                    <a:pt x="12" y="447"/>
                  </a:lnTo>
                  <a:lnTo>
                    <a:pt x="14" y="431"/>
                  </a:lnTo>
                  <a:lnTo>
                    <a:pt x="16" y="414"/>
                  </a:lnTo>
                  <a:lnTo>
                    <a:pt x="18" y="398"/>
                  </a:lnTo>
                  <a:lnTo>
                    <a:pt x="20" y="381"/>
                  </a:lnTo>
                  <a:lnTo>
                    <a:pt x="22" y="363"/>
                  </a:lnTo>
                  <a:lnTo>
                    <a:pt x="25" y="347"/>
                  </a:lnTo>
                  <a:lnTo>
                    <a:pt x="27" y="330"/>
                  </a:lnTo>
                  <a:lnTo>
                    <a:pt x="29" y="314"/>
                  </a:lnTo>
                  <a:lnTo>
                    <a:pt x="31" y="297"/>
                  </a:lnTo>
                  <a:lnTo>
                    <a:pt x="33" y="281"/>
                  </a:lnTo>
                  <a:lnTo>
                    <a:pt x="35" y="265"/>
                  </a:lnTo>
                  <a:lnTo>
                    <a:pt x="37" y="248"/>
                  </a:lnTo>
                  <a:lnTo>
                    <a:pt x="39" y="232"/>
                  </a:lnTo>
                  <a:lnTo>
                    <a:pt x="41" y="215"/>
                  </a:lnTo>
                  <a:lnTo>
                    <a:pt x="43" y="199"/>
                  </a:lnTo>
                  <a:lnTo>
                    <a:pt x="45" y="183"/>
                  </a:lnTo>
                  <a:lnTo>
                    <a:pt x="47" y="164"/>
                  </a:lnTo>
                  <a:lnTo>
                    <a:pt x="49" y="148"/>
                  </a:lnTo>
                  <a:lnTo>
                    <a:pt x="51" y="131"/>
                  </a:lnTo>
                  <a:lnTo>
                    <a:pt x="53" y="115"/>
                  </a:lnTo>
                  <a:lnTo>
                    <a:pt x="55" y="99"/>
                  </a:lnTo>
                  <a:lnTo>
                    <a:pt x="57" y="82"/>
                  </a:lnTo>
                  <a:lnTo>
                    <a:pt x="59" y="66"/>
                  </a:lnTo>
                  <a:lnTo>
                    <a:pt x="61" y="49"/>
                  </a:lnTo>
                  <a:lnTo>
                    <a:pt x="63" y="33"/>
                  </a:lnTo>
                  <a:lnTo>
                    <a:pt x="65" y="17"/>
                  </a:lnTo>
                  <a:lnTo>
                    <a:pt x="68" y="0"/>
                  </a:lnTo>
                  <a:lnTo>
                    <a:pt x="84" y="2"/>
                  </a:lnTo>
                  <a:lnTo>
                    <a:pt x="98" y="4"/>
                  </a:lnTo>
                  <a:lnTo>
                    <a:pt x="113" y="6"/>
                  </a:lnTo>
                  <a:lnTo>
                    <a:pt x="129" y="8"/>
                  </a:lnTo>
                  <a:lnTo>
                    <a:pt x="143" y="10"/>
                  </a:lnTo>
                  <a:lnTo>
                    <a:pt x="160" y="12"/>
                  </a:lnTo>
                  <a:lnTo>
                    <a:pt x="174" y="12"/>
                  </a:lnTo>
                  <a:lnTo>
                    <a:pt x="190" y="15"/>
                  </a:lnTo>
                  <a:lnTo>
                    <a:pt x="205" y="17"/>
                  </a:lnTo>
                  <a:lnTo>
                    <a:pt x="219" y="19"/>
                  </a:lnTo>
                  <a:lnTo>
                    <a:pt x="235" y="21"/>
                  </a:lnTo>
                  <a:lnTo>
                    <a:pt x="250" y="23"/>
                  </a:lnTo>
                  <a:lnTo>
                    <a:pt x="266" y="23"/>
                  </a:lnTo>
                  <a:lnTo>
                    <a:pt x="281" y="25"/>
                  </a:lnTo>
                  <a:lnTo>
                    <a:pt x="297" y="27"/>
                  </a:lnTo>
                  <a:lnTo>
                    <a:pt x="311" y="29"/>
                  </a:lnTo>
                  <a:lnTo>
                    <a:pt x="311" y="29"/>
                  </a:lnTo>
                  <a:close/>
                </a:path>
              </a:pathLst>
            </a:custGeom>
            <a:solidFill>
              <a:schemeClr val="bg1">
                <a:lumMod val="75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UT</a:t>
              </a:r>
            </a:p>
          </p:txBody>
        </p:sp>
        <p:sp>
          <p:nvSpPr>
            <p:cNvPr id="72" name="Freeform 12">
              <a:extLst>
                <a:ext uri="{FF2B5EF4-FFF2-40B4-BE49-F238E27FC236}">
                  <a16:creationId xmlns:a16="http://schemas.microsoft.com/office/drawing/2014/main" id="{9585A2A5-0FC3-6546-7A84-86DAC88695B2}"/>
                </a:ext>
              </a:extLst>
            </p:cNvPr>
            <p:cNvSpPr>
              <a:spLocks noEditPoints="1"/>
            </p:cNvSpPr>
            <p:nvPr/>
          </p:nvSpPr>
          <p:spPr bwMode="auto">
            <a:xfrm>
              <a:off x="2121" y="1494"/>
              <a:ext cx="1211" cy="1150"/>
            </a:xfrm>
            <a:custGeom>
              <a:avLst/>
              <a:gdLst>
                <a:gd name="T0" fmla="*/ 862 w 1211"/>
                <a:gd name="T1" fmla="*/ 1016 h 1150"/>
                <a:gd name="T2" fmla="*/ 871 w 1211"/>
                <a:gd name="T3" fmla="*/ 967 h 1150"/>
                <a:gd name="T4" fmla="*/ 895 w 1211"/>
                <a:gd name="T5" fmla="*/ 930 h 1150"/>
                <a:gd name="T6" fmla="*/ 916 w 1211"/>
                <a:gd name="T7" fmla="*/ 902 h 1150"/>
                <a:gd name="T8" fmla="*/ 969 w 1211"/>
                <a:gd name="T9" fmla="*/ 863 h 1150"/>
                <a:gd name="T10" fmla="*/ 1104 w 1211"/>
                <a:gd name="T11" fmla="*/ 764 h 1150"/>
                <a:gd name="T12" fmla="*/ 1194 w 1211"/>
                <a:gd name="T13" fmla="*/ 541 h 1150"/>
                <a:gd name="T14" fmla="*/ 1178 w 1211"/>
                <a:gd name="T15" fmla="*/ 516 h 1150"/>
                <a:gd name="T16" fmla="*/ 1157 w 1211"/>
                <a:gd name="T17" fmla="*/ 475 h 1150"/>
                <a:gd name="T18" fmla="*/ 1116 w 1211"/>
                <a:gd name="T19" fmla="*/ 305 h 1150"/>
                <a:gd name="T20" fmla="*/ 1065 w 1211"/>
                <a:gd name="T21" fmla="*/ 281 h 1150"/>
                <a:gd name="T22" fmla="*/ 1020 w 1211"/>
                <a:gd name="T23" fmla="*/ 279 h 1150"/>
                <a:gd name="T24" fmla="*/ 987 w 1211"/>
                <a:gd name="T25" fmla="*/ 281 h 1150"/>
                <a:gd name="T26" fmla="*/ 926 w 1211"/>
                <a:gd name="T27" fmla="*/ 291 h 1150"/>
                <a:gd name="T28" fmla="*/ 895 w 1211"/>
                <a:gd name="T29" fmla="*/ 283 h 1150"/>
                <a:gd name="T30" fmla="*/ 862 w 1211"/>
                <a:gd name="T31" fmla="*/ 293 h 1150"/>
                <a:gd name="T32" fmla="*/ 828 w 1211"/>
                <a:gd name="T33" fmla="*/ 275 h 1150"/>
                <a:gd name="T34" fmla="*/ 752 w 1211"/>
                <a:gd name="T35" fmla="*/ 262 h 1150"/>
                <a:gd name="T36" fmla="*/ 674 w 1211"/>
                <a:gd name="T37" fmla="*/ 227 h 1150"/>
                <a:gd name="T38" fmla="*/ 610 w 1211"/>
                <a:gd name="T39" fmla="*/ 156 h 1150"/>
                <a:gd name="T40" fmla="*/ 342 w 1211"/>
                <a:gd name="T41" fmla="*/ 80 h 1150"/>
                <a:gd name="T42" fmla="*/ 127 w 1211"/>
                <a:gd name="T43" fmla="*/ 478 h 1150"/>
                <a:gd name="T44" fmla="*/ 43 w 1211"/>
                <a:gd name="T45" fmla="*/ 533 h 1150"/>
                <a:gd name="T46" fmla="*/ 123 w 1211"/>
                <a:gd name="T47" fmla="*/ 605 h 1150"/>
                <a:gd name="T48" fmla="*/ 156 w 1211"/>
                <a:gd name="T49" fmla="*/ 635 h 1150"/>
                <a:gd name="T50" fmla="*/ 172 w 1211"/>
                <a:gd name="T51" fmla="*/ 693 h 1150"/>
                <a:gd name="T52" fmla="*/ 215 w 1211"/>
                <a:gd name="T53" fmla="*/ 752 h 1150"/>
                <a:gd name="T54" fmla="*/ 299 w 1211"/>
                <a:gd name="T55" fmla="*/ 805 h 1150"/>
                <a:gd name="T56" fmla="*/ 340 w 1211"/>
                <a:gd name="T57" fmla="*/ 771 h 1150"/>
                <a:gd name="T58" fmla="*/ 359 w 1211"/>
                <a:gd name="T59" fmla="*/ 730 h 1150"/>
                <a:gd name="T60" fmla="*/ 410 w 1211"/>
                <a:gd name="T61" fmla="*/ 723 h 1150"/>
                <a:gd name="T62" fmla="*/ 473 w 1211"/>
                <a:gd name="T63" fmla="*/ 725 h 1150"/>
                <a:gd name="T64" fmla="*/ 514 w 1211"/>
                <a:gd name="T65" fmla="*/ 762 h 1150"/>
                <a:gd name="T66" fmla="*/ 555 w 1211"/>
                <a:gd name="T67" fmla="*/ 826 h 1150"/>
                <a:gd name="T68" fmla="*/ 584 w 1211"/>
                <a:gd name="T69" fmla="*/ 887 h 1150"/>
                <a:gd name="T70" fmla="*/ 621 w 1211"/>
                <a:gd name="T71" fmla="*/ 935 h 1150"/>
                <a:gd name="T72" fmla="*/ 658 w 1211"/>
                <a:gd name="T73" fmla="*/ 965 h 1150"/>
                <a:gd name="T74" fmla="*/ 664 w 1211"/>
                <a:gd name="T75" fmla="*/ 1016 h 1150"/>
                <a:gd name="T76" fmla="*/ 701 w 1211"/>
                <a:gd name="T77" fmla="*/ 1092 h 1150"/>
                <a:gd name="T78" fmla="*/ 742 w 1211"/>
                <a:gd name="T79" fmla="*/ 1109 h 1150"/>
                <a:gd name="T80" fmla="*/ 840 w 1211"/>
                <a:gd name="T81" fmla="*/ 1131 h 1150"/>
                <a:gd name="T82" fmla="*/ 877 w 1211"/>
                <a:gd name="T83" fmla="*/ 1137 h 1150"/>
                <a:gd name="T84" fmla="*/ 875 w 1211"/>
                <a:gd name="T85" fmla="*/ 1121 h 1150"/>
                <a:gd name="T86" fmla="*/ 860 w 1211"/>
                <a:gd name="T87" fmla="*/ 1088 h 1150"/>
                <a:gd name="T88" fmla="*/ 846 w 1211"/>
                <a:gd name="T89" fmla="*/ 1031 h 1150"/>
                <a:gd name="T90" fmla="*/ 828 w 1211"/>
                <a:gd name="T91" fmla="*/ 996 h 1150"/>
                <a:gd name="T92" fmla="*/ 848 w 1211"/>
                <a:gd name="T93" fmla="*/ 988 h 1150"/>
                <a:gd name="T94" fmla="*/ 871 w 1211"/>
                <a:gd name="T95" fmla="*/ 957 h 1150"/>
                <a:gd name="T96" fmla="*/ 864 w 1211"/>
                <a:gd name="T97" fmla="*/ 930 h 1150"/>
                <a:gd name="T98" fmla="*/ 887 w 1211"/>
                <a:gd name="T99" fmla="*/ 910 h 1150"/>
                <a:gd name="T100" fmla="*/ 899 w 1211"/>
                <a:gd name="T101" fmla="*/ 902 h 1150"/>
                <a:gd name="T102" fmla="*/ 916 w 1211"/>
                <a:gd name="T103" fmla="*/ 867 h 1150"/>
                <a:gd name="T104" fmla="*/ 944 w 1211"/>
                <a:gd name="T105" fmla="*/ 861 h 1150"/>
                <a:gd name="T106" fmla="*/ 940 w 1211"/>
                <a:gd name="T107" fmla="*/ 846 h 1150"/>
                <a:gd name="T108" fmla="*/ 950 w 1211"/>
                <a:gd name="T109" fmla="*/ 836 h 1150"/>
                <a:gd name="T110" fmla="*/ 971 w 1211"/>
                <a:gd name="T111" fmla="*/ 850 h 1150"/>
                <a:gd name="T112" fmla="*/ 1010 w 1211"/>
                <a:gd name="T113" fmla="*/ 834 h 1150"/>
                <a:gd name="T114" fmla="*/ 1086 w 1211"/>
                <a:gd name="T115" fmla="*/ 766 h 1150"/>
                <a:gd name="T116" fmla="*/ 1079 w 1211"/>
                <a:gd name="T117" fmla="*/ 740 h 1150"/>
                <a:gd name="T118" fmla="*/ 1104 w 1211"/>
                <a:gd name="T119" fmla="*/ 736 h 1150"/>
                <a:gd name="T120" fmla="*/ 1114 w 1211"/>
                <a:gd name="T121" fmla="*/ 752 h 1150"/>
                <a:gd name="T122" fmla="*/ 1196 w 1211"/>
                <a:gd name="T123" fmla="*/ 658 h 1150"/>
                <a:gd name="T124" fmla="*/ 1208 w 1211"/>
                <a:gd name="T125" fmla="*/ 586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1" h="1150">
                  <a:moveTo>
                    <a:pt x="866" y="1057"/>
                  </a:moveTo>
                  <a:lnTo>
                    <a:pt x="868" y="1062"/>
                  </a:lnTo>
                  <a:lnTo>
                    <a:pt x="868" y="1064"/>
                  </a:lnTo>
                  <a:lnTo>
                    <a:pt x="871" y="1066"/>
                  </a:lnTo>
                  <a:lnTo>
                    <a:pt x="871" y="1068"/>
                  </a:lnTo>
                  <a:lnTo>
                    <a:pt x="873" y="1074"/>
                  </a:lnTo>
                  <a:lnTo>
                    <a:pt x="873" y="1076"/>
                  </a:lnTo>
                  <a:lnTo>
                    <a:pt x="877" y="1080"/>
                  </a:lnTo>
                  <a:lnTo>
                    <a:pt x="877" y="1082"/>
                  </a:lnTo>
                  <a:lnTo>
                    <a:pt x="879" y="1090"/>
                  </a:lnTo>
                  <a:lnTo>
                    <a:pt x="879" y="1092"/>
                  </a:lnTo>
                  <a:lnTo>
                    <a:pt x="881" y="1096"/>
                  </a:lnTo>
                  <a:lnTo>
                    <a:pt x="881" y="1098"/>
                  </a:lnTo>
                  <a:lnTo>
                    <a:pt x="883" y="1119"/>
                  </a:lnTo>
                  <a:lnTo>
                    <a:pt x="885" y="1121"/>
                  </a:lnTo>
                  <a:lnTo>
                    <a:pt x="885" y="1121"/>
                  </a:lnTo>
                  <a:lnTo>
                    <a:pt x="887" y="1121"/>
                  </a:lnTo>
                  <a:lnTo>
                    <a:pt x="887" y="1119"/>
                  </a:lnTo>
                  <a:lnTo>
                    <a:pt x="885" y="1113"/>
                  </a:lnTo>
                  <a:lnTo>
                    <a:pt x="883" y="1109"/>
                  </a:lnTo>
                  <a:lnTo>
                    <a:pt x="883" y="1107"/>
                  </a:lnTo>
                  <a:lnTo>
                    <a:pt x="883" y="1103"/>
                  </a:lnTo>
                  <a:lnTo>
                    <a:pt x="883" y="1100"/>
                  </a:lnTo>
                  <a:lnTo>
                    <a:pt x="881" y="1096"/>
                  </a:lnTo>
                  <a:lnTo>
                    <a:pt x="881" y="1090"/>
                  </a:lnTo>
                  <a:lnTo>
                    <a:pt x="879" y="1086"/>
                  </a:lnTo>
                  <a:lnTo>
                    <a:pt x="879" y="1086"/>
                  </a:lnTo>
                  <a:lnTo>
                    <a:pt x="879" y="1084"/>
                  </a:lnTo>
                  <a:lnTo>
                    <a:pt x="868" y="1051"/>
                  </a:lnTo>
                  <a:lnTo>
                    <a:pt x="864" y="1033"/>
                  </a:lnTo>
                  <a:lnTo>
                    <a:pt x="862" y="1004"/>
                  </a:lnTo>
                  <a:lnTo>
                    <a:pt x="862" y="1002"/>
                  </a:lnTo>
                  <a:lnTo>
                    <a:pt x="862" y="1004"/>
                  </a:lnTo>
                  <a:lnTo>
                    <a:pt x="862" y="1010"/>
                  </a:lnTo>
                  <a:lnTo>
                    <a:pt x="860" y="1012"/>
                  </a:lnTo>
                  <a:lnTo>
                    <a:pt x="862" y="1014"/>
                  </a:lnTo>
                  <a:lnTo>
                    <a:pt x="862" y="1016"/>
                  </a:lnTo>
                  <a:lnTo>
                    <a:pt x="860" y="1021"/>
                  </a:lnTo>
                  <a:lnTo>
                    <a:pt x="860" y="1023"/>
                  </a:lnTo>
                  <a:lnTo>
                    <a:pt x="862" y="1025"/>
                  </a:lnTo>
                  <a:lnTo>
                    <a:pt x="862" y="1035"/>
                  </a:lnTo>
                  <a:lnTo>
                    <a:pt x="862" y="1039"/>
                  </a:lnTo>
                  <a:lnTo>
                    <a:pt x="862" y="1043"/>
                  </a:lnTo>
                  <a:lnTo>
                    <a:pt x="864" y="1047"/>
                  </a:lnTo>
                  <a:lnTo>
                    <a:pt x="866" y="1049"/>
                  </a:lnTo>
                  <a:lnTo>
                    <a:pt x="866" y="1049"/>
                  </a:lnTo>
                  <a:lnTo>
                    <a:pt x="866" y="1049"/>
                  </a:lnTo>
                  <a:lnTo>
                    <a:pt x="866" y="1049"/>
                  </a:lnTo>
                  <a:lnTo>
                    <a:pt x="866" y="1051"/>
                  </a:lnTo>
                  <a:lnTo>
                    <a:pt x="864" y="1051"/>
                  </a:lnTo>
                  <a:lnTo>
                    <a:pt x="864" y="1051"/>
                  </a:lnTo>
                  <a:lnTo>
                    <a:pt x="864" y="1051"/>
                  </a:lnTo>
                  <a:lnTo>
                    <a:pt x="866" y="1053"/>
                  </a:lnTo>
                  <a:lnTo>
                    <a:pt x="866" y="1053"/>
                  </a:lnTo>
                  <a:lnTo>
                    <a:pt x="866" y="1053"/>
                  </a:lnTo>
                  <a:lnTo>
                    <a:pt x="866" y="1055"/>
                  </a:lnTo>
                  <a:lnTo>
                    <a:pt x="866" y="1057"/>
                  </a:lnTo>
                  <a:close/>
                  <a:moveTo>
                    <a:pt x="891" y="935"/>
                  </a:moveTo>
                  <a:lnTo>
                    <a:pt x="891" y="937"/>
                  </a:lnTo>
                  <a:lnTo>
                    <a:pt x="891" y="939"/>
                  </a:lnTo>
                  <a:lnTo>
                    <a:pt x="887" y="941"/>
                  </a:lnTo>
                  <a:lnTo>
                    <a:pt x="883" y="945"/>
                  </a:lnTo>
                  <a:lnTo>
                    <a:pt x="879" y="957"/>
                  </a:lnTo>
                  <a:lnTo>
                    <a:pt x="879" y="957"/>
                  </a:lnTo>
                  <a:lnTo>
                    <a:pt x="877" y="955"/>
                  </a:lnTo>
                  <a:lnTo>
                    <a:pt x="877" y="955"/>
                  </a:lnTo>
                  <a:lnTo>
                    <a:pt x="875" y="953"/>
                  </a:lnTo>
                  <a:lnTo>
                    <a:pt x="875" y="955"/>
                  </a:lnTo>
                  <a:lnTo>
                    <a:pt x="875" y="957"/>
                  </a:lnTo>
                  <a:lnTo>
                    <a:pt x="875" y="957"/>
                  </a:lnTo>
                  <a:lnTo>
                    <a:pt x="873" y="959"/>
                  </a:lnTo>
                  <a:lnTo>
                    <a:pt x="875" y="961"/>
                  </a:lnTo>
                  <a:lnTo>
                    <a:pt x="873" y="963"/>
                  </a:lnTo>
                  <a:lnTo>
                    <a:pt x="871" y="967"/>
                  </a:lnTo>
                  <a:lnTo>
                    <a:pt x="868" y="969"/>
                  </a:lnTo>
                  <a:lnTo>
                    <a:pt x="868" y="969"/>
                  </a:lnTo>
                  <a:lnTo>
                    <a:pt x="866" y="973"/>
                  </a:lnTo>
                  <a:lnTo>
                    <a:pt x="866" y="975"/>
                  </a:lnTo>
                  <a:lnTo>
                    <a:pt x="866" y="980"/>
                  </a:lnTo>
                  <a:lnTo>
                    <a:pt x="862" y="988"/>
                  </a:lnTo>
                  <a:lnTo>
                    <a:pt x="862" y="998"/>
                  </a:lnTo>
                  <a:lnTo>
                    <a:pt x="862" y="1000"/>
                  </a:lnTo>
                  <a:lnTo>
                    <a:pt x="862" y="1000"/>
                  </a:lnTo>
                  <a:lnTo>
                    <a:pt x="862" y="1000"/>
                  </a:lnTo>
                  <a:lnTo>
                    <a:pt x="864" y="998"/>
                  </a:lnTo>
                  <a:lnTo>
                    <a:pt x="864" y="996"/>
                  </a:lnTo>
                  <a:lnTo>
                    <a:pt x="866" y="986"/>
                  </a:lnTo>
                  <a:lnTo>
                    <a:pt x="873" y="971"/>
                  </a:lnTo>
                  <a:lnTo>
                    <a:pt x="881" y="953"/>
                  </a:lnTo>
                  <a:lnTo>
                    <a:pt x="893" y="935"/>
                  </a:lnTo>
                  <a:lnTo>
                    <a:pt x="893" y="935"/>
                  </a:lnTo>
                  <a:lnTo>
                    <a:pt x="893" y="932"/>
                  </a:lnTo>
                  <a:lnTo>
                    <a:pt x="891" y="935"/>
                  </a:lnTo>
                  <a:close/>
                  <a:moveTo>
                    <a:pt x="911" y="902"/>
                  </a:moveTo>
                  <a:lnTo>
                    <a:pt x="909" y="902"/>
                  </a:lnTo>
                  <a:lnTo>
                    <a:pt x="907" y="902"/>
                  </a:lnTo>
                  <a:lnTo>
                    <a:pt x="907" y="904"/>
                  </a:lnTo>
                  <a:lnTo>
                    <a:pt x="907" y="904"/>
                  </a:lnTo>
                  <a:lnTo>
                    <a:pt x="907" y="906"/>
                  </a:lnTo>
                  <a:lnTo>
                    <a:pt x="905" y="906"/>
                  </a:lnTo>
                  <a:lnTo>
                    <a:pt x="899" y="916"/>
                  </a:lnTo>
                  <a:lnTo>
                    <a:pt x="899" y="916"/>
                  </a:lnTo>
                  <a:lnTo>
                    <a:pt x="901" y="916"/>
                  </a:lnTo>
                  <a:lnTo>
                    <a:pt x="901" y="916"/>
                  </a:lnTo>
                  <a:lnTo>
                    <a:pt x="901" y="918"/>
                  </a:lnTo>
                  <a:lnTo>
                    <a:pt x="901" y="918"/>
                  </a:lnTo>
                  <a:lnTo>
                    <a:pt x="897" y="922"/>
                  </a:lnTo>
                  <a:lnTo>
                    <a:pt x="895" y="926"/>
                  </a:lnTo>
                  <a:lnTo>
                    <a:pt x="893" y="930"/>
                  </a:lnTo>
                  <a:lnTo>
                    <a:pt x="895" y="932"/>
                  </a:lnTo>
                  <a:lnTo>
                    <a:pt x="895" y="930"/>
                  </a:lnTo>
                  <a:lnTo>
                    <a:pt x="897" y="928"/>
                  </a:lnTo>
                  <a:lnTo>
                    <a:pt x="899" y="924"/>
                  </a:lnTo>
                  <a:lnTo>
                    <a:pt x="903" y="918"/>
                  </a:lnTo>
                  <a:lnTo>
                    <a:pt x="911" y="908"/>
                  </a:lnTo>
                  <a:lnTo>
                    <a:pt x="911" y="908"/>
                  </a:lnTo>
                  <a:lnTo>
                    <a:pt x="911" y="906"/>
                  </a:lnTo>
                  <a:lnTo>
                    <a:pt x="911" y="904"/>
                  </a:lnTo>
                  <a:lnTo>
                    <a:pt x="911" y="904"/>
                  </a:lnTo>
                  <a:lnTo>
                    <a:pt x="911" y="902"/>
                  </a:lnTo>
                  <a:close/>
                  <a:moveTo>
                    <a:pt x="952" y="873"/>
                  </a:moveTo>
                  <a:lnTo>
                    <a:pt x="952" y="873"/>
                  </a:lnTo>
                  <a:lnTo>
                    <a:pt x="950" y="873"/>
                  </a:lnTo>
                  <a:lnTo>
                    <a:pt x="950" y="873"/>
                  </a:lnTo>
                  <a:lnTo>
                    <a:pt x="950" y="873"/>
                  </a:lnTo>
                  <a:lnTo>
                    <a:pt x="950" y="875"/>
                  </a:lnTo>
                  <a:lnTo>
                    <a:pt x="950" y="877"/>
                  </a:lnTo>
                  <a:lnTo>
                    <a:pt x="948" y="877"/>
                  </a:lnTo>
                  <a:lnTo>
                    <a:pt x="948" y="879"/>
                  </a:lnTo>
                  <a:lnTo>
                    <a:pt x="944" y="879"/>
                  </a:lnTo>
                  <a:lnTo>
                    <a:pt x="942" y="879"/>
                  </a:lnTo>
                  <a:lnTo>
                    <a:pt x="942" y="879"/>
                  </a:lnTo>
                  <a:lnTo>
                    <a:pt x="940" y="881"/>
                  </a:lnTo>
                  <a:lnTo>
                    <a:pt x="934" y="883"/>
                  </a:lnTo>
                  <a:lnTo>
                    <a:pt x="934" y="885"/>
                  </a:lnTo>
                  <a:lnTo>
                    <a:pt x="934" y="885"/>
                  </a:lnTo>
                  <a:lnTo>
                    <a:pt x="930" y="887"/>
                  </a:lnTo>
                  <a:lnTo>
                    <a:pt x="928" y="889"/>
                  </a:lnTo>
                  <a:lnTo>
                    <a:pt x="928" y="889"/>
                  </a:lnTo>
                  <a:lnTo>
                    <a:pt x="924" y="894"/>
                  </a:lnTo>
                  <a:lnTo>
                    <a:pt x="924" y="894"/>
                  </a:lnTo>
                  <a:lnTo>
                    <a:pt x="922" y="894"/>
                  </a:lnTo>
                  <a:lnTo>
                    <a:pt x="918" y="896"/>
                  </a:lnTo>
                  <a:lnTo>
                    <a:pt x="918" y="896"/>
                  </a:lnTo>
                  <a:lnTo>
                    <a:pt x="916" y="896"/>
                  </a:lnTo>
                  <a:lnTo>
                    <a:pt x="916" y="898"/>
                  </a:lnTo>
                  <a:lnTo>
                    <a:pt x="916" y="900"/>
                  </a:lnTo>
                  <a:lnTo>
                    <a:pt x="916" y="902"/>
                  </a:lnTo>
                  <a:lnTo>
                    <a:pt x="916" y="902"/>
                  </a:lnTo>
                  <a:lnTo>
                    <a:pt x="916" y="902"/>
                  </a:lnTo>
                  <a:lnTo>
                    <a:pt x="914" y="904"/>
                  </a:lnTo>
                  <a:lnTo>
                    <a:pt x="914" y="906"/>
                  </a:lnTo>
                  <a:lnTo>
                    <a:pt x="914" y="908"/>
                  </a:lnTo>
                  <a:lnTo>
                    <a:pt x="914" y="908"/>
                  </a:lnTo>
                  <a:lnTo>
                    <a:pt x="914" y="906"/>
                  </a:lnTo>
                  <a:lnTo>
                    <a:pt x="916" y="906"/>
                  </a:lnTo>
                  <a:lnTo>
                    <a:pt x="918" y="902"/>
                  </a:lnTo>
                  <a:lnTo>
                    <a:pt x="924" y="898"/>
                  </a:lnTo>
                  <a:lnTo>
                    <a:pt x="926" y="896"/>
                  </a:lnTo>
                  <a:lnTo>
                    <a:pt x="934" y="891"/>
                  </a:lnTo>
                  <a:lnTo>
                    <a:pt x="938" y="885"/>
                  </a:lnTo>
                  <a:lnTo>
                    <a:pt x="942" y="883"/>
                  </a:lnTo>
                  <a:lnTo>
                    <a:pt x="944" y="883"/>
                  </a:lnTo>
                  <a:lnTo>
                    <a:pt x="952" y="879"/>
                  </a:lnTo>
                  <a:lnTo>
                    <a:pt x="952" y="879"/>
                  </a:lnTo>
                  <a:lnTo>
                    <a:pt x="952" y="877"/>
                  </a:lnTo>
                  <a:lnTo>
                    <a:pt x="952" y="877"/>
                  </a:lnTo>
                  <a:lnTo>
                    <a:pt x="952" y="875"/>
                  </a:lnTo>
                  <a:lnTo>
                    <a:pt x="952" y="873"/>
                  </a:lnTo>
                  <a:lnTo>
                    <a:pt x="952" y="873"/>
                  </a:lnTo>
                  <a:close/>
                  <a:moveTo>
                    <a:pt x="965" y="863"/>
                  </a:moveTo>
                  <a:lnTo>
                    <a:pt x="961" y="865"/>
                  </a:lnTo>
                  <a:lnTo>
                    <a:pt x="957" y="871"/>
                  </a:lnTo>
                  <a:lnTo>
                    <a:pt x="957" y="871"/>
                  </a:lnTo>
                  <a:lnTo>
                    <a:pt x="959" y="871"/>
                  </a:lnTo>
                  <a:lnTo>
                    <a:pt x="959" y="869"/>
                  </a:lnTo>
                  <a:lnTo>
                    <a:pt x="963" y="867"/>
                  </a:lnTo>
                  <a:lnTo>
                    <a:pt x="965" y="867"/>
                  </a:lnTo>
                  <a:lnTo>
                    <a:pt x="965" y="865"/>
                  </a:lnTo>
                  <a:lnTo>
                    <a:pt x="967" y="863"/>
                  </a:lnTo>
                  <a:lnTo>
                    <a:pt x="967" y="863"/>
                  </a:lnTo>
                  <a:lnTo>
                    <a:pt x="967" y="863"/>
                  </a:lnTo>
                  <a:lnTo>
                    <a:pt x="967" y="863"/>
                  </a:lnTo>
                  <a:lnTo>
                    <a:pt x="969" y="863"/>
                  </a:lnTo>
                  <a:lnTo>
                    <a:pt x="969" y="863"/>
                  </a:lnTo>
                  <a:lnTo>
                    <a:pt x="969" y="861"/>
                  </a:lnTo>
                  <a:lnTo>
                    <a:pt x="965" y="863"/>
                  </a:lnTo>
                  <a:close/>
                  <a:moveTo>
                    <a:pt x="1098" y="762"/>
                  </a:moveTo>
                  <a:lnTo>
                    <a:pt x="1098" y="762"/>
                  </a:lnTo>
                  <a:lnTo>
                    <a:pt x="1098" y="762"/>
                  </a:lnTo>
                  <a:lnTo>
                    <a:pt x="1098" y="762"/>
                  </a:lnTo>
                  <a:lnTo>
                    <a:pt x="1098" y="762"/>
                  </a:lnTo>
                  <a:lnTo>
                    <a:pt x="1098" y="762"/>
                  </a:lnTo>
                  <a:lnTo>
                    <a:pt x="1098" y="762"/>
                  </a:lnTo>
                  <a:lnTo>
                    <a:pt x="1098" y="762"/>
                  </a:lnTo>
                  <a:lnTo>
                    <a:pt x="1098" y="762"/>
                  </a:lnTo>
                  <a:lnTo>
                    <a:pt x="1096" y="762"/>
                  </a:lnTo>
                  <a:lnTo>
                    <a:pt x="1096" y="764"/>
                  </a:lnTo>
                  <a:lnTo>
                    <a:pt x="1098" y="764"/>
                  </a:lnTo>
                  <a:lnTo>
                    <a:pt x="1098" y="766"/>
                  </a:lnTo>
                  <a:lnTo>
                    <a:pt x="1098" y="766"/>
                  </a:lnTo>
                  <a:lnTo>
                    <a:pt x="1098" y="769"/>
                  </a:lnTo>
                  <a:lnTo>
                    <a:pt x="1096" y="769"/>
                  </a:lnTo>
                  <a:lnTo>
                    <a:pt x="1094" y="769"/>
                  </a:lnTo>
                  <a:lnTo>
                    <a:pt x="1094" y="769"/>
                  </a:lnTo>
                  <a:lnTo>
                    <a:pt x="1094" y="771"/>
                  </a:lnTo>
                  <a:lnTo>
                    <a:pt x="1090" y="775"/>
                  </a:lnTo>
                  <a:lnTo>
                    <a:pt x="1090" y="775"/>
                  </a:lnTo>
                  <a:lnTo>
                    <a:pt x="1088" y="775"/>
                  </a:lnTo>
                  <a:lnTo>
                    <a:pt x="1088" y="775"/>
                  </a:lnTo>
                  <a:lnTo>
                    <a:pt x="1086" y="777"/>
                  </a:lnTo>
                  <a:lnTo>
                    <a:pt x="1086" y="777"/>
                  </a:lnTo>
                  <a:lnTo>
                    <a:pt x="1086" y="779"/>
                  </a:lnTo>
                  <a:lnTo>
                    <a:pt x="1077" y="783"/>
                  </a:lnTo>
                  <a:lnTo>
                    <a:pt x="1075" y="787"/>
                  </a:lnTo>
                  <a:lnTo>
                    <a:pt x="1073" y="789"/>
                  </a:lnTo>
                  <a:lnTo>
                    <a:pt x="1071" y="791"/>
                  </a:lnTo>
                  <a:lnTo>
                    <a:pt x="1073" y="791"/>
                  </a:lnTo>
                  <a:lnTo>
                    <a:pt x="1073" y="789"/>
                  </a:lnTo>
                  <a:lnTo>
                    <a:pt x="1088" y="779"/>
                  </a:lnTo>
                  <a:lnTo>
                    <a:pt x="1092" y="777"/>
                  </a:lnTo>
                  <a:lnTo>
                    <a:pt x="1104" y="764"/>
                  </a:lnTo>
                  <a:lnTo>
                    <a:pt x="1100" y="762"/>
                  </a:lnTo>
                  <a:lnTo>
                    <a:pt x="1098" y="762"/>
                  </a:lnTo>
                  <a:close/>
                  <a:moveTo>
                    <a:pt x="1211" y="574"/>
                  </a:moveTo>
                  <a:lnTo>
                    <a:pt x="1208" y="572"/>
                  </a:lnTo>
                  <a:lnTo>
                    <a:pt x="1206" y="570"/>
                  </a:lnTo>
                  <a:lnTo>
                    <a:pt x="1206" y="568"/>
                  </a:lnTo>
                  <a:lnTo>
                    <a:pt x="1206" y="566"/>
                  </a:lnTo>
                  <a:lnTo>
                    <a:pt x="1206" y="566"/>
                  </a:lnTo>
                  <a:lnTo>
                    <a:pt x="1206" y="559"/>
                  </a:lnTo>
                  <a:lnTo>
                    <a:pt x="1206" y="559"/>
                  </a:lnTo>
                  <a:lnTo>
                    <a:pt x="1204" y="557"/>
                  </a:lnTo>
                  <a:lnTo>
                    <a:pt x="1202" y="559"/>
                  </a:lnTo>
                  <a:lnTo>
                    <a:pt x="1202" y="559"/>
                  </a:lnTo>
                  <a:lnTo>
                    <a:pt x="1202" y="559"/>
                  </a:lnTo>
                  <a:lnTo>
                    <a:pt x="1202" y="559"/>
                  </a:lnTo>
                  <a:lnTo>
                    <a:pt x="1202" y="559"/>
                  </a:lnTo>
                  <a:lnTo>
                    <a:pt x="1202" y="557"/>
                  </a:lnTo>
                  <a:lnTo>
                    <a:pt x="1202" y="557"/>
                  </a:lnTo>
                  <a:lnTo>
                    <a:pt x="1200" y="557"/>
                  </a:lnTo>
                  <a:lnTo>
                    <a:pt x="1200" y="555"/>
                  </a:lnTo>
                  <a:lnTo>
                    <a:pt x="1200" y="553"/>
                  </a:lnTo>
                  <a:lnTo>
                    <a:pt x="1200" y="553"/>
                  </a:lnTo>
                  <a:lnTo>
                    <a:pt x="1200" y="553"/>
                  </a:lnTo>
                  <a:lnTo>
                    <a:pt x="1200" y="551"/>
                  </a:lnTo>
                  <a:lnTo>
                    <a:pt x="1198" y="551"/>
                  </a:lnTo>
                  <a:lnTo>
                    <a:pt x="1198" y="551"/>
                  </a:lnTo>
                  <a:lnTo>
                    <a:pt x="1198" y="549"/>
                  </a:lnTo>
                  <a:lnTo>
                    <a:pt x="1198" y="549"/>
                  </a:lnTo>
                  <a:lnTo>
                    <a:pt x="1198" y="549"/>
                  </a:lnTo>
                  <a:lnTo>
                    <a:pt x="1194" y="547"/>
                  </a:lnTo>
                  <a:lnTo>
                    <a:pt x="1194" y="545"/>
                  </a:lnTo>
                  <a:lnTo>
                    <a:pt x="1194" y="545"/>
                  </a:lnTo>
                  <a:lnTo>
                    <a:pt x="1194" y="545"/>
                  </a:lnTo>
                  <a:lnTo>
                    <a:pt x="1194" y="543"/>
                  </a:lnTo>
                  <a:lnTo>
                    <a:pt x="1194" y="543"/>
                  </a:lnTo>
                  <a:lnTo>
                    <a:pt x="1194" y="541"/>
                  </a:lnTo>
                  <a:lnTo>
                    <a:pt x="1194" y="541"/>
                  </a:lnTo>
                  <a:lnTo>
                    <a:pt x="1196" y="539"/>
                  </a:lnTo>
                  <a:lnTo>
                    <a:pt x="1196" y="539"/>
                  </a:lnTo>
                  <a:lnTo>
                    <a:pt x="1196" y="539"/>
                  </a:lnTo>
                  <a:lnTo>
                    <a:pt x="1194" y="539"/>
                  </a:lnTo>
                  <a:lnTo>
                    <a:pt x="1192" y="537"/>
                  </a:lnTo>
                  <a:lnTo>
                    <a:pt x="1192" y="535"/>
                  </a:lnTo>
                  <a:lnTo>
                    <a:pt x="1192" y="535"/>
                  </a:lnTo>
                  <a:lnTo>
                    <a:pt x="1190" y="535"/>
                  </a:lnTo>
                  <a:lnTo>
                    <a:pt x="1190" y="533"/>
                  </a:lnTo>
                  <a:lnTo>
                    <a:pt x="1190" y="531"/>
                  </a:lnTo>
                  <a:lnTo>
                    <a:pt x="1190" y="531"/>
                  </a:lnTo>
                  <a:lnTo>
                    <a:pt x="1190" y="531"/>
                  </a:lnTo>
                  <a:lnTo>
                    <a:pt x="1190" y="531"/>
                  </a:lnTo>
                  <a:lnTo>
                    <a:pt x="1188" y="531"/>
                  </a:lnTo>
                  <a:lnTo>
                    <a:pt x="1188" y="531"/>
                  </a:lnTo>
                  <a:lnTo>
                    <a:pt x="1188" y="531"/>
                  </a:lnTo>
                  <a:lnTo>
                    <a:pt x="1186" y="529"/>
                  </a:lnTo>
                  <a:lnTo>
                    <a:pt x="1186" y="529"/>
                  </a:lnTo>
                  <a:lnTo>
                    <a:pt x="1186" y="529"/>
                  </a:lnTo>
                  <a:lnTo>
                    <a:pt x="1186" y="527"/>
                  </a:lnTo>
                  <a:lnTo>
                    <a:pt x="1186" y="527"/>
                  </a:lnTo>
                  <a:lnTo>
                    <a:pt x="1188" y="527"/>
                  </a:lnTo>
                  <a:lnTo>
                    <a:pt x="1188" y="527"/>
                  </a:lnTo>
                  <a:lnTo>
                    <a:pt x="1188" y="527"/>
                  </a:lnTo>
                  <a:lnTo>
                    <a:pt x="1188" y="527"/>
                  </a:lnTo>
                  <a:lnTo>
                    <a:pt x="1188" y="525"/>
                  </a:lnTo>
                  <a:lnTo>
                    <a:pt x="1188" y="525"/>
                  </a:lnTo>
                  <a:lnTo>
                    <a:pt x="1188" y="525"/>
                  </a:lnTo>
                  <a:lnTo>
                    <a:pt x="1188" y="525"/>
                  </a:lnTo>
                  <a:lnTo>
                    <a:pt x="1186" y="525"/>
                  </a:lnTo>
                  <a:lnTo>
                    <a:pt x="1184" y="523"/>
                  </a:lnTo>
                  <a:lnTo>
                    <a:pt x="1184" y="523"/>
                  </a:lnTo>
                  <a:lnTo>
                    <a:pt x="1184" y="523"/>
                  </a:lnTo>
                  <a:lnTo>
                    <a:pt x="1182" y="523"/>
                  </a:lnTo>
                  <a:lnTo>
                    <a:pt x="1180" y="521"/>
                  </a:lnTo>
                  <a:lnTo>
                    <a:pt x="1180" y="518"/>
                  </a:lnTo>
                  <a:lnTo>
                    <a:pt x="1178" y="516"/>
                  </a:lnTo>
                  <a:lnTo>
                    <a:pt x="1178" y="516"/>
                  </a:lnTo>
                  <a:lnTo>
                    <a:pt x="1178" y="516"/>
                  </a:lnTo>
                  <a:lnTo>
                    <a:pt x="1178" y="514"/>
                  </a:lnTo>
                  <a:lnTo>
                    <a:pt x="1178" y="514"/>
                  </a:lnTo>
                  <a:lnTo>
                    <a:pt x="1178" y="512"/>
                  </a:lnTo>
                  <a:lnTo>
                    <a:pt x="1178" y="512"/>
                  </a:lnTo>
                  <a:lnTo>
                    <a:pt x="1178" y="512"/>
                  </a:lnTo>
                  <a:lnTo>
                    <a:pt x="1178" y="510"/>
                  </a:lnTo>
                  <a:lnTo>
                    <a:pt x="1178" y="508"/>
                  </a:lnTo>
                  <a:lnTo>
                    <a:pt x="1178" y="506"/>
                  </a:lnTo>
                  <a:lnTo>
                    <a:pt x="1180" y="504"/>
                  </a:lnTo>
                  <a:lnTo>
                    <a:pt x="1180" y="504"/>
                  </a:lnTo>
                  <a:lnTo>
                    <a:pt x="1180" y="504"/>
                  </a:lnTo>
                  <a:lnTo>
                    <a:pt x="1178" y="504"/>
                  </a:lnTo>
                  <a:lnTo>
                    <a:pt x="1178" y="502"/>
                  </a:lnTo>
                  <a:lnTo>
                    <a:pt x="1178" y="502"/>
                  </a:lnTo>
                  <a:lnTo>
                    <a:pt x="1178" y="502"/>
                  </a:lnTo>
                  <a:lnTo>
                    <a:pt x="1178" y="500"/>
                  </a:lnTo>
                  <a:lnTo>
                    <a:pt x="1176" y="496"/>
                  </a:lnTo>
                  <a:lnTo>
                    <a:pt x="1176" y="496"/>
                  </a:lnTo>
                  <a:lnTo>
                    <a:pt x="1174" y="492"/>
                  </a:lnTo>
                  <a:lnTo>
                    <a:pt x="1174" y="492"/>
                  </a:lnTo>
                  <a:lnTo>
                    <a:pt x="1172" y="490"/>
                  </a:lnTo>
                  <a:lnTo>
                    <a:pt x="1172" y="490"/>
                  </a:lnTo>
                  <a:lnTo>
                    <a:pt x="1172" y="488"/>
                  </a:lnTo>
                  <a:lnTo>
                    <a:pt x="1170" y="486"/>
                  </a:lnTo>
                  <a:lnTo>
                    <a:pt x="1168" y="484"/>
                  </a:lnTo>
                  <a:lnTo>
                    <a:pt x="1168" y="484"/>
                  </a:lnTo>
                  <a:lnTo>
                    <a:pt x="1163" y="482"/>
                  </a:lnTo>
                  <a:lnTo>
                    <a:pt x="1163" y="482"/>
                  </a:lnTo>
                  <a:lnTo>
                    <a:pt x="1163" y="482"/>
                  </a:lnTo>
                  <a:lnTo>
                    <a:pt x="1163" y="482"/>
                  </a:lnTo>
                  <a:lnTo>
                    <a:pt x="1161" y="478"/>
                  </a:lnTo>
                  <a:lnTo>
                    <a:pt x="1159" y="478"/>
                  </a:lnTo>
                  <a:lnTo>
                    <a:pt x="1159" y="478"/>
                  </a:lnTo>
                  <a:lnTo>
                    <a:pt x="1157" y="475"/>
                  </a:lnTo>
                  <a:lnTo>
                    <a:pt x="1157" y="475"/>
                  </a:lnTo>
                  <a:lnTo>
                    <a:pt x="1157" y="475"/>
                  </a:lnTo>
                  <a:lnTo>
                    <a:pt x="1157" y="475"/>
                  </a:lnTo>
                  <a:lnTo>
                    <a:pt x="1155" y="473"/>
                  </a:lnTo>
                  <a:lnTo>
                    <a:pt x="1155" y="467"/>
                  </a:lnTo>
                  <a:lnTo>
                    <a:pt x="1155" y="453"/>
                  </a:lnTo>
                  <a:lnTo>
                    <a:pt x="1155" y="441"/>
                  </a:lnTo>
                  <a:lnTo>
                    <a:pt x="1153" y="428"/>
                  </a:lnTo>
                  <a:lnTo>
                    <a:pt x="1153" y="416"/>
                  </a:lnTo>
                  <a:lnTo>
                    <a:pt x="1153" y="404"/>
                  </a:lnTo>
                  <a:lnTo>
                    <a:pt x="1151" y="377"/>
                  </a:lnTo>
                  <a:lnTo>
                    <a:pt x="1151" y="365"/>
                  </a:lnTo>
                  <a:lnTo>
                    <a:pt x="1149" y="353"/>
                  </a:lnTo>
                  <a:lnTo>
                    <a:pt x="1149" y="340"/>
                  </a:lnTo>
                  <a:lnTo>
                    <a:pt x="1147" y="326"/>
                  </a:lnTo>
                  <a:lnTo>
                    <a:pt x="1147" y="314"/>
                  </a:lnTo>
                  <a:lnTo>
                    <a:pt x="1147" y="307"/>
                  </a:lnTo>
                  <a:lnTo>
                    <a:pt x="1147" y="307"/>
                  </a:lnTo>
                  <a:lnTo>
                    <a:pt x="1145" y="305"/>
                  </a:lnTo>
                  <a:lnTo>
                    <a:pt x="1145" y="305"/>
                  </a:lnTo>
                  <a:lnTo>
                    <a:pt x="1141" y="303"/>
                  </a:lnTo>
                  <a:lnTo>
                    <a:pt x="1141" y="305"/>
                  </a:lnTo>
                  <a:lnTo>
                    <a:pt x="1139" y="305"/>
                  </a:lnTo>
                  <a:lnTo>
                    <a:pt x="1137" y="305"/>
                  </a:lnTo>
                  <a:lnTo>
                    <a:pt x="1133" y="303"/>
                  </a:lnTo>
                  <a:lnTo>
                    <a:pt x="1133" y="303"/>
                  </a:lnTo>
                  <a:lnTo>
                    <a:pt x="1131" y="305"/>
                  </a:lnTo>
                  <a:lnTo>
                    <a:pt x="1131" y="305"/>
                  </a:lnTo>
                  <a:lnTo>
                    <a:pt x="1124" y="303"/>
                  </a:lnTo>
                  <a:lnTo>
                    <a:pt x="1124" y="303"/>
                  </a:lnTo>
                  <a:lnTo>
                    <a:pt x="1122" y="305"/>
                  </a:lnTo>
                  <a:lnTo>
                    <a:pt x="1122" y="307"/>
                  </a:lnTo>
                  <a:lnTo>
                    <a:pt x="1122" y="307"/>
                  </a:lnTo>
                  <a:lnTo>
                    <a:pt x="1120" y="307"/>
                  </a:lnTo>
                  <a:lnTo>
                    <a:pt x="1118" y="307"/>
                  </a:lnTo>
                  <a:lnTo>
                    <a:pt x="1116" y="307"/>
                  </a:lnTo>
                  <a:lnTo>
                    <a:pt x="1116" y="305"/>
                  </a:lnTo>
                  <a:lnTo>
                    <a:pt x="1116" y="305"/>
                  </a:lnTo>
                  <a:lnTo>
                    <a:pt x="1116" y="305"/>
                  </a:lnTo>
                  <a:lnTo>
                    <a:pt x="1114" y="305"/>
                  </a:lnTo>
                  <a:lnTo>
                    <a:pt x="1112" y="303"/>
                  </a:lnTo>
                  <a:lnTo>
                    <a:pt x="1110" y="303"/>
                  </a:lnTo>
                  <a:lnTo>
                    <a:pt x="1110" y="301"/>
                  </a:lnTo>
                  <a:lnTo>
                    <a:pt x="1108" y="299"/>
                  </a:lnTo>
                  <a:lnTo>
                    <a:pt x="1106" y="299"/>
                  </a:lnTo>
                  <a:lnTo>
                    <a:pt x="1106" y="299"/>
                  </a:lnTo>
                  <a:lnTo>
                    <a:pt x="1104" y="299"/>
                  </a:lnTo>
                  <a:lnTo>
                    <a:pt x="1102" y="297"/>
                  </a:lnTo>
                  <a:lnTo>
                    <a:pt x="1102" y="299"/>
                  </a:lnTo>
                  <a:lnTo>
                    <a:pt x="1098" y="297"/>
                  </a:lnTo>
                  <a:lnTo>
                    <a:pt x="1098" y="297"/>
                  </a:lnTo>
                  <a:lnTo>
                    <a:pt x="1098" y="295"/>
                  </a:lnTo>
                  <a:lnTo>
                    <a:pt x="1098" y="295"/>
                  </a:lnTo>
                  <a:lnTo>
                    <a:pt x="1096" y="295"/>
                  </a:lnTo>
                  <a:lnTo>
                    <a:pt x="1094" y="295"/>
                  </a:lnTo>
                  <a:lnTo>
                    <a:pt x="1092" y="295"/>
                  </a:lnTo>
                  <a:lnTo>
                    <a:pt x="1092" y="295"/>
                  </a:lnTo>
                  <a:lnTo>
                    <a:pt x="1090" y="295"/>
                  </a:lnTo>
                  <a:lnTo>
                    <a:pt x="1090" y="293"/>
                  </a:lnTo>
                  <a:lnTo>
                    <a:pt x="1088" y="293"/>
                  </a:lnTo>
                  <a:lnTo>
                    <a:pt x="1088" y="295"/>
                  </a:lnTo>
                  <a:lnTo>
                    <a:pt x="1088" y="295"/>
                  </a:lnTo>
                  <a:lnTo>
                    <a:pt x="1086" y="295"/>
                  </a:lnTo>
                  <a:lnTo>
                    <a:pt x="1086" y="293"/>
                  </a:lnTo>
                  <a:lnTo>
                    <a:pt x="1084" y="293"/>
                  </a:lnTo>
                  <a:lnTo>
                    <a:pt x="1081" y="291"/>
                  </a:lnTo>
                  <a:lnTo>
                    <a:pt x="1081" y="289"/>
                  </a:lnTo>
                  <a:lnTo>
                    <a:pt x="1079" y="289"/>
                  </a:lnTo>
                  <a:lnTo>
                    <a:pt x="1077" y="289"/>
                  </a:lnTo>
                  <a:lnTo>
                    <a:pt x="1071" y="289"/>
                  </a:lnTo>
                  <a:lnTo>
                    <a:pt x="1067" y="285"/>
                  </a:lnTo>
                  <a:lnTo>
                    <a:pt x="1067" y="283"/>
                  </a:lnTo>
                  <a:lnTo>
                    <a:pt x="1065" y="283"/>
                  </a:lnTo>
                  <a:lnTo>
                    <a:pt x="1065" y="281"/>
                  </a:lnTo>
                  <a:lnTo>
                    <a:pt x="1065" y="281"/>
                  </a:lnTo>
                  <a:lnTo>
                    <a:pt x="1063" y="281"/>
                  </a:lnTo>
                  <a:lnTo>
                    <a:pt x="1063" y="279"/>
                  </a:lnTo>
                  <a:lnTo>
                    <a:pt x="1063" y="279"/>
                  </a:lnTo>
                  <a:lnTo>
                    <a:pt x="1063" y="279"/>
                  </a:lnTo>
                  <a:lnTo>
                    <a:pt x="1061" y="279"/>
                  </a:lnTo>
                  <a:lnTo>
                    <a:pt x="1061" y="277"/>
                  </a:lnTo>
                  <a:lnTo>
                    <a:pt x="1059" y="277"/>
                  </a:lnTo>
                  <a:lnTo>
                    <a:pt x="1057" y="277"/>
                  </a:lnTo>
                  <a:lnTo>
                    <a:pt x="1055" y="277"/>
                  </a:lnTo>
                  <a:lnTo>
                    <a:pt x="1053" y="273"/>
                  </a:lnTo>
                  <a:lnTo>
                    <a:pt x="1051" y="273"/>
                  </a:lnTo>
                  <a:lnTo>
                    <a:pt x="1049" y="273"/>
                  </a:lnTo>
                  <a:lnTo>
                    <a:pt x="1047" y="271"/>
                  </a:lnTo>
                  <a:lnTo>
                    <a:pt x="1047" y="271"/>
                  </a:lnTo>
                  <a:lnTo>
                    <a:pt x="1047" y="271"/>
                  </a:lnTo>
                  <a:lnTo>
                    <a:pt x="1045" y="268"/>
                  </a:lnTo>
                  <a:lnTo>
                    <a:pt x="1038" y="268"/>
                  </a:lnTo>
                  <a:lnTo>
                    <a:pt x="1038" y="268"/>
                  </a:lnTo>
                  <a:lnTo>
                    <a:pt x="1036" y="268"/>
                  </a:lnTo>
                  <a:lnTo>
                    <a:pt x="1036" y="271"/>
                  </a:lnTo>
                  <a:lnTo>
                    <a:pt x="1036" y="273"/>
                  </a:lnTo>
                  <a:lnTo>
                    <a:pt x="1034" y="275"/>
                  </a:lnTo>
                  <a:lnTo>
                    <a:pt x="1034" y="273"/>
                  </a:lnTo>
                  <a:lnTo>
                    <a:pt x="1034" y="275"/>
                  </a:lnTo>
                  <a:lnTo>
                    <a:pt x="1032" y="275"/>
                  </a:lnTo>
                  <a:lnTo>
                    <a:pt x="1032" y="275"/>
                  </a:lnTo>
                  <a:lnTo>
                    <a:pt x="1032" y="277"/>
                  </a:lnTo>
                  <a:lnTo>
                    <a:pt x="1030" y="275"/>
                  </a:lnTo>
                  <a:lnTo>
                    <a:pt x="1030" y="275"/>
                  </a:lnTo>
                  <a:lnTo>
                    <a:pt x="1030" y="277"/>
                  </a:lnTo>
                  <a:lnTo>
                    <a:pt x="1030" y="277"/>
                  </a:lnTo>
                  <a:lnTo>
                    <a:pt x="1028" y="277"/>
                  </a:lnTo>
                  <a:lnTo>
                    <a:pt x="1028" y="279"/>
                  </a:lnTo>
                  <a:lnTo>
                    <a:pt x="1028" y="279"/>
                  </a:lnTo>
                  <a:lnTo>
                    <a:pt x="1028" y="279"/>
                  </a:lnTo>
                  <a:lnTo>
                    <a:pt x="1020" y="279"/>
                  </a:lnTo>
                  <a:lnTo>
                    <a:pt x="1020" y="279"/>
                  </a:lnTo>
                  <a:lnTo>
                    <a:pt x="1018" y="279"/>
                  </a:lnTo>
                  <a:lnTo>
                    <a:pt x="1018" y="277"/>
                  </a:lnTo>
                  <a:lnTo>
                    <a:pt x="1018" y="277"/>
                  </a:lnTo>
                  <a:lnTo>
                    <a:pt x="1016" y="277"/>
                  </a:lnTo>
                  <a:lnTo>
                    <a:pt x="1016" y="277"/>
                  </a:lnTo>
                  <a:lnTo>
                    <a:pt x="1016" y="279"/>
                  </a:lnTo>
                  <a:lnTo>
                    <a:pt x="1016" y="279"/>
                  </a:lnTo>
                  <a:lnTo>
                    <a:pt x="1014" y="277"/>
                  </a:lnTo>
                  <a:lnTo>
                    <a:pt x="1014" y="277"/>
                  </a:lnTo>
                  <a:lnTo>
                    <a:pt x="1014" y="277"/>
                  </a:lnTo>
                  <a:lnTo>
                    <a:pt x="1014" y="277"/>
                  </a:lnTo>
                  <a:lnTo>
                    <a:pt x="1012" y="277"/>
                  </a:lnTo>
                  <a:lnTo>
                    <a:pt x="1010" y="277"/>
                  </a:lnTo>
                  <a:lnTo>
                    <a:pt x="1012" y="275"/>
                  </a:lnTo>
                  <a:lnTo>
                    <a:pt x="1010" y="273"/>
                  </a:lnTo>
                  <a:lnTo>
                    <a:pt x="1010" y="273"/>
                  </a:lnTo>
                  <a:lnTo>
                    <a:pt x="1008" y="271"/>
                  </a:lnTo>
                  <a:lnTo>
                    <a:pt x="1006" y="271"/>
                  </a:lnTo>
                  <a:lnTo>
                    <a:pt x="1006" y="271"/>
                  </a:lnTo>
                  <a:lnTo>
                    <a:pt x="1004" y="271"/>
                  </a:lnTo>
                  <a:lnTo>
                    <a:pt x="1004" y="273"/>
                  </a:lnTo>
                  <a:lnTo>
                    <a:pt x="1004" y="273"/>
                  </a:lnTo>
                  <a:lnTo>
                    <a:pt x="1002" y="273"/>
                  </a:lnTo>
                  <a:lnTo>
                    <a:pt x="1002" y="273"/>
                  </a:lnTo>
                  <a:lnTo>
                    <a:pt x="1000" y="275"/>
                  </a:lnTo>
                  <a:lnTo>
                    <a:pt x="998" y="275"/>
                  </a:lnTo>
                  <a:lnTo>
                    <a:pt x="998" y="275"/>
                  </a:lnTo>
                  <a:lnTo>
                    <a:pt x="995" y="277"/>
                  </a:lnTo>
                  <a:lnTo>
                    <a:pt x="995" y="277"/>
                  </a:lnTo>
                  <a:lnTo>
                    <a:pt x="995" y="277"/>
                  </a:lnTo>
                  <a:lnTo>
                    <a:pt x="993" y="277"/>
                  </a:lnTo>
                  <a:lnTo>
                    <a:pt x="991" y="277"/>
                  </a:lnTo>
                  <a:lnTo>
                    <a:pt x="989" y="277"/>
                  </a:lnTo>
                  <a:lnTo>
                    <a:pt x="989" y="281"/>
                  </a:lnTo>
                  <a:lnTo>
                    <a:pt x="989" y="281"/>
                  </a:lnTo>
                  <a:lnTo>
                    <a:pt x="989" y="281"/>
                  </a:lnTo>
                  <a:lnTo>
                    <a:pt x="987" y="281"/>
                  </a:lnTo>
                  <a:lnTo>
                    <a:pt x="987" y="281"/>
                  </a:lnTo>
                  <a:lnTo>
                    <a:pt x="987" y="281"/>
                  </a:lnTo>
                  <a:lnTo>
                    <a:pt x="987" y="281"/>
                  </a:lnTo>
                  <a:lnTo>
                    <a:pt x="985" y="281"/>
                  </a:lnTo>
                  <a:lnTo>
                    <a:pt x="983" y="283"/>
                  </a:lnTo>
                  <a:lnTo>
                    <a:pt x="983" y="281"/>
                  </a:lnTo>
                  <a:lnTo>
                    <a:pt x="977" y="279"/>
                  </a:lnTo>
                  <a:lnTo>
                    <a:pt x="977" y="277"/>
                  </a:lnTo>
                  <a:lnTo>
                    <a:pt x="975" y="277"/>
                  </a:lnTo>
                  <a:lnTo>
                    <a:pt x="975" y="279"/>
                  </a:lnTo>
                  <a:lnTo>
                    <a:pt x="973" y="279"/>
                  </a:lnTo>
                  <a:lnTo>
                    <a:pt x="973" y="281"/>
                  </a:lnTo>
                  <a:lnTo>
                    <a:pt x="973" y="281"/>
                  </a:lnTo>
                  <a:lnTo>
                    <a:pt x="971" y="281"/>
                  </a:lnTo>
                  <a:lnTo>
                    <a:pt x="969" y="283"/>
                  </a:lnTo>
                  <a:lnTo>
                    <a:pt x="967" y="283"/>
                  </a:lnTo>
                  <a:lnTo>
                    <a:pt x="965" y="283"/>
                  </a:lnTo>
                  <a:lnTo>
                    <a:pt x="961" y="283"/>
                  </a:lnTo>
                  <a:lnTo>
                    <a:pt x="959" y="285"/>
                  </a:lnTo>
                  <a:lnTo>
                    <a:pt x="959" y="285"/>
                  </a:lnTo>
                  <a:lnTo>
                    <a:pt x="957" y="285"/>
                  </a:lnTo>
                  <a:lnTo>
                    <a:pt x="957" y="287"/>
                  </a:lnTo>
                  <a:lnTo>
                    <a:pt x="955" y="289"/>
                  </a:lnTo>
                  <a:lnTo>
                    <a:pt x="955" y="291"/>
                  </a:lnTo>
                  <a:lnTo>
                    <a:pt x="952" y="293"/>
                  </a:lnTo>
                  <a:lnTo>
                    <a:pt x="950" y="293"/>
                  </a:lnTo>
                  <a:lnTo>
                    <a:pt x="946" y="293"/>
                  </a:lnTo>
                  <a:lnTo>
                    <a:pt x="944" y="293"/>
                  </a:lnTo>
                  <a:lnTo>
                    <a:pt x="944" y="293"/>
                  </a:lnTo>
                  <a:lnTo>
                    <a:pt x="944" y="295"/>
                  </a:lnTo>
                  <a:lnTo>
                    <a:pt x="944" y="297"/>
                  </a:lnTo>
                  <a:lnTo>
                    <a:pt x="940" y="299"/>
                  </a:lnTo>
                  <a:lnTo>
                    <a:pt x="938" y="297"/>
                  </a:lnTo>
                  <a:lnTo>
                    <a:pt x="936" y="293"/>
                  </a:lnTo>
                  <a:lnTo>
                    <a:pt x="934" y="291"/>
                  </a:lnTo>
                  <a:lnTo>
                    <a:pt x="932" y="291"/>
                  </a:lnTo>
                  <a:lnTo>
                    <a:pt x="926" y="291"/>
                  </a:lnTo>
                  <a:lnTo>
                    <a:pt x="926" y="291"/>
                  </a:lnTo>
                  <a:lnTo>
                    <a:pt x="924" y="289"/>
                  </a:lnTo>
                  <a:lnTo>
                    <a:pt x="924" y="289"/>
                  </a:lnTo>
                  <a:lnTo>
                    <a:pt x="924" y="287"/>
                  </a:lnTo>
                  <a:lnTo>
                    <a:pt x="924" y="287"/>
                  </a:lnTo>
                  <a:lnTo>
                    <a:pt x="922" y="287"/>
                  </a:lnTo>
                  <a:lnTo>
                    <a:pt x="918" y="285"/>
                  </a:lnTo>
                  <a:lnTo>
                    <a:pt x="918" y="285"/>
                  </a:lnTo>
                  <a:lnTo>
                    <a:pt x="916" y="285"/>
                  </a:lnTo>
                  <a:lnTo>
                    <a:pt x="916" y="283"/>
                  </a:lnTo>
                  <a:lnTo>
                    <a:pt x="916" y="283"/>
                  </a:lnTo>
                  <a:lnTo>
                    <a:pt x="916" y="283"/>
                  </a:lnTo>
                  <a:lnTo>
                    <a:pt x="916" y="281"/>
                  </a:lnTo>
                  <a:lnTo>
                    <a:pt x="918" y="281"/>
                  </a:lnTo>
                  <a:lnTo>
                    <a:pt x="918" y="279"/>
                  </a:lnTo>
                  <a:lnTo>
                    <a:pt x="916" y="279"/>
                  </a:lnTo>
                  <a:lnTo>
                    <a:pt x="914" y="277"/>
                  </a:lnTo>
                  <a:lnTo>
                    <a:pt x="911" y="277"/>
                  </a:lnTo>
                  <a:lnTo>
                    <a:pt x="911" y="277"/>
                  </a:lnTo>
                  <a:lnTo>
                    <a:pt x="911" y="277"/>
                  </a:lnTo>
                  <a:lnTo>
                    <a:pt x="911" y="279"/>
                  </a:lnTo>
                  <a:lnTo>
                    <a:pt x="909" y="279"/>
                  </a:lnTo>
                  <a:lnTo>
                    <a:pt x="909" y="283"/>
                  </a:lnTo>
                  <a:lnTo>
                    <a:pt x="909" y="283"/>
                  </a:lnTo>
                  <a:lnTo>
                    <a:pt x="909" y="283"/>
                  </a:lnTo>
                  <a:lnTo>
                    <a:pt x="907" y="283"/>
                  </a:lnTo>
                  <a:lnTo>
                    <a:pt x="907" y="285"/>
                  </a:lnTo>
                  <a:lnTo>
                    <a:pt x="907" y="285"/>
                  </a:lnTo>
                  <a:lnTo>
                    <a:pt x="905" y="285"/>
                  </a:lnTo>
                  <a:lnTo>
                    <a:pt x="905" y="285"/>
                  </a:lnTo>
                  <a:lnTo>
                    <a:pt x="903" y="285"/>
                  </a:lnTo>
                  <a:lnTo>
                    <a:pt x="903" y="285"/>
                  </a:lnTo>
                  <a:lnTo>
                    <a:pt x="903" y="285"/>
                  </a:lnTo>
                  <a:lnTo>
                    <a:pt x="899" y="283"/>
                  </a:lnTo>
                  <a:lnTo>
                    <a:pt x="899" y="283"/>
                  </a:lnTo>
                  <a:lnTo>
                    <a:pt x="899" y="283"/>
                  </a:lnTo>
                  <a:lnTo>
                    <a:pt x="895" y="283"/>
                  </a:lnTo>
                  <a:lnTo>
                    <a:pt x="895" y="283"/>
                  </a:lnTo>
                  <a:lnTo>
                    <a:pt x="893" y="283"/>
                  </a:lnTo>
                  <a:lnTo>
                    <a:pt x="893" y="283"/>
                  </a:lnTo>
                  <a:lnTo>
                    <a:pt x="891" y="281"/>
                  </a:lnTo>
                  <a:lnTo>
                    <a:pt x="891" y="281"/>
                  </a:lnTo>
                  <a:lnTo>
                    <a:pt x="891" y="279"/>
                  </a:lnTo>
                  <a:lnTo>
                    <a:pt x="891" y="277"/>
                  </a:lnTo>
                  <a:lnTo>
                    <a:pt x="889" y="275"/>
                  </a:lnTo>
                  <a:lnTo>
                    <a:pt x="889" y="275"/>
                  </a:lnTo>
                  <a:lnTo>
                    <a:pt x="889" y="275"/>
                  </a:lnTo>
                  <a:lnTo>
                    <a:pt x="887" y="275"/>
                  </a:lnTo>
                  <a:lnTo>
                    <a:pt x="887" y="275"/>
                  </a:lnTo>
                  <a:lnTo>
                    <a:pt x="887" y="275"/>
                  </a:lnTo>
                  <a:lnTo>
                    <a:pt x="883" y="275"/>
                  </a:lnTo>
                  <a:lnTo>
                    <a:pt x="883" y="275"/>
                  </a:lnTo>
                  <a:lnTo>
                    <a:pt x="883" y="275"/>
                  </a:lnTo>
                  <a:lnTo>
                    <a:pt x="881" y="275"/>
                  </a:lnTo>
                  <a:lnTo>
                    <a:pt x="881" y="277"/>
                  </a:lnTo>
                  <a:lnTo>
                    <a:pt x="881" y="279"/>
                  </a:lnTo>
                  <a:lnTo>
                    <a:pt x="881" y="283"/>
                  </a:lnTo>
                  <a:lnTo>
                    <a:pt x="879" y="285"/>
                  </a:lnTo>
                  <a:lnTo>
                    <a:pt x="877" y="285"/>
                  </a:lnTo>
                  <a:lnTo>
                    <a:pt x="873" y="285"/>
                  </a:lnTo>
                  <a:lnTo>
                    <a:pt x="873" y="287"/>
                  </a:lnTo>
                  <a:lnTo>
                    <a:pt x="875" y="287"/>
                  </a:lnTo>
                  <a:lnTo>
                    <a:pt x="875" y="287"/>
                  </a:lnTo>
                  <a:lnTo>
                    <a:pt x="875" y="289"/>
                  </a:lnTo>
                  <a:lnTo>
                    <a:pt x="875" y="289"/>
                  </a:lnTo>
                  <a:lnTo>
                    <a:pt x="873" y="291"/>
                  </a:lnTo>
                  <a:lnTo>
                    <a:pt x="873" y="291"/>
                  </a:lnTo>
                  <a:lnTo>
                    <a:pt x="873" y="295"/>
                  </a:lnTo>
                  <a:lnTo>
                    <a:pt x="873" y="297"/>
                  </a:lnTo>
                  <a:lnTo>
                    <a:pt x="871" y="299"/>
                  </a:lnTo>
                  <a:lnTo>
                    <a:pt x="868" y="299"/>
                  </a:lnTo>
                  <a:lnTo>
                    <a:pt x="864" y="297"/>
                  </a:lnTo>
                  <a:lnTo>
                    <a:pt x="864" y="295"/>
                  </a:lnTo>
                  <a:lnTo>
                    <a:pt x="862" y="293"/>
                  </a:lnTo>
                  <a:lnTo>
                    <a:pt x="862" y="291"/>
                  </a:lnTo>
                  <a:lnTo>
                    <a:pt x="862" y="289"/>
                  </a:lnTo>
                  <a:lnTo>
                    <a:pt x="864" y="285"/>
                  </a:lnTo>
                  <a:lnTo>
                    <a:pt x="864" y="283"/>
                  </a:lnTo>
                  <a:lnTo>
                    <a:pt x="864" y="283"/>
                  </a:lnTo>
                  <a:lnTo>
                    <a:pt x="862" y="281"/>
                  </a:lnTo>
                  <a:lnTo>
                    <a:pt x="862" y="281"/>
                  </a:lnTo>
                  <a:lnTo>
                    <a:pt x="860" y="279"/>
                  </a:lnTo>
                  <a:lnTo>
                    <a:pt x="860" y="279"/>
                  </a:lnTo>
                  <a:lnTo>
                    <a:pt x="860" y="281"/>
                  </a:lnTo>
                  <a:lnTo>
                    <a:pt x="858" y="281"/>
                  </a:lnTo>
                  <a:lnTo>
                    <a:pt x="858" y="281"/>
                  </a:lnTo>
                  <a:lnTo>
                    <a:pt x="858" y="283"/>
                  </a:lnTo>
                  <a:lnTo>
                    <a:pt x="856" y="285"/>
                  </a:lnTo>
                  <a:lnTo>
                    <a:pt x="856" y="285"/>
                  </a:lnTo>
                  <a:lnTo>
                    <a:pt x="854" y="283"/>
                  </a:lnTo>
                  <a:lnTo>
                    <a:pt x="852" y="283"/>
                  </a:lnTo>
                  <a:lnTo>
                    <a:pt x="852" y="285"/>
                  </a:lnTo>
                  <a:lnTo>
                    <a:pt x="850" y="285"/>
                  </a:lnTo>
                  <a:lnTo>
                    <a:pt x="850" y="285"/>
                  </a:lnTo>
                  <a:lnTo>
                    <a:pt x="850" y="285"/>
                  </a:lnTo>
                  <a:lnTo>
                    <a:pt x="850" y="287"/>
                  </a:lnTo>
                  <a:lnTo>
                    <a:pt x="848" y="287"/>
                  </a:lnTo>
                  <a:lnTo>
                    <a:pt x="848" y="287"/>
                  </a:lnTo>
                  <a:lnTo>
                    <a:pt x="848" y="289"/>
                  </a:lnTo>
                  <a:lnTo>
                    <a:pt x="846" y="289"/>
                  </a:lnTo>
                  <a:lnTo>
                    <a:pt x="842" y="289"/>
                  </a:lnTo>
                  <a:lnTo>
                    <a:pt x="840" y="289"/>
                  </a:lnTo>
                  <a:lnTo>
                    <a:pt x="840" y="285"/>
                  </a:lnTo>
                  <a:lnTo>
                    <a:pt x="838" y="283"/>
                  </a:lnTo>
                  <a:lnTo>
                    <a:pt x="838" y="283"/>
                  </a:lnTo>
                  <a:lnTo>
                    <a:pt x="836" y="281"/>
                  </a:lnTo>
                  <a:lnTo>
                    <a:pt x="834" y="281"/>
                  </a:lnTo>
                  <a:lnTo>
                    <a:pt x="830" y="281"/>
                  </a:lnTo>
                  <a:lnTo>
                    <a:pt x="828" y="281"/>
                  </a:lnTo>
                  <a:lnTo>
                    <a:pt x="828" y="279"/>
                  </a:lnTo>
                  <a:lnTo>
                    <a:pt x="828" y="275"/>
                  </a:lnTo>
                  <a:lnTo>
                    <a:pt x="825" y="273"/>
                  </a:lnTo>
                  <a:lnTo>
                    <a:pt x="821" y="271"/>
                  </a:lnTo>
                  <a:lnTo>
                    <a:pt x="819" y="273"/>
                  </a:lnTo>
                  <a:lnTo>
                    <a:pt x="815" y="275"/>
                  </a:lnTo>
                  <a:lnTo>
                    <a:pt x="809" y="283"/>
                  </a:lnTo>
                  <a:lnTo>
                    <a:pt x="805" y="285"/>
                  </a:lnTo>
                  <a:lnTo>
                    <a:pt x="801" y="285"/>
                  </a:lnTo>
                  <a:lnTo>
                    <a:pt x="797" y="285"/>
                  </a:lnTo>
                  <a:lnTo>
                    <a:pt x="795" y="283"/>
                  </a:lnTo>
                  <a:lnTo>
                    <a:pt x="795" y="283"/>
                  </a:lnTo>
                  <a:lnTo>
                    <a:pt x="795" y="281"/>
                  </a:lnTo>
                  <a:lnTo>
                    <a:pt x="795" y="281"/>
                  </a:lnTo>
                  <a:lnTo>
                    <a:pt x="795" y="279"/>
                  </a:lnTo>
                  <a:lnTo>
                    <a:pt x="795" y="277"/>
                  </a:lnTo>
                  <a:lnTo>
                    <a:pt x="795" y="277"/>
                  </a:lnTo>
                  <a:lnTo>
                    <a:pt x="795" y="275"/>
                  </a:lnTo>
                  <a:lnTo>
                    <a:pt x="795" y="275"/>
                  </a:lnTo>
                  <a:lnTo>
                    <a:pt x="795" y="273"/>
                  </a:lnTo>
                  <a:lnTo>
                    <a:pt x="795" y="273"/>
                  </a:lnTo>
                  <a:lnTo>
                    <a:pt x="793" y="273"/>
                  </a:lnTo>
                  <a:lnTo>
                    <a:pt x="791" y="271"/>
                  </a:lnTo>
                  <a:lnTo>
                    <a:pt x="787" y="271"/>
                  </a:lnTo>
                  <a:lnTo>
                    <a:pt x="782" y="268"/>
                  </a:lnTo>
                  <a:lnTo>
                    <a:pt x="782" y="264"/>
                  </a:lnTo>
                  <a:lnTo>
                    <a:pt x="780" y="262"/>
                  </a:lnTo>
                  <a:lnTo>
                    <a:pt x="782" y="260"/>
                  </a:lnTo>
                  <a:lnTo>
                    <a:pt x="782" y="256"/>
                  </a:lnTo>
                  <a:lnTo>
                    <a:pt x="780" y="256"/>
                  </a:lnTo>
                  <a:lnTo>
                    <a:pt x="778" y="256"/>
                  </a:lnTo>
                  <a:lnTo>
                    <a:pt x="774" y="256"/>
                  </a:lnTo>
                  <a:lnTo>
                    <a:pt x="770" y="258"/>
                  </a:lnTo>
                  <a:lnTo>
                    <a:pt x="760" y="256"/>
                  </a:lnTo>
                  <a:lnTo>
                    <a:pt x="758" y="256"/>
                  </a:lnTo>
                  <a:lnTo>
                    <a:pt x="756" y="258"/>
                  </a:lnTo>
                  <a:lnTo>
                    <a:pt x="754" y="260"/>
                  </a:lnTo>
                  <a:lnTo>
                    <a:pt x="754" y="262"/>
                  </a:lnTo>
                  <a:lnTo>
                    <a:pt x="752" y="262"/>
                  </a:lnTo>
                  <a:lnTo>
                    <a:pt x="750" y="264"/>
                  </a:lnTo>
                  <a:lnTo>
                    <a:pt x="746" y="264"/>
                  </a:lnTo>
                  <a:lnTo>
                    <a:pt x="746" y="262"/>
                  </a:lnTo>
                  <a:lnTo>
                    <a:pt x="742" y="260"/>
                  </a:lnTo>
                  <a:lnTo>
                    <a:pt x="739" y="258"/>
                  </a:lnTo>
                  <a:lnTo>
                    <a:pt x="739" y="258"/>
                  </a:lnTo>
                  <a:lnTo>
                    <a:pt x="737" y="256"/>
                  </a:lnTo>
                  <a:lnTo>
                    <a:pt x="737" y="254"/>
                  </a:lnTo>
                  <a:lnTo>
                    <a:pt x="735" y="254"/>
                  </a:lnTo>
                  <a:lnTo>
                    <a:pt x="733" y="254"/>
                  </a:lnTo>
                  <a:lnTo>
                    <a:pt x="731" y="254"/>
                  </a:lnTo>
                  <a:lnTo>
                    <a:pt x="725" y="258"/>
                  </a:lnTo>
                  <a:lnTo>
                    <a:pt x="725" y="256"/>
                  </a:lnTo>
                  <a:lnTo>
                    <a:pt x="713" y="254"/>
                  </a:lnTo>
                  <a:lnTo>
                    <a:pt x="711" y="254"/>
                  </a:lnTo>
                  <a:lnTo>
                    <a:pt x="705" y="250"/>
                  </a:lnTo>
                  <a:lnTo>
                    <a:pt x="703" y="250"/>
                  </a:lnTo>
                  <a:lnTo>
                    <a:pt x="701" y="250"/>
                  </a:lnTo>
                  <a:lnTo>
                    <a:pt x="701" y="250"/>
                  </a:lnTo>
                  <a:lnTo>
                    <a:pt x="699" y="250"/>
                  </a:lnTo>
                  <a:lnTo>
                    <a:pt x="696" y="250"/>
                  </a:lnTo>
                  <a:lnTo>
                    <a:pt x="692" y="250"/>
                  </a:lnTo>
                  <a:lnTo>
                    <a:pt x="690" y="248"/>
                  </a:lnTo>
                  <a:lnTo>
                    <a:pt x="686" y="250"/>
                  </a:lnTo>
                  <a:lnTo>
                    <a:pt x="684" y="248"/>
                  </a:lnTo>
                  <a:lnTo>
                    <a:pt x="682" y="248"/>
                  </a:lnTo>
                  <a:lnTo>
                    <a:pt x="682" y="246"/>
                  </a:lnTo>
                  <a:lnTo>
                    <a:pt x="682" y="240"/>
                  </a:lnTo>
                  <a:lnTo>
                    <a:pt x="682" y="238"/>
                  </a:lnTo>
                  <a:lnTo>
                    <a:pt x="682" y="238"/>
                  </a:lnTo>
                  <a:lnTo>
                    <a:pt x="682" y="236"/>
                  </a:lnTo>
                  <a:lnTo>
                    <a:pt x="678" y="234"/>
                  </a:lnTo>
                  <a:lnTo>
                    <a:pt x="678" y="232"/>
                  </a:lnTo>
                  <a:lnTo>
                    <a:pt x="678" y="230"/>
                  </a:lnTo>
                  <a:lnTo>
                    <a:pt x="676" y="227"/>
                  </a:lnTo>
                  <a:lnTo>
                    <a:pt x="674" y="227"/>
                  </a:lnTo>
                  <a:lnTo>
                    <a:pt x="674" y="227"/>
                  </a:lnTo>
                  <a:lnTo>
                    <a:pt x="672" y="227"/>
                  </a:lnTo>
                  <a:lnTo>
                    <a:pt x="672" y="227"/>
                  </a:lnTo>
                  <a:lnTo>
                    <a:pt x="670" y="225"/>
                  </a:lnTo>
                  <a:lnTo>
                    <a:pt x="670" y="225"/>
                  </a:lnTo>
                  <a:lnTo>
                    <a:pt x="670" y="225"/>
                  </a:lnTo>
                  <a:lnTo>
                    <a:pt x="670" y="223"/>
                  </a:lnTo>
                  <a:lnTo>
                    <a:pt x="668" y="223"/>
                  </a:lnTo>
                  <a:lnTo>
                    <a:pt x="666" y="223"/>
                  </a:lnTo>
                  <a:lnTo>
                    <a:pt x="666" y="223"/>
                  </a:lnTo>
                  <a:lnTo>
                    <a:pt x="666" y="230"/>
                  </a:lnTo>
                  <a:lnTo>
                    <a:pt x="664" y="232"/>
                  </a:lnTo>
                  <a:lnTo>
                    <a:pt x="664" y="232"/>
                  </a:lnTo>
                  <a:lnTo>
                    <a:pt x="662" y="232"/>
                  </a:lnTo>
                  <a:lnTo>
                    <a:pt x="660" y="232"/>
                  </a:lnTo>
                  <a:lnTo>
                    <a:pt x="655" y="230"/>
                  </a:lnTo>
                  <a:lnTo>
                    <a:pt x="651" y="227"/>
                  </a:lnTo>
                  <a:lnTo>
                    <a:pt x="651" y="227"/>
                  </a:lnTo>
                  <a:lnTo>
                    <a:pt x="649" y="230"/>
                  </a:lnTo>
                  <a:lnTo>
                    <a:pt x="649" y="230"/>
                  </a:lnTo>
                  <a:lnTo>
                    <a:pt x="647" y="232"/>
                  </a:lnTo>
                  <a:lnTo>
                    <a:pt x="647" y="232"/>
                  </a:lnTo>
                  <a:lnTo>
                    <a:pt x="641" y="232"/>
                  </a:lnTo>
                  <a:lnTo>
                    <a:pt x="639" y="230"/>
                  </a:lnTo>
                  <a:lnTo>
                    <a:pt x="639" y="230"/>
                  </a:lnTo>
                  <a:lnTo>
                    <a:pt x="637" y="225"/>
                  </a:lnTo>
                  <a:lnTo>
                    <a:pt x="621" y="211"/>
                  </a:lnTo>
                  <a:lnTo>
                    <a:pt x="621" y="211"/>
                  </a:lnTo>
                  <a:lnTo>
                    <a:pt x="619" y="211"/>
                  </a:lnTo>
                  <a:lnTo>
                    <a:pt x="619" y="211"/>
                  </a:lnTo>
                  <a:lnTo>
                    <a:pt x="617" y="209"/>
                  </a:lnTo>
                  <a:lnTo>
                    <a:pt x="612" y="211"/>
                  </a:lnTo>
                  <a:lnTo>
                    <a:pt x="610" y="211"/>
                  </a:lnTo>
                  <a:lnTo>
                    <a:pt x="610" y="205"/>
                  </a:lnTo>
                  <a:lnTo>
                    <a:pt x="610" y="193"/>
                  </a:lnTo>
                  <a:lnTo>
                    <a:pt x="610" y="180"/>
                  </a:lnTo>
                  <a:lnTo>
                    <a:pt x="610" y="168"/>
                  </a:lnTo>
                  <a:lnTo>
                    <a:pt x="610" y="156"/>
                  </a:lnTo>
                  <a:lnTo>
                    <a:pt x="610" y="143"/>
                  </a:lnTo>
                  <a:lnTo>
                    <a:pt x="610" y="131"/>
                  </a:lnTo>
                  <a:lnTo>
                    <a:pt x="610" y="119"/>
                  </a:lnTo>
                  <a:lnTo>
                    <a:pt x="610" y="107"/>
                  </a:lnTo>
                  <a:lnTo>
                    <a:pt x="610" y="94"/>
                  </a:lnTo>
                  <a:lnTo>
                    <a:pt x="610" y="82"/>
                  </a:lnTo>
                  <a:lnTo>
                    <a:pt x="610" y="70"/>
                  </a:lnTo>
                  <a:lnTo>
                    <a:pt x="610" y="57"/>
                  </a:lnTo>
                  <a:lnTo>
                    <a:pt x="610" y="45"/>
                  </a:lnTo>
                  <a:lnTo>
                    <a:pt x="610" y="33"/>
                  </a:lnTo>
                  <a:lnTo>
                    <a:pt x="610" y="21"/>
                  </a:lnTo>
                  <a:lnTo>
                    <a:pt x="610" y="8"/>
                  </a:lnTo>
                  <a:lnTo>
                    <a:pt x="610" y="4"/>
                  </a:lnTo>
                  <a:lnTo>
                    <a:pt x="610" y="4"/>
                  </a:lnTo>
                  <a:lnTo>
                    <a:pt x="594" y="4"/>
                  </a:lnTo>
                  <a:lnTo>
                    <a:pt x="582" y="4"/>
                  </a:lnTo>
                  <a:lnTo>
                    <a:pt x="565" y="4"/>
                  </a:lnTo>
                  <a:lnTo>
                    <a:pt x="545" y="4"/>
                  </a:lnTo>
                  <a:lnTo>
                    <a:pt x="524" y="2"/>
                  </a:lnTo>
                  <a:lnTo>
                    <a:pt x="502" y="2"/>
                  </a:lnTo>
                  <a:lnTo>
                    <a:pt x="477" y="2"/>
                  </a:lnTo>
                  <a:lnTo>
                    <a:pt x="453" y="2"/>
                  </a:lnTo>
                  <a:lnTo>
                    <a:pt x="430" y="2"/>
                  </a:lnTo>
                  <a:lnTo>
                    <a:pt x="408" y="2"/>
                  </a:lnTo>
                  <a:lnTo>
                    <a:pt x="389" y="0"/>
                  </a:lnTo>
                  <a:lnTo>
                    <a:pt x="373" y="0"/>
                  </a:lnTo>
                  <a:lnTo>
                    <a:pt x="361" y="0"/>
                  </a:lnTo>
                  <a:lnTo>
                    <a:pt x="352" y="0"/>
                  </a:lnTo>
                  <a:lnTo>
                    <a:pt x="348" y="0"/>
                  </a:lnTo>
                  <a:lnTo>
                    <a:pt x="346" y="0"/>
                  </a:lnTo>
                  <a:lnTo>
                    <a:pt x="346" y="2"/>
                  </a:lnTo>
                  <a:lnTo>
                    <a:pt x="346" y="4"/>
                  </a:lnTo>
                  <a:lnTo>
                    <a:pt x="344" y="21"/>
                  </a:lnTo>
                  <a:lnTo>
                    <a:pt x="344" y="35"/>
                  </a:lnTo>
                  <a:lnTo>
                    <a:pt x="344" y="49"/>
                  </a:lnTo>
                  <a:lnTo>
                    <a:pt x="344" y="66"/>
                  </a:lnTo>
                  <a:lnTo>
                    <a:pt x="342" y="80"/>
                  </a:lnTo>
                  <a:lnTo>
                    <a:pt x="342" y="94"/>
                  </a:lnTo>
                  <a:lnTo>
                    <a:pt x="342" y="111"/>
                  </a:lnTo>
                  <a:lnTo>
                    <a:pt x="342" y="125"/>
                  </a:lnTo>
                  <a:lnTo>
                    <a:pt x="342" y="139"/>
                  </a:lnTo>
                  <a:lnTo>
                    <a:pt x="340" y="156"/>
                  </a:lnTo>
                  <a:lnTo>
                    <a:pt x="340" y="170"/>
                  </a:lnTo>
                  <a:lnTo>
                    <a:pt x="340" y="184"/>
                  </a:lnTo>
                  <a:lnTo>
                    <a:pt x="340" y="199"/>
                  </a:lnTo>
                  <a:lnTo>
                    <a:pt x="338" y="215"/>
                  </a:lnTo>
                  <a:lnTo>
                    <a:pt x="338" y="230"/>
                  </a:lnTo>
                  <a:lnTo>
                    <a:pt x="338" y="244"/>
                  </a:lnTo>
                  <a:lnTo>
                    <a:pt x="338" y="260"/>
                  </a:lnTo>
                  <a:lnTo>
                    <a:pt x="336" y="275"/>
                  </a:lnTo>
                  <a:lnTo>
                    <a:pt x="336" y="289"/>
                  </a:lnTo>
                  <a:lnTo>
                    <a:pt x="336" y="305"/>
                  </a:lnTo>
                  <a:lnTo>
                    <a:pt x="336" y="320"/>
                  </a:lnTo>
                  <a:lnTo>
                    <a:pt x="334" y="334"/>
                  </a:lnTo>
                  <a:lnTo>
                    <a:pt x="334" y="350"/>
                  </a:lnTo>
                  <a:lnTo>
                    <a:pt x="334" y="365"/>
                  </a:lnTo>
                  <a:lnTo>
                    <a:pt x="334" y="379"/>
                  </a:lnTo>
                  <a:lnTo>
                    <a:pt x="334" y="396"/>
                  </a:lnTo>
                  <a:lnTo>
                    <a:pt x="332" y="410"/>
                  </a:lnTo>
                  <a:lnTo>
                    <a:pt x="332" y="424"/>
                  </a:lnTo>
                  <a:lnTo>
                    <a:pt x="332" y="441"/>
                  </a:lnTo>
                  <a:lnTo>
                    <a:pt x="332" y="455"/>
                  </a:lnTo>
                  <a:lnTo>
                    <a:pt x="330" y="469"/>
                  </a:lnTo>
                  <a:lnTo>
                    <a:pt x="330" y="486"/>
                  </a:lnTo>
                  <a:lnTo>
                    <a:pt x="309" y="484"/>
                  </a:lnTo>
                  <a:lnTo>
                    <a:pt x="289" y="484"/>
                  </a:lnTo>
                  <a:lnTo>
                    <a:pt x="268" y="484"/>
                  </a:lnTo>
                  <a:lnTo>
                    <a:pt x="248" y="482"/>
                  </a:lnTo>
                  <a:lnTo>
                    <a:pt x="229" y="482"/>
                  </a:lnTo>
                  <a:lnTo>
                    <a:pt x="209" y="482"/>
                  </a:lnTo>
                  <a:lnTo>
                    <a:pt x="189" y="480"/>
                  </a:lnTo>
                  <a:lnTo>
                    <a:pt x="168" y="480"/>
                  </a:lnTo>
                  <a:lnTo>
                    <a:pt x="148" y="478"/>
                  </a:lnTo>
                  <a:lnTo>
                    <a:pt x="127" y="478"/>
                  </a:lnTo>
                  <a:lnTo>
                    <a:pt x="107" y="475"/>
                  </a:lnTo>
                  <a:lnTo>
                    <a:pt x="86" y="475"/>
                  </a:lnTo>
                  <a:lnTo>
                    <a:pt x="66" y="473"/>
                  </a:lnTo>
                  <a:lnTo>
                    <a:pt x="45" y="473"/>
                  </a:lnTo>
                  <a:lnTo>
                    <a:pt x="25" y="471"/>
                  </a:lnTo>
                  <a:lnTo>
                    <a:pt x="4" y="471"/>
                  </a:lnTo>
                  <a:lnTo>
                    <a:pt x="2" y="471"/>
                  </a:lnTo>
                  <a:lnTo>
                    <a:pt x="0" y="471"/>
                  </a:lnTo>
                  <a:lnTo>
                    <a:pt x="0" y="471"/>
                  </a:lnTo>
                  <a:lnTo>
                    <a:pt x="2" y="475"/>
                  </a:lnTo>
                  <a:lnTo>
                    <a:pt x="2" y="478"/>
                  </a:lnTo>
                  <a:lnTo>
                    <a:pt x="4" y="482"/>
                  </a:lnTo>
                  <a:lnTo>
                    <a:pt x="4" y="484"/>
                  </a:lnTo>
                  <a:lnTo>
                    <a:pt x="6" y="486"/>
                  </a:lnTo>
                  <a:lnTo>
                    <a:pt x="4" y="488"/>
                  </a:lnTo>
                  <a:lnTo>
                    <a:pt x="6" y="488"/>
                  </a:lnTo>
                  <a:lnTo>
                    <a:pt x="6" y="490"/>
                  </a:lnTo>
                  <a:lnTo>
                    <a:pt x="8" y="490"/>
                  </a:lnTo>
                  <a:lnTo>
                    <a:pt x="8" y="490"/>
                  </a:lnTo>
                  <a:lnTo>
                    <a:pt x="10" y="492"/>
                  </a:lnTo>
                  <a:lnTo>
                    <a:pt x="14" y="498"/>
                  </a:lnTo>
                  <a:lnTo>
                    <a:pt x="16" y="498"/>
                  </a:lnTo>
                  <a:lnTo>
                    <a:pt x="21" y="498"/>
                  </a:lnTo>
                  <a:lnTo>
                    <a:pt x="25" y="500"/>
                  </a:lnTo>
                  <a:lnTo>
                    <a:pt x="27" y="502"/>
                  </a:lnTo>
                  <a:lnTo>
                    <a:pt x="29" y="506"/>
                  </a:lnTo>
                  <a:lnTo>
                    <a:pt x="31" y="510"/>
                  </a:lnTo>
                  <a:lnTo>
                    <a:pt x="33" y="518"/>
                  </a:lnTo>
                  <a:lnTo>
                    <a:pt x="33" y="521"/>
                  </a:lnTo>
                  <a:lnTo>
                    <a:pt x="37" y="525"/>
                  </a:lnTo>
                  <a:lnTo>
                    <a:pt x="39" y="527"/>
                  </a:lnTo>
                  <a:lnTo>
                    <a:pt x="39" y="527"/>
                  </a:lnTo>
                  <a:lnTo>
                    <a:pt x="39" y="529"/>
                  </a:lnTo>
                  <a:lnTo>
                    <a:pt x="39" y="529"/>
                  </a:lnTo>
                  <a:lnTo>
                    <a:pt x="39" y="529"/>
                  </a:lnTo>
                  <a:lnTo>
                    <a:pt x="43" y="531"/>
                  </a:lnTo>
                  <a:lnTo>
                    <a:pt x="43" y="533"/>
                  </a:lnTo>
                  <a:lnTo>
                    <a:pt x="45" y="533"/>
                  </a:lnTo>
                  <a:lnTo>
                    <a:pt x="49" y="535"/>
                  </a:lnTo>
                  <a:lnTo>
                    <a:pt x="51" y="537"/>
                  </a:lnTo>
                  <a:lnTo>
                    <a:pt x="53" y="537"/>
                  </a:lnTo>
                  <a:lnTo>
                    <a:pt x="55" y="539"/>
                  </a:lnTo>
                  <a:lnTo>
                    <a:pt x="57" y="539"/>
                  </a:lnTo>
                  <a:lnTo>
                    <a:pt x="62" y="541"/>
                  </a:lnTo>
                  <a:lnTo>
                    <a:pt x="62" y="543"/>
                  </a:lnTo>
                  <a:lnTo>
                    <a:pt x="64" y="543"/>
                  </a:lnTo>
                  <a:lnTo>
                    <a:pt x="64" y="545"/>
                  </a:lnTo>
                  <a:lnTo>
                    <a:pt x="64" y="547"/>
                  </a:lnTo>
                  <a:lnTo>
                    <a:pt x="66" y="547"/>
                  </a:lnTo>
                  <a:lnTo>
                    <a:pt x="68" y="549"/>
                  </a:lnTo>
                  <a:lnTo>
                    <a:pt x="68" y="549"/>
                  </a:lnTo>
                  <a:lnTo>
                    <a:pt x="68" y="549"/>
                  </a:lnTo>
                  <a:lnTo>
                    <a:pt x="70" y="551"/>
                  </a:lnTo>
                  <a:lnTo>
                    <a:pt x="76" y="559"/>
                  </a:lnTo>
                  <a:lnTo>
                    <a:pt x="78" y="562"/>
                  </a:lnTo>
                  <a:lnTo>
                    <a:pt x="78" y="564"/>
                  </a:lnTo>
                  <a:lnTo>
                    <a:pt x="84" y="568"/>
                  </a:lnTo>
                  <a:lnTo>
                    <a:pt x="86" y="570"/>
                  </a:lnTo>
                  <a:lnTo>
                    <a:pt x="86" y="570"/>
                  </a:lnTo>
                  <a:lnTo>
                    <a:pt x="90" y="572"/>
                  </a:lnTo>
                  <a:lnTo>
                    <a:pt x="90" y="574"/>
                  </a:lnTo>
                  <a:lnTo>
                    <a:pt x="92" y="574"/>
                  </a:lnTo>
                  <a:lnTo>
                    <a:pt x="94" y="576"/>
                  </a:lnTo>
                  <a:lnTo>
                    <a:pt x="94" y="578"/>
                  </a:lnTo>
                  <a:lnTo>
                    <a:pt x="96" y="582"/>
                  </a:lnTo>
                  <a:lnTo>
                    <a:pt x="96" y="584"/>
                  </a:lnTo>
                  <a:lnTo>
                    <a:pt x="98" y="584"/>
                  </a:lnTo>
                  <a:lnTo>
                    <a:pt x="103" y="588"/>
                  </a:lnTo>
                  <a:lnTo>
                    <a:pt x="109" y="594"/>
                  </a:lnTo>
                  <a:lnTo>
                    <a:pt x="113" y="600"/>
                  </a:lnTo>
                  <a:lnTo>
                    <a:pt x="113" y="600"/>
                  </a:lnTo>
                  <a:lnTo>
                    <a:pt x="117" y="603"/>
                  </a:lnTo>
                  <a:lnTo>
                    <a:pt x="121" y="605"/>
                  </a:lnTo>
                  <a:lnTo>
                    <a:pt x="123" y="605"/>
                  </a:lnTo>
                  <a:lnTo>
                    <a:pt x="123" y="607"/>
                  </a:lnTo>
                  <a:lnTo>
                    <a:pt x="123" y="607"/>
                  </a:lnTo>
                  <a:lnTo>
                    <a:pt x="125" y="607"/>
                  </a:lnTo>
                  <a:lnTo>
                    <a:pt x="125" y="607"/>
                  </a:lnTo>
                  <a:lnTo>
                    <a:pt x="125" y="607"/>
                  </a:lnTo>
                  <a:lnTo>
                    <a:pt x="125" y="607"/>
                  </a:lnTo>
                  <a:lnTo>
                    <a:pt x="125" y="607"/>
                  </a:lnTo>
                  <a:lnTo>
                    <a:pt x="127" y="607"/>
                  </a:lnTo>
                  <a:lnTo>
                    <a:pt x="127" y="607"/>
                  </a:lnTo>
                  <a:lnTo>
                    <a:pt x="129" y="607"/>
                  </a:lnTo>
                  <a:lnTo>
                    <a:pt x="129" y="609"/>
                  </a:lnTo>
                  <a:lnTo>
                    <a:pt x="129" y="609"/>
                  </a:lnTo>
                  <a:lnTo>
                    <a:pt x="131" y="609"/>
                  </a:lnTo>
                  <a:lnTo>
                    <a:pt x="131" y="609"/>
                  </a:lnTo>
                  <a:lnTo>
                    <a:pt x="131" y="611"/>
                  </a:lnTo>
                  <a:lnTo>
                    <a:pt x="131" y="611"/>
                  </a:lnTo>
                  <a:lnTo>
                    <a:pt x="133" y="611"/>
                  </a:lnTo>
                  <a:lnTo>
                    <a:pt x="133" y="611"/>
                  </a:lnTo>
                  <a:lnTo>
                    <a:pt x="133" y="613"/>
                  </a:lnTo>
                  <a:lnTo>
                    <a:pt x="135" y="613"/>
                  </a:lnTo>
                  <a:lnTo>
                    <a:pt x="135" y="613"/>
                  </a:lnTo>
                  <a:lnTo>
                    <a:pt x="139" y="617"/>
                  </a:lnTo>
                  <a:lnTo>
                    <a:pt x="141" y="619"/>
                  </a:lnTo>
                  <a:lnTo>
                    <a:pt x="141" y="619"/>
                  </a:lnTo>
                  <a:lnTo>
                    <a:pt x="143" y="619"/>
                  </a:lnTo>
                  <a:lnTo>
                    <a:pt x="146" y="621"/>
                  </a:lnTo>
                  <a:lnTo>
                    <a:pt x="148" y="623"/>
                  </a:lnTo>
                  <a:lnTo>
                    <a:pt x="148" y="623"/>
                  </a:lnTo>
                  <a:lnTo>
                    <a:pt x="148" y="625"/>
                  </a:lnTo>
                  <a:lnTo>
                    <a:pt x="148" y="627"/>
                  </a:lnTo>
                  <a:lnTo>
                    <a:pt x="148" y="627"/>
                  </a:lnTo>
                  <a:lnTo>
                    <a:pt x="150" y="627"/>
                  </a:lnTo>
                  <a:lnTo>
                    <a:pt x="152" y="627"/>
                  </a:lnTo>
                  <a:lnTo>
                    <a:pt x="152" y="629"/>
                  </a:lnTo>
                  <a:lnTo>
                    <a:pt x="154" y="629"/>
                  </a:lnTo>
                  <a:lnTo>
                    <a:pt x="156" y="633"/>
                  </a:lnTo>
                  <a:lnTo>
                    <a:pt x="156" y="635"/>
                  </a:lnTo>
                  <a:lnTo>
                    <a:pt x="156" y="635"/>
                  </a:lnTo>
                  <a:lnTo>
                    <a:pt x="156" y="639"/>
                  </a:lnTo>
                  <a:lnTo>
                    <a:pt x="158" y="639"/>
                  </a:lnTo>
                  <a:lnTo>
                    <a:pt x="158" y="641"/>
                  </a:lnTo>
                  <a:lnTo>
                    <a:pt x="158" y="641"/>
                  </a:lnTo>
                  <a:lnTo>
                    <a:pt x="158" y="641"/>
                  </a:lnTo>
                  <a:lnTo>
                    <a:pt x="158" y="644"/>
                  </a:lnTo>
                  <a:lnTo>
                    <a:pt x="158" y="644"/>
                  </a:lnTo>
                  <a:lnTo>
                    <a:pt x="158" y="646"/>
                  </a:lnTo>
                  <a:lnTo>
                    <a:pt x="160" y="646"/>
                  </a:lnTo>
                  <a:lnTo>
                    <a:pt x="160" y="648"/>
                  </a:lnTo>
                  <a:lnTo>
                    <a:pt x="160" y="650"/>
                  </a:lnTo>
                  <a:lnTo>
                    <a:pt x="158" y="650"/>
                  </a:lnTo>
                  <a:lnTo>
                    <a:pt x="160" y="650"/>
                  </a:lnTo>
                  <a:lnTo>
                    <a:pt x="160" y="652"/>
                  </a:lnTo>
                  <a:lnTo>
                    <a:pt x="160" y="652"/>
                  </a:lnTo>
                  <a:lnTo>
                    <a:pt x="162" y="654"/>
                  </a:lnTo>
                  <a:lnTo>
                    <a:pt x="162" y="654"/>
                  </a:lnTo>
                  <a:lnTo>
                    <a:pt x="162" y="654"/>
                  </a:lnTo>
                  <a:lnTo>
                    <a:pt x="162" y="656"/>
                  </a:lnTo>
                  <a:lnTo>
                    <a:pt x="162" y="658"/>
                  </a:lnTo>
                  <a:lnTo>
                    <a:pt x="162" y="658"/>
                  </a:lnTo>
                  <a:lnTo>
                    <a:pt x="164" y="658"/>
                  </a:lnTo>
                  <a:lnTo>
                    <a:pt x="166" y="662"/>
                  </a:lnTo>
                  <a:lnTo>
                    <a:pt x="166" y="664"/>
                  </a:lnTo>
                  <a:lnTo>
                    <a:pt x="168" y="666"/>
                  </a:lnTo>
                  <a:lnTo>
                    <a:pt x="168" y="668"/>
                  </a:lnTo>
                  <a:lnTo>
                    <a:pt x="170" y="668"/>
                  </a:lnTo>
                  <a:lnTo>
                    <a:pt x="170" y="668"/>
                  </a:lnTo>
                  <a:lnTo>
                    <a:pt x="172" y="672"/>
                  </a:lnTo>
                  <a:lnTo>
                    <a:pt x="174" y="674"/>
                  </a:lnTo>
                  <a:lnTo>
                    <a:pt x="174" y="676"/>
                  </a:lnTo>
                  <a:lnTo>
                    <a:pt x="174" y="680"/>
                  </a:lnTo>
                  <a:lnTo>
                    <a:pt x="174" y="682"/>
                  </a:lnTo>
                  <a:lnTo>
                    <a:pt x="172" y="687"/>
                  </a:lnTo>
                  <a:lnTo>
                    <a:pt x="172" y="689"/>
                  </a:lnTo>
                  <a:lnTo>
                    <a:pt x="172" y="693"/>
                  </a:lnTo>
                  <a:lnTo>
                    <a:pt x="172" y="699"/>
                  </a:lnTo>
                  <a:lnTo>
                    <a:pt x="172" y="699"/>
                  </a:lnTo>
                  <a:lnTo>
                    <a:pt x="172" y="701"/>
                  </a:lnTo>
                  <a:lnTo>
                    <a:pt x="172" y="701"/>
                  </a:lnTo>
                  <a:lnTo>
                    <a:pt x="174" y="703"/>
                  </a:lnTo>
                  <a:lnTo>
                    <a:pt x="174" y="703"/>
                  </a:lnTo>
                  <a:lnTo>
                    <a:pt x="174" y="705"/>
                  </a:lnTo>
                  <a:lnTo>
                    <a:pt x="174" y="705"/>
                  </a:lnTo>
                  <a:lnTo>
                    <a:pt x="176" y="707"/>
                  </a:lnTo>
                  <a:lnTo>
                    <a:pt x="178" y="713"/>
                  </a:lnTo>
                  <a:lnTo>
                    <a:pt x="178" y="713"/>
                  </a:lnTo>
                  <a:lnTo>
                    <a:pt x="180" y="715"/>
                  </a:lnTo>
                  <a:lnTo>
                    <a:pt x="180" y="717"/>
                  </a:lnTo>
                  <a:lnTo>
                    <a:pt x="182" y="719"/>
                  </a:lnTo>
                  <a:lnTo>
                    <a:pt x="182" y="723"/>
                  </a:lnTo>
                  <a:lnTo>
                    <a:pt x="184" y="725"/>
                  </a:lnTo>
                  <a:lnTo>
                    <a:pt x="184" y="728"/>
                  </a:lnTo>
                  <a:lnTo>
                    <a:pt x="184" y="730"/>
                  </a:lnTo>
                  <a:lnTo>
                    <a:pt x="184" y="732"/>
                  </a:lnTo>
                  <a:lnTo>
                    <a:pt x="186" y="732"/>
                  </a:lnTo>
                  <a:lnTo>
                    <a:pt x="186" y="734"/>
                  </a:lnTo>
                  <a:lnTo>
                    <a:pt x="191" y="736"/>
                  </a:lnTo>
                  <a:lnTo>
                    <a:pt x="193" y="738"/>
                  </a:lnTo>
                  <a:lnTo>
                    <a:pt x="193" y="738"/>
                  </a:lnTo>
                  <a:lnTo>
                    <a:pt x="193" y="740"/>
                  </a:lnTo>
                  <a:lnTo>
                    <a:pt x="193" y="740"/>
                  </a:lnTo>
                  <a:lnTo>
                    <a:pt x="195" y="742"/>
                  </a:lnTo>
                  <a:lnTo>
                    <a:pt x="195" y="742"/>
                  </a:lnTo>
                  <a:lnTo>
                    <a:pt x="203" y="746"/>
                  </a:lnTo>
                  <a:lnTo>
                    <a:pt x="203" y="748"/>
                  </a:lnTo>
                  <a:lnTo>
                    <a:pt x="205" y="748"/>
                  </a:lnTo>
                  <a:lnTo>
                    <a:pt x="207" y="748"/>
                  </a:lnTo>
                  <a:lnTo>
                    <a:pt x="209" y="748"/>
                  </a:lnTo>
                  <a:lnTo>
                    <a:pt x="211" y="750"/>
                  </a:lnTo>
                  <a:lnTo>
                    <a:pt x="213" y="752"/>
                  </a:lnTo>
                  <a:lnTo>
                    <a:pt x="215" y="752"/>
                  </a:lnTo>
                  <a:lnTo>
                    <a:pt x="215" y="752"/>
                  </a:lnTo>
                  <a:lnTo>
                    <a:pt x="217" y="756"/>
                  </a:lnTo>
                  <a:lnTo>
                    <a:pt x="219" y="760"/>
                  </a:lnTo>
                  <a:lnTo>
                    <a:pt x="221" y="762"/>
                  </a:lnTo>
                  <a:lnTo>
                    <a:pt x="225" y="764"/>
                  </a:lnTo>
                  <a:lnTo>
                    <a:pt x="229" y="769"/>
                  </a:lnTo>
                  <a:lnTo>
                    <a:pt x="232" y="771"/>
                  </a:lnTo>
                  <a:lnTo>
                    <a:pt x="242" y="775"/>
                  </a:lnTo>
                  <a:lnTo>
                    <a:pt x="246" y="777"/>
                  </a:lnTo>
                  <a:lnTo>
                    <a:pt x="254" y="777"/>
                  </a:lnTo>
                  <a:lnTo>
                    <a:pt x="254" y="777"/>
                  </a:lnTo>
                  <a:lnTo>
                    <a:pt x="256" y="777"/>
                  </a:lnTo>
                  <a:lnTo>
                    <a:pt x="256" y="779"/>
                  </a:lnTo>
                  <a:lnTo>
                    <a:pt x="254" y="781"/>
                  </a:lnTo>
                  <a:lnTo>
                    <a:pt x="256" y="781"/>
                  </a:lnTo>
                  <a:lnTo>
                    <a:pt x="256" y="783"/>
                  </a:lnTo>
                  <a:lnTo>
                    <a:pt x="258" y="783"/>
                  </a:lnTo>
                  <a:lnTo>
                    <a:pt x="262" y="787"/>
                  </a:lnTo>
                  <a:lnTo>
                    <a:pt x="264" y="789"/>
                  </a:lnTo>
                  <a:lnTo>
                    <a:pt x="273" y="791"/>
                  </a:lnTo>
                  <a:lnTo>
                    <a:pt x="275" y="791"/>
                  </a:lnTo>
                  <a:lnTo>
                    <a:pt x="277" y="791"/>
                  </a:lnTo>
                  <a:lnTo>
                    <a:pt x="277" y="791"/>
                  </a:lnTo>
                  <a:lnTo>
                    <a:pt x="277" y="791"/>
                  </a:lnTo>
                  <a:lnTo>
                    <a:pt x="277" y="793"/>
                  </a:lnTo>
                  <a:lnTo>
                    <a:pt x="279" y="793"/>
                  </a:lnTo>
                  <a:lnTo>
                    <a:pt x="283" y="799"/>
                  </a:lnTo>
                  <a:lnTo>
                    <a:pt x="287" y="801"/>
                  </a:lnTo>
                  <a:lnTo>
                    <a:pt x="287" y="801"/>
                  </a:lnTo>
                  <a:lnTo>
                    <a:pt x="289" y="801"/>
                  </a:lnTo>
                  <a:lnTo>
                    <a:pt x="291" y="805"/>
                  </a:lnTo>
                  <a:lnTo>
                    <a:pt x="293" y="805"/>
                  </a:lnTo>
                  <a:lnTo>
                    <a:pt x="293" y="805"/>
                  </a:lnTo>
                  <a:lnTo>
                    <a:pt x="295" y="803"/>
                  </a:lnTo>
                  <a:lnTo>
                    <a:pt x="295" y="803"/>
                  </a:lnTo>
                  <a:lnTo>
                    <a:pt x="297" y="805"/>
                  </a:lnTo>
                  <a:lnTo>
                    <a:pt x="297" y="805"/>
                  </a:lnTo>
                  <a:lnTo>
                    <a:pt x="299" y="805"/>
                  </a:lnTo>
                  <a:lnTo>
                    <a:pt x="297" y="807"/>
                  </a:lnTo>
                  <a:lnTo>
                    <a:pt x="299" y="807"/>
                  </a:lnTo>
                  <a:lnTo>
                    <a:pt x="305" y="807"/>
                  </a:lnTo>
                  <a:lnTo>
                    <a:pt x="309" y="809"/>
                  </a:lnTo>
                  <a:lnTo>
                    <a:pt x="313" y="809"/>
                  </a:lnTo>
                  <a:lnTo>
                    <a:pt x="316" y="809"/>
                  </a:lnTo>
                  <a:lnTo>
                    <a:pt x="318" y="805"/>
                  </a:lnTo>
                  <a:lnTo>
                    <a:pt x="318" y="801"/>
                  </a:lnTo>
                  <a:lnTo>
                    <a:pt x="318" y="801"/>
                  </a:lnTo>
                  <a:lnTo>
                    <a:pt x="318" y="801"/>
                  </a:lnTo>
                  <a:lnTo>
                    <a:pt x="320" y="801"/>
                  </a:lnTo>
                  <a:lnTo>
                    <a:pt x="320" y="801"/>
                  </a:lnTo>
                  <a:lnTo>
                    <a:pt x="320" y="799"/>
                  </a:lnTo>
                  <a:lnTo>
                    <a:pt x="322" y="799"/>
                  </a:lnTo>
                  <a:lnTo>
                    <a:pt x="324" y="797"/>
                  </a:lnTo>
                  <a:lnTo>
                    <a:pt x="326" y="795"/>
                  </a:lnTo>
                  <a:lnTo>
                    <a:pt x="326" y="795"/>
                  </a:lnTo>
                  <a:lnTo>
                    <a:pt x="326" y="795"/>
                  </a:lnTo>
                  <a:lnTo>
                    <a:pt x="330" y="789"/>
                  </a:lnTo>
                  <a:lnTo>
                    <a:pt x="330" y="789"/>
                  </a:lnTo>
                  <a:lnTo>
                    <a:pt x="330" y="789"/>
                  </a:lnTo>
                  <a:lnTo>
                    <a:pt x="330" y="789"/>
                  </a:lnTo>
                  <a:lnTo>
                    <a:pt x="332" y="789"/>
                  </a:lnTo>
                  <a:lnTo>
                    <a:pt x="334" y="789"/>
                  </a:lnTo>
                  <a:lnTo>
                    <a:pt x="338" y="785"/>
                  </a:lnTo>
                  <a:lnTo>
                    <a:pt x="340" y="785"/>
                  </a:lnTo>
                  <a:lnTo>
                    <a:pt x="342" y="785"/>
                  </a:lnTo>
                  <a:lnTo>
                    <a:pt x="342" y="785"/>
                  </a:lnTo>
                  <a:lnTo>
                    <a:pt x="340" y="783"/>
                  </a:lnTo>
                  <a:lnTo>
                    <a:pt x="338" y="781"/>
                  </a:lnTo>
                  <a:lnTo>
                    <a:pt x="338" y="781"/>
                  </a:lnTo>
                  <a:lnTo>
                    <a:pt x="338" y="779"/>
                  </a:lnTo>
                  <a:lnTo>
                    <a:pt x="338" y="775"/>
                  </a:lnTo>
                  <a:lnTo>
                    <a:pt x="340" y="773"/>
                  </a:lnTo>
                  <a:lnTo>
                    <a:pt x="340" y="773"/>
                  </a:lnTo>
                  <a:lnTo>
                    <a:pt x="340" y="771"/>
                  </a:lnTo>
                  <a:lnTo>
                    <a:pt x="340" y="771"/>
                  </a:lnTo>
                  <a:lnTo>
                    <a:pt x="342" y="771"/>
                  </a:lnTo>
                  <a:lnTo>
                    <a:pt x="342" y="771"/>
                  </a:lnTo>
                  <a:lnTo>
                    <a:pt x="342" y="771"/>
                  </a:lnTo>
                  <a:lnTo>
                    <a:pt x="344" y="771"/>
                  </a:lnTo>
                  <a:lnTo>
                    <a:pt x="344" y="771"/>
                  </a:lnTo>
                  <a:lnTo>
                    <a:pt x="344" y="769"/>
                  </a:lnTo>
                  <a:lnTo>
                    <a:pt x="342" y="769"/>
                  </a:lnTo>
                  <a:lnTo>
                    <a:pt x="342" y="766"/>
                  </a:lnTo>
                  <a:lnTo>
                    <a:pt x="344" y="766"/>
                  </a:lnTo>
                  <a:lnTo>
                    <a:pt x="344" y="764"/>
                  </a:lnTo>
                  <a:lnTo>
                    <a:pt x="344" y="762"/>
                  </a:lnTo>
                  <a:lnTo>
                    <a:pt x="344" y="762"/>
                  </a:lnTo>
                  <a:lnTo>
                    <a:pt x="344" y="760"/>
                  </a:lnTo>
                  <a:lnTo>
                    <a:pt x="344" y="760"/>
                  </a:lnTo>
                  <a:lnTo>
                    <a:pt x="344" y="758"/>
                  </a:lnTo>
                  <a:lnTo>
                    <a:pt x="348" y="750"/>
                  </a:lnTo>
                  <a:lnTo>
                    <a:pt x="348" y="750"/>
                  </a:lnTo>
                  <a:lnTo>
                    <a:pt x="348" y="750"/>
                  </a:lnTo>
                  <a:lnTo>
                    <a:pt x="348" y="750"/>
                  </a:lnTo>
                  <a:lnTo>
                    <a:pt x="350" y="748"/>
                  </a:lnTo>
                  <a:lnTo>
                    <a:pt x="348" y="748"/>
                  </a:lnTo>
                  <a:lnTo>
                    <a:pt x="350" y="748"/>
                  </a:lnTo>
                  <a:lnTo>
                    <a:pt x="350" y="746"/>
                  </a:lnTo>
                  <a:lnTo>
                    <a:pt x="350" y="746"/>
                  </a:lnTo>
                  <a:lnTo>
                    <a:pt x="350" y="744"/>
                  </a:lnTo>
                  <a:lnTo>
                    <a:pt x="352" y="744"/>
                  </a:lnTo>
                  <a:lnTo>
                    <a:pt x="352" y="744"/>
                  </a:lnTo>
                  <a:lnTo>
                    <a:pt x="352" y="742"/>
                  </a:lnTo>
                  <a:lnTo>
                    <a:pt x="352" y="742"/>
                  </a:lnTo>
                  <a:lnTo>
                    <a:pt x="354" y="740"/>
                  </a:lnTo>
                  <a:lnTo>
                    <a:pt x="354" y="740"/>
                  </a:lnTo>
                  <a:lnTo>
                    <a:pt x="354" y="738"/>
                  </a:lnTo>
                  <a:lnTo>
                    <a:pt x="359" y="734"/>
                  </a:lnTo>
                  <a:lnTo>
                    <a:pt x="359" y="732"/>
                  </a:lnTo>
                  <a:lnTo>
                    <a:pt x="359" y="732"/>
                  </a:lnTo>
                  <a:lnTo>
                    <a:pt x="359" y="730"/>
                  </a:lnTo>
                  <a:lnTo>
                    <a:pt x="359" y="730"/>
                  </a:lnTo>
                  <a:lnTo>
                    <a:pt x="361" y="730"/>
                  </a:lnTo>
                  <a:lnTo>
                    <a:pt x="363" y="730"/>
                  </a:lnTo>
                  <a:lnTo>
                    <a:pt x="365" y="730"/>
                  </a:lnTo>
                  <a:lnTo>
                    <a:pt x="369" y="728"/>
                  </a:lnTo>
                  <a:lnTo>
                    <a:pt x="371" y="728"/>
                  </a:lnTo>
                  <a:lnTo>
                    <a:pt x="371" y="728"/>
                  </a:lnTo>
                  <a:lnTo>
                    <a:pt x="371" y="728"/>
                  </a:lnTo>
                  <a:lnTo>
                    <a:pt x="371" y="728"/>
                  </a:lnTo>
                  <a:lnTo>
                    <a:pt x="373" y="728"/>
                  </a:lnTo>
                  <a:lnTo>
                    <a:pt x="373" y="728"/>
                  </a:lnTo>
                  <a:lnTo>
                    <a:pt x="373" y="728"/>
                  </a:lnTo>
                  <a:lnTo>
                    <a:pt x="373" y="728"/>
                  </a:lnTo>
                  <a:lnTo>
                    <a:pt x="373" y="728"/>
                  </a:lnTo>
                  <a:lnTo>
                    <a:pt x="373" y="728"/>
                  </a:lnTo>
                  <a:lnTo>
                    <a:pt x="375" y="725"/>
                  </a:lnTo>
                  <a:lnTo>
                    <a:pt x="375" y="725"/>
                  </a:lnTo>
                  <a:lnTo>
                    <a:pt x="385" y="725"/>
                  </a:lnTo>
                  <a:lnTo>
                    <a:pt x="385" y="725"/>
                  </a:lnTo>
                  <a:lnTo>
                    <a:pt x="385" y="725"/>
                  </a:lnTo>
                  <a:lnTo>
                    <a:pt x="387" y="723"/>
                  </a:lnTo>
                  <a:lnTo>
                    <a:pt x="387" y="721"/>
                  </a:lnTo>
                  <a:lnTo>
                    <a:pt x="389" y="719"/>
                  </a:lnTo>
                  <a:lnTo>
                    <a:pt x="389" y="717"/>
                  </a:lnTo>
                  <a:lnTo>
                    <a:pt x="389" y="717"/>
                  </a:lnTo>
                  <a:lnTo>
                    <a:pt x="391" y="717"/>
                  </a:lnTo>
                  <a:lnTo>
                    <a:pt x="391" y="717"/>
                  </a:lnTo>
                  <a:lnTo>
                    <a:pt x="393" y="715"/>
                  </a:lnTo>
                  <a:lnTo>
                    <a:pt x="393" y="713"/>
                  </a:lnTo>
                  <a:lnTo>
                    <a:pt x="395" y="715"/>
                  </a:lnTo>
                  <a:lnTo>
                    <a:pt x="395" y="715"/>
                  </a:lnTo>
                  <a:lnTo>
                    <a:pt x="397" y="717"/>
                  </a:lnTo>
                  <a:lnTo>
                    <a:pt x="399" y="715"/>
                  </a:lnTo>
                  <a:lnTo>
                    <a:pt x="399" y="717"/>
                  </a:lnTo>
                  <a:lnTo>
                    <a:pt x="402" y="719"/>
                  </a:lnTo>
                  <a:lnTo>
                    <a:pt x="404" y="719"/>
                  </a:lnTo>
                  <a:lnTo>
                    <a:pt x="408" y="721"/>
                  </a:lnTo>
                  <a:lnTo>
                    <a:pt x="410" y="723"/>
                  </a:lnTo>
                  <a:lnTo>
                    <a:pt x="414" y="723"/>
                  </a:lnTo>
                  <a:lnTo>
                    <a:pt x="422" y="723"/>
                  </a:lnTo>
                  <a:lnTo>
                    <a:pt x="424" y="723"/>
                  </a:lnTo>
                  <a:lnTo>
                    <a:pt x="426" y="723"/>
                  </a:lnTo>
                  <a:lnTo>
                    <a:pt x="428" y="723"/>
                  </a:lnTo>
                  <a:lnTo>
                    <a:pt x="428" y="723"/>
                  </a:lnTo>
                  <a:lnTo>
                    <a:pt x="430" y="725"/>
                  </a:lnTo>
                  <a:lnTo>
                    <a:pt x="430" y="725"/>
                  </a:lnTo>
                  <a:lnTo>
                    <a:pt x="432" y="725"/>
                  </a:lnTo>
                  <a:lnTo>
                    <a:pt x="432" y="723"/>
                  </a:lnTo>
                  <a:lnTo>
                    <a:pt x="432" y="723"/>
                  </a:lnTo>
                  <a:lnTo>
                    <a:pt x="434" y="723"/>
                  </a:lnTo>
                  <a:lnTo>
                    <a:pt x="434" y="723"/>
                  </a:lnTo>
                  <a:lnTo>
                    <a:pt x="436" y="723"/>
                  </a:lnTo>
                  <a:lnTo>
                    <a:pt x="440" y="723"/>
                  </a:lnTo>
                  <a:lnTo>
                    <a:pt x="440" y="723"/>
                  </a:lnTo>
                  <a:lnTo>
                    <a:pt x="442" y="723"/>
                  </a:lnTo>
                  <a:lnTo>
                    <a:pt x="442" y="725"/>
                  </a:lnTo>
                  <a:lnTo>
                    <a:pt x="442" y="725"/>
                  </a:lnTo>
                  <a:lnTo>
                    <a:pt x="457" y="728"/>
                  </a:lnTo>
                  <a:lnTo>
                    <a:pt x="463" y="728"/>
                  </a:lnTo>
                  <a:lnTo>
                    <a:pt x="465" y="728"/>
                  </a:lnTo>
                  <a:lnTo>
                    <a:pt x="465" y="725"/>
                  </a:lnTo>
                  <a:lnTo>
                    <a:pt x="465" y="725"/>
                  </a:lnTo>
                  <a:lnTo>
                    <a:pt x="465" y="723"/>
                  </a:lnTo>
                  <a:lnTo>
                    <a:pt x="465" y="723"/>
                  </a:lnTo>
                  <a:lnTo>
                    <a:pt x="465" y="723"/>
                  </a:lnTo>
                  <a:lnTo>
                    <a:pt x="467" y="723"/>
                  </a:lnTo>
                  <a:lnTo>
                    <a:pt x="467" y="723"/>
                  </a:lnTo>
                  <a:lnTo>
                    <a:pt x="467" y="725"/>
                  </a:lnTo>
                  <a:lnTo>
                    <a:pt x="467" y="725"/>
                  </a:lnTo>
                  <a:lnTo>
                    <a:pt x="467" y="728"/>
                  </a:lnTo>
                  <a:lnTo>
                    <a:pt x="467" y="728"/>
                  </a:lnTo>
                  <a:lnTo>
                    <a:pt x="469" y="730"/>
                  </a:lnTo>
                  <a:lnTo>
                    <a:pt x="469" y="728"/>
                  </a:lnTo>
                  <a:lnTo>
                    <a:pt x="471" y="728"/>
                  </a:lnTo>
                  <a:lnTo>
                    <a:pt x="473" y="725"/>
                  </a:lnTo>
                  <a:lnTo>
                    <a:pt x="473" y="728"/>
                  </a:lnTo>
                  <a:lnTo>
                    <a:pt x="475" y="728"/>
                  </a:lnTo>
                  <a:lnTo>
                    <a:pt x="475" y="728"/>
                  </a:lnTo>
                  <a:lnTo>
                    <a:pt x="475" y="730"/>
                  </a:lnTo>
                  <a:lnTo>
                    <a:pt x="477" y="728"/>
                  </a:lnTo>
                  <a:lnTo>
                    <a:pt x="477" y="728"/>
                  </a:lnTo>
                  <a:lnTo>
                    <a:pt x="479" y="728"/>
                  </a:lnTo>
                  <a:lnTo>
                    <a:pt x="479" y="730"/>
                  </a:lnTo>
                  <a:lnTo>
                    <a:pt x="479" y="730"/>
                  </a:lnTo>
                  <a:lnTo>
                    <a:pt x="479" y="732"/>
                  </a:lnTo>
                  <a:lnTo>
                    <a:pt x="481" y="734"/>
                  </a:lnTo>
                  <a:lnTo>
                    <a:pt x="481" y="736"/>
                  </a:lnTo>
                  <a:lnTo>
                    <a:pt x="483" y="738"/>
                  </a:lnTo>
                  <a:lnTo>
                    <a:pt x="483" y="740"/>
                  </a:lnTo>
                  <a:lnTo>
                    <a:pt x="483" y="740"/>
                  </a:lnTo>
                  <a:lnTo>
                    <a:pt x="486" y="742"/>
                  </a:lnTo>
                  <a:lnTo>
                    <a:pt x="488" y="742"/>
                  </a:lnTo>
                  <a:lnTo>
                    <a:pt x="490" y="742"/>
                  </a:lnTo>
                  <a:lnTo>
                    <a:pt x="488" y="744"/>
                  </a:lnTo>
                  <a:lnTo>
                    <a:pt x="488" y="746"/>
                  </a:lnTo>
                  <a:lnTo>
                    <a:pt x="488" y="748"/>
                  </a:lnTo>
                  <a:lnTo>
                    <a:pt x="488" y="748"/>
                  </a:lnTo>
                  <a:lnTo>
                    <a:pt x="490" y="746"/>
                  </a:lnTo>
                  <a:lnTo>
                    <a:pt x="492" y="744"/>
                  </a:lnTo>
                  <a:lnTo>
                    <a:pt x="496" y="744"/>
                  </a:lnTo>
                  <a:lnTo>
                    <a:pt x="496" y="746"/>
                  </a:lnTo>
                  <a:lnTo>
                    <a:pt x="496" y="748"/>
                  </a:lnTo>
                  <a:lnTo>
                    <a:pt x="496" y="752"/>
                  </a:lnTo>
                  <a:lnTo>
                    <a:pt x="496" y="754"/>
                  </a:lnTo>
                  <a:lnTo>
                    <a:pt x="498" y="754"/>
                  </a:lnTo>
                  <a:lnTo>
                    <a:pt x="498" y="754"/>
                  </a:lnTo>
                  <a:lnTo>
                    <a:pt x="500" y="754"/>
                  </a:lnTo>
                  <a:lnTo>
                    <a:pt x="500" y="756"/>
                  </a:lnTo>
                  <a:lnTo>
                    <a:pt x="502" y="758"/>
                  </a:lnTo>
                  <a:lnTo>
                    <a:pt x="504" y="760"/>
                  </a:lnTo>
                  <a:lnTo>
                    <a:pt x="510" y="762"/>
                  </a:lnTo>
                  <a:lnTo>
                    <a:pt x="514" y="762"/>
                  </a:lnTo>
                  <a:lnTo>
                    <a:pt x="514" y="764"/>
                  </a:lnTo>
                  <a:lnTo>
                    <a:pt x="514" y="766"/>
                  </a:lnTo>
                  <a:lnTo>
                    <a:pt x="514" y="769"/>
                  </a:lnTo>
                  <a:lnTo>
                    <a:pt x="514" y="771"/>
                  </a:lnTo>
                  <a:lnTo>
                    <a:pt x="516" y="771"/>
                  </a:lnTo>
                  <a:lnTo>
                    <a:pt x="516" y="773"/>
                  </a:lnTo>
                  <a:lnTo>
                    <a:pt x="518" y="773"/>
                  </a:lnTo>
                  <a:lnTo>
                    <a:pt x="524" y="777"/>
                  </a:lnTo>
                  <a:lnTo>
                    <a:pt x="526" y="779"/>
                  </a:lnTo>
                  <a:lnTo>
                    <a:pt x="529" y="781"/>
                  </a:lnTo>
                  <a:lnTo>
                    <a:pt x="529" y="781"/>
                  </a:lnTo>
                  <a:lnTo>
                    <a:pt x="535" y="783"/>
                  </a:lnTo>
                  <a:lnTo>
                    <a:pt x="537" y="785"/>
                  </a:lnTo>
                  <a:lnTo>
                    <a:pt x="537" y="787"/>
                  </a:lnTo>
                  <a:lnTo>
                    <a:pt x="539" y="789"/>
                  </a:lnTo>
                  <a:lnTo>
                    <a:pt x="539" y="793"/>
                  </a:lnTo>
                  <a:lnTo>
                    <a:pt x="539" y="793"/>
                  </a:lnTo>
                  <a:lnTo>
                    <a:pt x="543" y="797"/>
                  </a:lnTo>
                  <a:lnTo>
                    <a:pt x="545" y="799"/>
                  </a:lnTo>
                  <a:lnTo>
                    <a:pt x="545" y="799"/>
                  </a:lnTo>
                  <a:lnTo>
                    <a:pt x="545" y="799"/>
                  </a:lnTo>
                  <a:lnTo>
                    <a:pt x="547" y="799"/>
                  </a:lnTo>
                  <a:lnTo>
                    <a:pt x="547" y="799"/>
                  </a:lnTo>
                  <a:lnTo>
                    <a:pt x="549" y="801"/>
                  </a:lnTo>
                  <a:lnTo>
                    <a:pt x="549" y="807"/>
                  </a:lnTo>
                  <a:lnTo>
                    <a:pt x="551" y="812"/>
                  </a:lnTo>
                  <a:lnTo>
                    <a:pt x="551" y="814"/>
                  </a:lnTo>
                  <a:lnTo>
                    <a:pt x="551" y="816"/>
                  </a:lnTo>
                  <a:lnTo>
                    <a:pt x="551" y="818"/>
                  </a:lnTo>
                  <a:lnTo>
                    <a:pt x="551" y="818"/>
                  </a:lnTo>
                  <a:lnTo>
                    <a:pt x="551" y="820"/>
                  </a:lnTo>
                  <a:lnTo>
                    <a:pt x="551" y="820"/>
                  </a:lnTo>
                  <a:lnTo>
                    <a:pt x="553" y="822"/>
                  </a:lnTo>
                  <a:lnTo>
                    <a:pt x="553" y="822"/>
                  </a:lnTo>
                  <a:lnTo>
                    <a:pt x="555" y="824"/>
                  </a:lnTo>
                  <a:lnTo>
                    <a:pt x="555" y="826"/>
                  </a:lnTo>
                  <a:lnTo>
                    <a:pt x="555" y="826"/>
                  </a:lnTo>
                  <a:lnTo>
                    <a:pt x="557" y="826"/>
                  </a:lnTo>
                  <a:lnTo>
                    <a:pt x="557" y="826"/>
                  </a:lnTo>
                  <a:lnTo>
                    <a:pt x="557" y="828"/>
                  </a:lnTo>
                  <a:lnTo>
                    <a:pt x="557" y="828"/>
                  </a:lnTo>
                  <a:lnTo>
                    <a:pt x="557" y="830"/>
                  </a:lnTo>
                  <a:lnTo>
                    <a:pt x="557" y="830"/>
                  </a:lnTo>
                  <a:lnTo>
                    <a:pt x="559" y="830"/>
                  </a:lnTo>
                  <a:lnTo>
                    <a:pt x="559" y="830"/>
                  </a:lnTo>
                  <a:lnTo>
                    <a:pt x="559" y="830"/>
                  </a:lnTo>
                  <a:lnTo>
                    <a:pt x="561" y="832"/>
                  </a:lnTo>
                  <a:lnTo>
                    <a:pt x="561" y="832"/>
                  </a:lnTo>
                  <a:lnTo>
                    <a:pt x="561" y="834"/>
                  </a:lnTo>
                  <a:lnTo>
                    <a:pt x="563" y="844"/>
                  </a:lnTo>
                  <a:lnTo>
                    <a:pt x="565" y="846"/>
                  </a:lnTo>
                  <a:lnTo>
                    <a:pt x="569" y="850"/>
                  </a:lnTo>
                  <a:lnTo>
                    <a:pt x="569" y="853"/>
                  </a:lnTo>
                  <a:lnTo>
                    <a:pt x="569" y="853"/>
                  </a:lnTo>
                  <a:lnTo>
                    <a:pt x="572" y="855"/>
                  </a:lnTo>
                  <a:lnTo>
                    <a:pt x="574" y="855"/>
                  </a:lnTo>
                  <a:lnTo>
                    <a:pt x="574" y="857"/>
                  </a:lnTo>
                  <a:lnTo>
                    <a:pt x="574" y="859"/>
                  </a:lnTo>
                  <a:lnTo>
                    <a:pt x="574" y="861"/>
                  </a:lnTo>
                  <a:lnTo>
                    <a:pt x="574" y="863"/>
                  </a:lnTo>
                  <a:lnTo>
                    <a:pt x="576" y="863"/>
                  </a:lnTo>
                  <a:lnTo>
                    <a:pt x="580" y="865"/>
                  </a:lnTo>
                  <a:lnTo>
                    <a:pt x="580" y="865"/>
                  </a:lnTo>
                  <a:lnTo>
                    <a:pt x="578" y="867"/>
                  </a:lnTo>
                  <a:lnTo>
                    <a:pt x="578" y="867"/>
                  </a:lnTo>
                  <a:lnTo>
                    <a:pt x="578" y="869"/>
                  </a:lnTo>
                  <a:lnTo>
                    <a:pt x="578" y="869"/>
                  </a:lnTo>
                  <a:lnTo>
                    <a:pt x="578" y="871"/>
                  </a:lnTo>
                  <a:lnTo>
                    <a:pt x="580" y="871"/>
                  </a:lnTo>
                  <a:lnTo>
                    <a:pt x="580" y="875"/>
                  </a:lnTo>
                  <a:lnTo>
                    <a:pt x="580" y="879"/>
                  </a:lnTo>
                  <a:lnTo>
                    <a:pt x="584" y="881"/>
                  </a:lnTo>
                  <a:lnTo>
                    <a:pt x="584" y="885"/>
                  </a:lnTo>
                  <a:lnTo>
                    <a:pt x="584" y="887"/>
                  </a:lnTo>
                  <a:lnTo>
                    <a:pt x="584" y="889"/>
                  </a:lnTo>
                  <a:lnTo>
                    <a:pt x="584" y="891"/>
                  </a:lnTo>
                  <a:lnTo>
                    <a:pt x="586" y="891"/>
                  </a:lnTo>
                  <a:lnTo>
                    <a:pt x="588" y="894"/>
                  </a:lnTo>
                  <a:lnTo>
                    <a:pt x="590" y="894"/>
                  </a:lnTo>
                  <a:lnTo>
                    <a:pt x="592" y="894"/>
                  </a:lnTo>
                  <a:lnTo>
                    <a:pt x="592" y="896"/>
                  </a:lnTo>
                  <a:lnTo>
                    <a:pt x="592" y="896"/>
                  </a:lnTo>
                  <a:lnTo>
                    <a:pt x="592" y="898"/>
                  </a:lnTo>
                  <a:lnTo>
                    <a:pt x="592" y="900"/>
                  </a:lnTo>
                  <a:lnTo>
                    <a:pt x="594" y="900"/>
                  </a:lnTo>
                  <a:lnTo>
                    <a:pt x="604" y="904"/>
                  </a:lnTo>
                  <a:lnTo>
                    <a:pt x="606" y="906"/>
                  </a:lnTo>
                  <a:lnTo>
                    <a:pt x="606" y="908"/>
                  </a:lnTo>
                  <a:lnTo>
                    <a:pt x="606" y="910"/>
                  </a:lnTo>
                  <a:lnTo>
                    <a:pt x="606" y="910"/>
                  </a:lnTo>
                  <a:lnTo>
                    <a:pt x="608" y="912"/>
                  </a:lnTo>
                  <a:lnTo>
                    <a:pt x="608" y="912"/>
                  </a:lnTo>
                  <a:lnTo>
                    <a:pt x="610" y="912"/>
                  </a:lnTo>
                  <a:lnTo>
                    <a:pt x="610" y="914"/>
                  </a:lnTo>
                  <a:lnTo>
                    <a:pt x="610" y="914"/>
                  </a:lnTo>
                  <a:lnTo>
                    <a:pt x="610" y="914"/>
                  </a:lnTo>
                  <a:lnTo>
                    <a:pt x="610" y="916"/>
                  </a:lnTo>
                  <a:lnTo>
                    <a:pt x="610" y="918"/>
                  </a:lnTo>
                  <a:lnTo>
                    <a:pt x="612" y="920"/>
                  </a:lnTo>
                  <a:lnTo>
                    <a:pt x="612" y="922"/>
                  </a:lnTo>
                  <a:lnTo>
                    <a:pt x="615" y="922"/>
                  </a:lnTo>
                  <a:lnTo>
                    <a:pt x="617" y="922"/>
                  </a:lnTo>
                  <a:lnTo>
                    <a:pt x="619" y="922"/>
                  </a:lnTo>
                  <a:lnTo>
                    <a:pt x="617" y="924"/>
                  </a:lnTo>
                  <a:lnTo>
                    <a:pt x="617" y="926"/>
                  </a:lnTo>
                  <a:lnTo>
                    <a:pt x="619" y="928"/>
                  </a:lnTo>
                  <a:lnTo>
                    <a:pt x="621" y="930"/>
                  </a:lnTo>
                  <a:lnTo>
                    <a:pt x="623" y="930"/>
                  </a:lnTo>
                  <a:lnTo>
                    <a:pt x="623" y="930"/>
                  </a:lnTo>
                  <a:lnTo>
                    <a:pt x="623" y="932"/>
                  </a:lnTo>
                  <a:lnTo>
                    <a:pt x="621" y="935"/>
                  </a:lnTo>
                  <a:lnTo>
                    <a:pt x="621" y="935"/>
                  </a:lnTo>
                  <a:lnTo>
                    <a:pt x="623" y="937"/>
                  </a:lnTo>
                  <a:lnTo>
                    <a:pt x="623" y="937"/>
                  </a:lnTo>
                  <a:lnTo>
                    <a:pt x="625" y="937"/>
                  </a:lnTo>
                  <a:lnTo>
                    <a:pt x="625" y="939"/>
                  </a:lnTo>
                  <a:lnTo>
                    <a:pt x="625" y="941"/>
                  </a:lnTo>
                  <a:lnTo>
                    <a:pt x="625" y="941"/>
                  </a:lnTo>
                  <a:lnTo>
                    <a:pt x="625" y="941"/>
                  </a:lnTo>
                  <a:lnTo>
                    <a:pt x="625" y="943"/>
                  </a:lnTo>
                  <a:lnTo>
                    <a:pt x="627" y="945"/>
                  </a:lnTo>
                  <a:lnTo>
                    <a:pt x="627" y="945"/>
                  </a:lnTo>
                  <a:lnTo>
                    <a:pt x="629" y="945"/>
                  </a:lnTo>
                  <a:lnTo>
                    <a:pt x="631" y="947"/>
                  </a:lnTo>
                  <a:lnTo>
                    <a:pt x="631" y="947"/>
                  </a:lnTo>
                  <a:lnTo>
                    <a:pt x="633" y="949"/>
                  </a:lnTo>
                  <a:lnTo>
                    <a:pt x="633" y="949"/>
                  </a:lnTo>
                  <a:lnTo>
                    <a:pt x="635" y="949"/>
                  </a:lnTo>
                  <a:lnTo>
                    <a:pt x="635" y="951"/>
                  </a:lnTo>
                  <a:lnTo>
                    <a:pt x="637" y="951"/>
                  </a:lnTo>
                  <a:lnTo>
                    <a:pt x="637" y="953"/>
                  </a:lnTo>
                  <a:lnTo>
                    <a:pt x="637" y="953"/>
                  </a:lnTo>
                  <a:lnTo>
                    <a:pt x="637" y="955"/>
                  </a:lnTo>
                  <a:lnTo>
                    <a:pt x="639" y="957"/>
                  </a:lnTo>
                  <a:lnTo>
                    <a:pt x="639" y="957"/>
                  </a:lnTo>
                  <a:lnTo>
                    <a:pt x="643" y="957"/>
                  </a:lnTo>
                  <a:lnTo>
                    <a:pt x="643" y="957"/>
                  </a:lnTo>
                  <a:lnTo>
                    <a:pt x="645" y="959"/>
                  </a:lnTo>
                  <a:lnTo>
                    <a:pt x="645" y="959"/>
                  </a:lnTo>
                  <a:lnTo>
                    <a:pt x="645" y="959"/>
                  </a:lnTo>
                  <a:lnTo>
                    <a:pt x="647" y="959"/>
                  </a:lnTo>
                  <a:lnTo>
                    <a:pt x="649" y="959"/>
                  </a:lnTo>
                  <a:lnTo>
                    <a:pt x="649" y="959"/>
                  </a:lnTo>
                  <a:lnTo>
                    <a:pt x="651" y="961"/>
                  </a:lnTo>
                  <a:lnTo>
                    <a:pt x="651" y="961"/>
                  </a:lnTo>
                  <a:lnTo>
                    <a:pt x="653" y="961"/>
                  </a:lnTo>
                  <a:lnTo>
                    <a:pt x="655" y="963"/>
                  </a:lnTo>
                  <a:lnTo>
                    <a:pt x="658" y="965"/>
                  </a:lnTo>
                  <a:lnTo>
                    <a:pt x="658" y="965"/>
                  </a:lnTo>
                  <a:lnTo>
                    <a:pt x="658" y="971"/>
                  </a:lnTo>
                  <a:lnTo>
                    <a:pt x="658" y="973"/>
                  </a:lnTo>
                  <a:lnTo>
                    <a:pt x="658" y="973"/>
                  </a:lnTo>
                  <a:lnTo>
                    <a:pt x="658" y="975"/>
                  </a:lnTo>
                  <a:lnTo>
                    <a:pt x="660" y="975"/>
                  </a:lnTo>
                  <a:lnTo>
                    <a:pt x="662" y="975"/>
                  </a:lnTo>
                  <a:lnTo>
                    <a:pt x="662" y="975"/>
                  </a:lnTo>
                  <a:lnTo>
                    <a:pt x="662" y="978"/>
                  </a:lnTo>
                  <a:lnTo>
                    <a:pt x="662" y="978"/>
                  </a:lnTo>
                  <a:lnTo>
                    <a:pt x="662" y="982"/>
                  </a:lnTo>
                  <a:lnTo>
                    <a:pt x="662" y="984"/>
                  </a:lnTo>
                  <a:lnTo>
                    <a:pt x="660" y="986"/>
                  </a:lnTo>
                  <a:lnTo>
                    <a:pt x="660" y="988"/>
                  </a:lnTo>
                  <a:lnTo>
                    <a:pt x="660" y="990"/>
                  </a:lnTo>
                  <a:lnTo>
                    <a:pt x="660" y="990"/>
                  </a:lnTo>
                  <a:lnTo>
                    <a:pt x="660" y="992"/>
                  </a:lnTo>
                  <a:lnTo>
                    <a:pt x="658" y="994"/>
                  </a:lnTo>
                  <a:lnTo>
                    <a:pt x="658" y="994"/>
                  </a:lnTo>
                  <a:lnTo>
                    <a:pt x="658" y="994"/>
                  </a:lnTo>
                  <a:lnTo>
                    <a:pt x="660" y="996"/>
                  </a:lnTo>
                  <a:lnTo>
                    <a:pt x="660" y="996"/>
                  </a:lnTo>
                  <a:lnTo>
                    <a:pt x="660" y="996"/>
                  </a:lnTo>
                  <a:lnTo>
                    <a:pt x="660" y="998"/>
                  </a:lnTo>
                  <a:lnTo>
                    <a:pt x="662" y="998"/>
                  </a:lnTo>
                  <a:lnTo>
                    <a:pt x="662" y="998"/>
                  </a:lnTo>
                  <a:lnTo>
                    <a:pt x="662" y="998"/>
                  </a:lnTo>
                  <a:lnTo>
                    <a:pt x="664" y="1000"/>
                  </a:lnTo>
                  <a:lnTo>
                    <a:pt x="664" y="1002"/>
                  </a:lnTo>
                  <a:lnTo>
                    <a:pt x="666" y="1004"/>
                  </a:lnTo>
                  <a:lnTo>
                    <a:pt x="666" y="1006"/>
                  </a:lnTo>
                  <a:lnTo>
                    <a:pt x="666" y="1008"/>
                  </a:lnTo>
                  <a:lnTo>
                    <a:pt x="664" y="1012"/>
                  </a:lnTo>
                  <a:lnTo>
                    <a:pt x="664" y="1014"/>
                  </a:lnTo>
                  <a:lnTo>
                    <a:pt x="664" y="1014"/>
                  </a:lnTo>
                  <a:lnTo>
                    <a:pt x="664" y="1016"/>
                  </a:lnTo>
                  <a:lnTo>
                    <a:pt x="664" y="1016"/>
                  </a:lnTo>
                  <a:lnTo>
                    <a:pt x="666" y="1016"/>
                  </a:lnTo>
                  <a:lnTo>
                    <a:pt x="664" y="1019"/>
                  </a:lnTo>
                  <a:lnTo>
                    <a:pt x="662" y="1023"/>
                  </a:lnTo>
                  <a:lnTo>
                    <a:pt x="664" y="1025"/>
                  </a:lnTo>
                  <a:lnTo>
                    <a:pt x="666" y="1025"/>
                  </a:lnTo>
                  <a:lnTo>
                    <a:pt x="666" y="1027"/>
                  </a:lnTo>
                  <a:lnTo>
                    <a:pt x="668" y="1027"/>
                  </a:lnTo>
                  <a:lnTo>
                    <a:pt x="668" y="1027"/>
                  </a:lnTo>
                  <a:lnTo>
                    <a:pt x="668" y="1027"/>
                  </a:lnTo>
                  <a:lnTo>
                    <a:pt x="670" y="1027"/>
                  </a:lnTo>
                  <a:lnTo>
                    <a:pt x="670" y="1029"/>
                  </a:lnTo>
                  <a:lnTo>
                    <a:pt x="670" y="1031"/>
                  </a:lnTo>
                  <a:lnTo>
                    <a:pt x="670" y="1033"/>
                  </a:lnTo>
                  <a:lnTo>
                    <a:pt x="672" y="1033"/>
                  </a:lnTo>
                  <a:lnTo>
                    <a:pt x="674" y="1037"/>
                  </a:lnTo>
                  <a:lnTo>
                    <a:pt x="676" y="1037"/>
                  </a:lnTo>
                  <a:lnTo>
                    <a:pt x="678" y="1041"/>
                  </a:lnTo>
                  <a:lnTo>
                    <a:pt x="680" y="1043"/>
                  </a:lnTo>
                  <a:lnTo>
                    <a:pt x="682" y="1045"/>
                  </a:lnTo>
                  <a:lnTo>
                    <a:pt x="684" y="1047"/>
                  </a:lnTo>
                  <a:lnTo>
                    <a:pt x="684" y="1051"/>
                  </a:lnTo>
                  <a:lnTo>
                    <a:pt x="686" y="1055"/>
                  </a:lnTo>
                  <a:lnTo>
                    <a:pt x="690" y="1068"/>
                  </a:lnTo>
                  <a:lnTo>
                    <a:pt x="690" y="1070"/>
                  </a:lnTo>
                  <a:lnTo>
                    <a:pt x="690" y="1074"/>
                  </a:lnTo>
                  <a:lnTo>
                    <a:pt x="692" y="1078"/>
                  </a:lnTo>
                  <a:lnTo>
                    <a:pt x="694" y="1078"/>
                  </a:lnTo>
                  <a:lnTo>
                    <a:pt x="696" y="1078"/>
                  </a:lnTo>
                  <a:lnTo>
                    <a:pt x="699" y="1080"/>
                  </a:lnTo>
                  <a:lnTo>
                    <a:pt x="699" y="1084"/>
                  </a:lnTo>
                  <a:lnTo>
                    <a:pt x="699" y="1084"/>
                  </a:lnTo>
                  <a:lnTo>
                    <a:pt x="699" y="1086"/>
                  </a:lnTo>
                  <a:lnTo>
                    <a:pt x="699" y="1088"/>
                  </a:lnTo>
                  <a:lnTo>
                    <a:pt x="696" y="1088"/>
                  </a:lnTo>
                  <a:lnTo>
                    <a:pt x="699" y="1090"/>
                  </a:lnTo>
                  <a:lnTo>
                    <a:pt x="699" y="1092"/>
                  </a:lnTo>
                  <a:lnTo>
                    <a:pt x="701" y="1092"/>
                  </a:lnTo>
                  <a:lnTo>
                    <a:pt x="703" y="1092"/>
                  </a:lnTo>
                  <a:lnTo>
                    <a:pt x="705" y="1092"/>
                  </a:lnTo>
                  <a:lnTo>
                    <a:pt x="705" y="1092"/>
                  </a:lnTo>
                  <a:lnTo>
                    <a:pt x="707" y="1092"/>
                  </a:lnTo>
                  <a:lnTo>
                    <a:pt x="707" y="1092"/>
                  </a:lnTo>
                  <a:lnTo>
                    <a:pt x="707" y="1092"/>
                  </a:lnTo>
                  <a:lnTo>
                    <a:pt x="709" y="1092"/>
                  </a:lnTo>
                  <a:lnTo>
                    <a:pt x="711" y="1092"/>
                  </a:lnTo>
                  <a:lnTo>
                    <a:pt x="713" y="1092"/>
                  </a:lnTo>
                  <a:lnTo>
                    <a:pt x="713" y="1094"/>
                  </a:lnTo>
                  <a:lnTo>
                    <a:pt x="715" y="1092"/>
                  </a:lnTo>
                  <a:lnTo>
                    <a:pt x="719" y="1096"/>
                  </a:lnTo>
                  <a:lnTo>
                    <a:pt x="721" y="1094"/>
                  </a:lnTo>
                  <a:lnTo>
                    <a:pt x="721" y="1096"/>
                  </a:lnTo>
                  <a:lnTo>
                    <a:pt x="723" y="1096"/>
                  </a:lnTo>
                  <a:lnTo>
                    <a:pt x="723" y="1096"/>
                  </a:lnTo>
                  <a:lnTo>
                    <a:pt x="723" y="1094"/>
                  </a:lnTo>
                  <a:lnTo>
                    <a:pt x="723" y="1094"/>
                  </a:lnTo>
                  <a:lnTo>
                    <a:pt x="725" y="1096"/>
                  </a:lnTo>
                  <a:lnTo>
                    <a:pt x="725" y="1096"/>
                  </a:lnTo>
                  <a:lnTo>
                    <a:pt x="727" y="1094"/>
                  </a:lnTo>
                  <a:lnTo>
                    <a:pt x="727" y="1094"/>
                  </a:lnTo>
                  <a:lnTo>
                    <a:pt x="727" y="1096"/>
                  </a:lnTo>
                  <a:lnTo>
                    <a:pt x="729" y="1096"/>
                  </a:lnTo>
                  <a:lnTo>
                    <a:pt x="733" y="1098"/>
                  </a:lnTo>
                  <a:lnTo>
                    <a:pt x="733" y="1100"/>
                  </a:lnTo>
                  <a:lnTo>
                    <a:pt x="733" y="1103"/>
                  </a:lnTo>
                  <a:lnTo>
                    <a:pt x="735" y="1103"/>
                  </a:lnTo>
                  <a:lnTo>
                    <a:pt x="735" y="1103"/>
                  </a:lnTo>
                  <a:lnTo>
                    <a:pt x="737" y="1103"/>
                  </a:lnTo>
                  <a:lnTo>
                    <a:pt x="737" y="1105"/>
                  </a:lnTo>
                  <a:lnTo>
                    <a:pt x="737" y="1105"/>
                  </a:lnTo>
                  <a:lnTo>
                    <a:pt x="737" y="1107"/>
                  </a:lnTo>
                  <a:lnTo>
                    <a:pt x="737" y="1107"/>
                  </a:lnTo>
                  <a:lnTo>
                    <a:pt x="739" y="1107"/>
                  </a:lnTo>
                  <a:lnTo>
                    <a:pt x="742" y="1109"/>
                  </a:lnTo>
                  <a:lnTo>
                    <a:pt x="742" y="1109"/>
                  </a:lnTo>
                  <a:lnTo>
                    <a:pt x="744" y="1109"/>
                  </a:lnTo>
                  <a:lnTo>
                    <a:pt x="748" y="1107"/>
                  </a:lnTo>
                  <a:lnTo>
                    <a:pt x="752" y="1109"/>
                  </a:lnTo>
                  <a:lnTo>
                    <a:pt x="754" y="1109"/>
                  </a:lnTo>
                  <a:lnTo>
                    <a:pt x="758" y="1111"/>
                  </a:lnTo>
                  <a:lnTo>
                    <a:pt x="760" y="1113"/>
                  </a:lnTo>
                  <a:lnTo>
                    <a:pt x="760" y="1111"/>
                  </a:lnTo>
                  <a:lnTo>
                    <a:pt x="760" y="1111"/>
                  </a:lnTo>
                  <a:lnTo>
                    <a:pt x="764" y="1111"/>
                  </a:lnTo>
                  <a:lnTo>
                    <a:pt x="766" y="1113"/>
                  </a:lnTo>
                  <a:lnTo>
                    <a:pt x="770" y="1113"/>
                  </a:lnTo>
                  <a:lnTo>
                    <a:pt x="768" y="1115"/>
                  </a:lnTo>
                  <a:lnTo>
                    <a:pt x="768" y="1117"/>
                  </a:lnTo>
                  <a:lnTo>
                    <a:pt x="770" y="1117"/>
                  </a:lnTo>
                  <a:lnTo>
                    <a:pt x="772" y="1117"/>
                  </a:lnTo>
                  <a:lnTo>
                    <a:pt x="772" y="1119"/>
                  </a:lnTo>
                  <a:lnTo>
                    <a:pt x="774" y="1121"/>
                  </a:lnTo>
                  <a:lnTo>
                    <a:pt x="776" y="1123"/>
                  </a:lnTo>
                  <a:lnTo>
                    <a:pt x="785" y="1125"/>
                  </a:lnTo>
                  <a:lnTo>
                    <a:pt x="787" y="1127"/>
                  </a:lnTo>
                  <a:lnTo>
                    <a:pt x="791" y="1127"/>
                  </a:lnTo>
                  <a:lnTo>
                    <a:pt x="795" y="1125"/>
                  </a:lnTo>
                  <a:lnTo>
                    <a:pt x="797" y="1127"/>
                  </a:lnTo>
                  <a:lnTo>
                    <a:pt x="799" y="1129"/>
                  </a:lnTo>
                  <a:lnTo>
                    <a:pt x="799" y="1129"/>
                  </a:lnTo>
                  <a:lnTo>
                    <a:pt x="801" y="1129"/>
                  </a:lnTo>
                  <a:lnTo>
                    <a:pt x="805" y="1127"/>
                  </a:lnTo>
                  <a:lnTo>
                    <a:pt x="805" y="1127"/>
                  </a:lnTo>
                  <a:lnTo>
                    <a:pt x="811" y="1127"/>
                  </a:lnTo>
                  <a:lnTo>
                    <a:pt x="817" y="1127"/>
                  </a:lnTo>
                  <a:lnTo>
                    <a:pt x="825" y="1127"/>
                  </a:lnTo>
                  <a:lnTo>
                    <a:pt x="828" y="1127"/>
                  </a:lnTo>
                  <a:lnTo>
                    <a:pt x="828" y="1129"/>
                  </a:lnTo>
                  <a:lnTo>
                    <a:pt x="828" y="1129"/>
                  </a:lnTo>
                  <a:lnTo>
                    <a:pt x="838" y="1129"/>
                  </a:lnTo>
                  <a:lnTo>
                    <a:pt x="838" y="1129"/>
                  </a:lnTo>
                  <a:lnTo>
                    <a:pt x="840" y="1131"/>
                  </a:lnTo>
                  <a:lnTo>
                    <a:pt x="842" y="1131"/>
                  </a:lnTo>
                  <a:lnTo>
                    <a:pt x="844" y="1133"/>
                  </a:lnTo>
                  <a:lnTo>
                    <a:pt x="844" y="1135"/>
                  </a:lnTo>
                  <a:lnTo>
                    <a:pt x="846" y="1137"/>
                  </a:lnTo>
                  <a:lnTo>
                    <a:pt x="848" y="1137"/>
                  </a:lnTo>
                  <a:lnTo>
                    <a:pt x="852" y="1141"/>
                  </a:lnTo>
                  <a:lnTo>
                    <a:pt x="854" y="1144"/>
                  </a:lnTo>
                  <a:lnTo>
                    <a:pt x="856" y="1144"/>
                  </a:lnTo>
                  <a:lnTo>
                    <a:pt x="858" y="1144"/>
                  </a:lnTo>
                  <a:lnTo>
                    <a:pt x="860" y="1144"/>
                  </a:lnTo>
                  <a:lnTo>
                    <a:pt x="860" y="1146"/>
                  </a:lnTo>
                  <a:lnTo>
                    <a:pt x="860" y="1148"/>
                  </a:lnTo>
                  <a:lnTo>
                    <a:pt x="862" y="1148"/>
                  </a:lnTo>
                  <a:lnTo>
                    <a:pt x="864" y="1148"/>
                  </a:lnTo>
                  <a:lnTo>
                    <a:pt x="864" y="1148"/>
                  </a:lnTo>
                  <a:lnTo>
                    <a:pt x="864" y="1148"/>
                  </a:lnTo>
                  <a:lnTo>
                    <a:pt x="864" y="1148"/>
                  </a:lnTo>
                  <a:lnTo>
                    <a:pt x="864" y="1148"/>
                  </a:lnTo>
                  <a:lnTo>
                    <a:pt x="864" y="1148"/>
                  </a:lnTo>
                  <a:lnTo>
                    <a:pt x="864" y="1148"/>
                  </a:lnTo>
                  <a:lnTo>
                    <a:pt x="866" y="1148"/>
                  </a:lnTo>
                  <a:lnTo>
                    <a:pt x="866" y="1148"/>
                  </a:lnTo>
                  <a:lnTo>
                    <a:pt x="866" y="1150"/>
                  </a:lnTo>
                  <a:lnTo>
                    <a:pt x="868" y="1150"/>
                  </a:lnTo>
                  <a:lnTo>
                    <a:pt x="871" y="1148"/>
                  </a:lnTo>
                  <a:lnTo>
                    <a:pt x="871" y="1146"/>
                  </a:lnTo>
                  <a:lnTo>
                    <a:pt x="868" y="1144"/>
                  </a:lnTo>
                  <a:lnTo>
                    <a:pt x="868" y="1141"/>
                  </a:lnTo>
                  <a:lnTo>
                    <a:pt x="868" y="1141"/>
                  </a:lnTo>
                  <a:lnTo>
                    <a:pt x="868" y="1141"/>
                  </a:lnTo>
                  <a:lnTo>
                    <a:pt x="871" y="1139"/>
                  </a:lnTo>
                  <a:lnTo>
                    <a:pt x="873" y="1141"/>
                  </a:lnTo>
                  <a:lnTo>
                    <a:pt x="875" y="1139"/>
                  </a:lnTo>
                  <a:lnTo>
                    <a:pt x="877" y="1139"/>
                  </a:lnTo>
                  <a:lnTo>
                    <a:pt x="877" y="1137"/>
                  </a:lnTo>
                  <a:lnTo>
                    <a:pt x="877" y="1137"/>
                  </a:lnTo>
                  <a:lnTo>
                    <a:pt x="877" y="1137"/>
                  </a:lnTo>
                  <a:lnTo>
                    <a:pt x="877" y="1137"/>
                  </a:lnTo>
                  <a:lnTo>
                    <a:pt x="879" y="1135"/>
                  </a:lnTo>
                  <a:lnTo>
                    <a:pt x="883" y="1137"/>
                  </a:lnTo>
                  <a:lnTo>
                    <a:pt x="889" y="1135"/>
                  </a:lnTo>
                  <a:lnTo>
                    <a:pt x="889" y="1135"/>
                  </a:lnTo>
                  <a:lnTo>
                    <a:pt x="889" y="1129"/>
                  </a:lnTo>
                  <a:lnTo>
                    <a:pt x="889" y="1127"/>
                  </a:lnTo>
                  <a:lnTo>
                    <a:pt x="889" y="1123"/>
                  </a:lnTo>
                  <a:lnTo>
                    <a:pt x="887" y="1123"/>
                  </a:lnTo>
                  <a:lnTo>
                    <a:pt x="885" y="1125"/>
                  </a:lnTo>
                  <a:lnTo>
                    <a:pt x="885" y="1125"/>
                  </a:lnTo>
                  <a:lnTo>
                    <a:pt x="885" y="1127"/>
                  </a:lnTo>
                  <a:lnTo>
                    <a:pt x="885" y="1129"/>
                  </a:lnTo>
                  <a:lnTo>
                    <a:pt x="885" y="1131"/>
                  </a:lnTo>
                  <a:lnTo>
                    <a:pt x="883" y="1131"/>
                  </a:lnTo>
                  <a:lnTo>
                    <a:pt x="881" y="1133"/>
                  </a:lnTo>
                  <a:lnTo>
                    <a:pt x="881" y="1133"/>
                  </a:lnTo>
                  <a:lnTo>
                    <a:pt x="881" y="1133"/>
                  </a:lnTo>
                  <a:lnTo>
                    <a:pt x="881" y="1133"/>
                  </a:lnTo>
                  <a:lnTo>
                    <a:pt x="879" y="1133"/>
                  </a:lnTo>
                  <a:lnTo>
                    <a:pt x="879" y="1133"/>
                  </a:lnTo>
                  <a:lnTo>
                    <a:pt x="879" y="1133"/>
                  </a:lnTo>
                  <a:lnTo>
                    <a:pt x="879" y="1131"/>
                  </a:lnTo>
                  <a:lnTo>
                    <a:pt x="879" y="1129"/>
                  </a:lnTo>
                  <a:lnTo>
                    <a:pt x="879" y="1127"/>
                  </a:lnTo>
                  <a:lnTo>
                    <a:pt x="879" y="1125"/>
                  </a:lnTo>
                  <a:lnTo>
                    <a:pt x="881" y="1125"/>
                  </a:lnTo>
                  <a:lnTo>
                    <a:pt x="881" y="1125"/>
                  </a:lnTo>
                  <a:lnTo>
                    <a:pt x="883" y="1123"/>
                  </a:lnTo>
                  <a:lnTo>
                    <a:pt x="883" y="1123"/>
                  </a:lnTo>
                  <a:lnTo>
                    <a:pt x="881" y="1121"/>
                  </a:lnTo>
                  <a:lnTo>
                    <a:pt x="881" y="1121"/>
                  </a:lnTo>
                  <a:lnTo>
                    <a:pt x="877" y="1121"/>
                  </a:lnTo>
                  <a:lnTo>
                    <a:pt x="877" y="1121"/>
                  </a:lnTo>
                  <a:lnTo>
                    <a:pt x="875" y="1121"/>
                  </a:lnTo>
                  <a:lnTo>
                    <a:pt x="875" y="1121"/>
                  </a:lnTo>
                  <a:lnTo>
                    <a:pt x="875" y="1121"/>
                  </a:lnTo>
                  <a:lnTo>
                    <a:pt x="873" y="1119"/>
                  </a:lnTo>
                  <a:lnTo>
                    <a:pt x="873" y="1117"/>
                  </a:lnTo>
                  <a:lnTo>
                    <a:pt x="873" y="1113"/>
                  </a:lnTo>
                  <a:lnTo>
                    <a:pt x="873" y="1111"/>
                  </a:lnTo>
                  <a:lnTo>
                    <a:pt x="871" y="1109"/>
                  </a:lnTo>
                  <a:lnTo>
                    <a:pt x="871" y="1109"/>
                  </a:lnTo>
                  <a:lnTo>
                    <a:pt x="871" y="1107"/>
                  </a:lnTo>
                  <a:lnTo>
                    <a:pt x="871" y="1105"/>
                  </a:lnTo>
                  <a:lnTo>
                    <a:pt x="871" y="1105"/>
                  </a:lnTo>
                  <a:lnTo>
                    <a:pt x="873" y="1105"/>
                  </a:lnTo>
                  <a:lnTo>
                    <a:pt x="871" y="1103"/>
                  </a:lnTo>
                  <a:lnTo>
                    <a:pt x="871" y="1103"/>
                  </a:lnTo>
                  <a:lnTo>
                    <a:pt x="871" y="1103"/>
                  </a:lnTo>
                  <a:lnTo>
                    <a:pt x="868" y="1103"/>
                  </a:lnTo>
                  <a:lnTo>
                    <a:pt x="868" y="1103"/>
                  </a:lnTo>
                  <a:lnTo>
                    <a:pt x="866" y="1103"/>
                  </a:lnTo>
                  <a:lnTo>
                    <a:pt x="866" y="1100"/>
                  </a:lnTo>
                  <a:lnTo>
                    <a:pt x="868" y="1096"/>
                  </a:lnTo>
                  <a:lnTo>
                    <a:pt x="868" y="1096"/>
                  </a:lnTo>
                  <a:lnTo>
                    <a:pt x="868" y="1096"/>
                  </a:lnTo>
                  <a:lnTo>
                    <a:pt x="868" y="1094"/>
                  </a:lnTo>
                  <a:lnTo>
                    <a:pt x="868" y="1094"/>
                  </a:lnTo>
                  <a:lnTo>
                    <a:pt x="868" y="1094"/>
                  </a:lnTo>
                  <a:lnTo>
                    <a:pt x="866" y="1096"/>
                  </a:lnTo>
                  <a:lnTo>
                    <a:pt x="866" y="1096"/>
                  </a:lnTo>
                  <a:lnTo>
                    <a:pt x="866" y="1096"/>
                  </a:lnTo>
                  <a:lnTo>
                    <a:pt x="866" y="1096"/>
                  </a:lnTo>
                  <a:lnTo>
                    <a:pt x="864" y="1096"/>
                  </a:lnTo>
                  <a:lnTo>
                    <a:pt x="866" y="1094"/>
                  </a:lnTo>
                  <a:lnTo>
                    <a:pt x="866" y="1092"/>
                  </a:lnTo>
                  <a:lnTo>
                    <a:pt x="866" y="1092"/>
                  </a:lnTo>
                  <a:lnTo>
                    <a:pt x="864" y="1092"/>
                  </a:lnTo>
                  <a:lnTo>
                    <a:pt x="862" y="1092"/>
                  </a:lnTo>
                  <a:lnTo>
                    <a:pt x="862" y="1090"/>
                  </a:lnTo>
                  <a:lnTo>
                    <a:pt x="862" y="1088"/>
                  </a:lnTo>
                  <a:lnTo>
                    <a:pt x="862" y="1088"/>
                  </a:lnTo>
                  <a:lnTo>
                    <a:pt x="860" y="1088"/>
                  </a:lnTo>
                  <a:lnTo>
                    <a:pt x="858" y="1088"/>
                  </a:lnTo>
                  <a:lnTo>
                    <a:pt x="858" y="1088"/>
                  </a:lnTo>
                  <a:lnTo>
                    <a:pt x="858" y="1086"/>
                  </a:lnTo>
                  <a:lnTo>
                    <a:pt x="858" y="1084"/>
                  </a:lnTo>
                  <a:lnTo>
                    <a:pt x="858" y="1082"/>
                  </a:lnTo>
                  <a:lnTo>
                    <a:pt x="858" y="1080"/>
                  </a:lnTo>
                  <a:lnTo>
                    <a:pt x="856" y="1080"/>
                  </a:lnTo>
                  <a:lnTo>
                    <a:pt x="858" y="1078"/>
                  </a:lnTo>
                  <a:lnTo>
                    <a:pt x="860" y="1078"/>
                  </a:lnTo>
                  <a:lnTo>
                    <a:pt x="860" y="1076"/>
                  </a:lnTo>
                  <a:lnTo>
                    <a:pt x="860" y="1078"/>
                  </a:lnTo>
                  <a:lnTo>
                    <a:pt x="860" y="1078"/>
                  </a:lnTo>
                  <a:lnTo>
                    <a:pt x="860" y="1078"/>
                  </a:lnTo>
                  <a:lnTo>
                    <a:pt x="860" y="1076"/>
                  </a:lnTo>
                  <a:lnTo>
                    <a:pt x="858" y="1068"/>
                  </a:lnTo>
                  <a:lnTo>
                    <a:pt x="856" y="1062"/>
                  </a:lnTo>
                  <a:lnTo>
                    <a:pt x="854" y="1053"/>
                  </a:lnTo>
                  <a:lnTo>
                    <a:pt x="854" y="1049"/>
                  </a:lnTo>
                  <a:lnTo>
                    <a:pt x="854" y="1047"/>
                  </a:lnTo>
                  <a:lnTo>
                    <a:pt x="852" y="1045"/>
                  </a:lnTo>
                  <a:lnTo>
                    <a:pt x="852" y="1045"/>
                  </a:lnTo>
                  <a:lnTo>
                    <a:pt x="850" y="1045"/>
                  </a:lnTo>
                  <a:lnTo>
                    <a:pt x="848" y="1045"/>
                  </a:lnTo>
                  <a:lnTo>
                    <a:pt x="848" y="1045"/>
                  </a:lnTo>
                  <a:lnTo>
                    <a:pt x="846" y="1043"/>
                  </a:lnTo>
                  <a:lnTo>
                    <a:pt x="846" y="1041"/>
                  </a:lnTo>
                  <a:lnTo>
                    <a:pt x="846" y="1039"/>
                  </a:lnTo>
                  <a:lnTo>
                    <a:pt x="846" y="1037"/>
                  </a:lnTo>
                  <a:lnTo>
                    <a:pt x="848" y="1037"/>
                  </a:lnTo>
                  <a:lnTo>
                    <a:pt x="848" y="1037"/>
                  </a:lnTo>
                  <a:lnTo>
                    <a:pt x="852" y="1041"/>
                  </a:lnTo>
                  <a:lnTo>
                    <a:pt x="854" y="1039"/>
                  </a:lnTo>
                  <a:lnTo>
                    <a:pt x="852" y="1037"/>
                  </a:lnTo>
                  <a:lnTo>
                    <a:pt x="848" y="1035"/>
                  </a:lnTo>
                  <a:lnTo>
                    <a:pt x="848" y="1035"/>
                  </a:lnTo>
                  <a:lnTo>
                    <a:pt x="846" y="1033"/>
                  </a:lnTo>
                  <a:lnTo>
                    <a:pt x="846" y="1031"/>
                  </a:lnTo>
                  <a:lnTo>
                    <a:pt x="846" y="1027"/>
                  </a:lnTo>
                  <a:lnTo>
                    <a:pt x="846" y="1025"/>
                  </a:lnTo>
                  <a:lnTo>
                    <a:pt x="848" y="1025"/>
                  </a:lnTo>
                  <a:lnTo>
                    <a:pt x="852" y="1025"/>
                  </a:lnTo>
                  <a:lnTo>
                    <a:pt x="854" y="1023"/>
                  </a:lnTo>
                  <a:lnTo>
                    <a:pt x="854" y="1021"/>
                  </a:lnTo>
                  <a:lnTo>
                    <a:pt x="852" y="1019"/>
                  </a:lnTo>
                  <a:lnTo>
                    <a:pt x="854" y="1016"/>
                  </a:lnTo>
                  <a:lnTo>
                    <a:pt x="852" y="1016"/>
                  </a:lnTo>
                  <a:lnTo>
                    <a:pt x="852" y="1014"/>
                  </a:lnTo>
                  <a:lnTo>
                    <a:pt x="852" y="1014"/>
                  </a:lnTo>
                  <a:lnTo>
                    <a:pt x="854" y="1014"/>
                  </a:lnTo>
                  <a:lnTo>
                    <a:pt x="854" y="1012"/>
                  </a:lnTo>
                  <a:lnTo>
                    <a:pt x="856" y="1012"/>
                  </a:lnTo>
                  <a:lnTo>
                    <a:pt x="856" y="1010"/>
                  </a:lnTo>
                  <a:lnTo>
                    <a:pt x="856" y="1010"/>
                  </a:lnTo>
                  <a:lnTo>
                    <a:pt x="856" y="1008"/>
                  </a:lnTo>
                  <a:lnTo>
                    <a:pt x="856" y="1006"/>
                  </a:lnTo>
                  <a:lnTo>
                    <a:pt x="856" y="1006"/>
                  </a:lnTo>
                  <a:lnTo>
                    <a:pt x="856" y="1004"/>
                  </a:lnTo>
                  <a:lnTo>
                    <a:pt x="856" y="1002"/>
                  </a:lnTo>
                  <a:lnTo>
                    <a:pt x="856" y="1000"/>
                  </a:lnTo>
                  <a:lnTo>
                    <a:pt x="856" y="1000"/>
                  </a:lnTo>
                  <a:lnTo>
                    <a:pt x="858" y="1000"/>
                  </a:lnTo>
                  <a:lnTo>
                    <a:pt x="858" y="998"/>
                  </a:lnTo>
                  <a:lnTo>
                    <a:pt x="858" y="996"/>
                  </a:lnTo>
                  <a:lnTo>
                    <a:pt x="858" y="996"/>
                  </a:lnTo>
                  <a:lnTo>
                    <a:pt x="852" y="998"/>
                  </a:lnTo>
                  <a:lnTo>
                    <a:pt x="850" y="998"/>
                  </a:lnTo>
                  <a:lnTo>
                    <a:pt x="848" y="1000"/>
                  </a:lnTo>
                  <a:lnTo>
                    <a:pt x="846" y="1000"/>
                  </a:lnTo>
                  <a:lnTo>
                    <a:pt x="840" y="998"/>
                  </a:lnTo>
                  <a:lnTo>
                    <a:pt x="838" y="998"/>
                  </a:lnTo>
                  <a:lnTo>
                    <a:pt x="838" y="996"/>
                  </a:lnTo>
                  <a:lnTo>
                    <a:pt x="836" y="996"/>
                  </a:lnTo>
                  <a:lnTo>
                    <a:pt x="834" y="996"/>
                  </a:lnTo>
                  <a:lnTo>
                    <a:pt x="828" y="996"/>
                  </a:lnTo>
                  <a:lnTo>
                    <a:pt x="825" y="996"/>
                  </a:lnTo>
                  <a:lnTo>
                    <a:pt x="825" y="994"/>
                  </a:lnTo>
                  <a:lnTo>
                    <a:pt x="828" y="994"/>
                  </a:lnTo>
                  <a:lnTo>
                    <a:pt x="830" y="994"/>
                  </a:lnTo>
                  <a:lnTo>
                    <a:pt x="832" y="994"/>
                  </a:lnTo>
                  <a:lnTo>
                    <a:pt x="834" y="994"/>
                  </a:lnTo>
                  <a:lnTo>
                    <a:pt x="836" y="992"/>
                  </a:lnTo>
                  <a:lnTo>
                    <a:pt x="834" y="992"/>
                  </a:lnTo>
                  <a:lnTo>
                    <a:pt x="834" y="990"/>
                  </a:lnTo>
                  <a:lnTo>
                    <a:pt x="832" y="992"/>
                  </a:lnTo>
                  <a:lnTo>
                    <a:pt x="832" y="992"/>
                  </a:lnTo>
                  <a:lnTo>
                    <a:pt x="832" y="992"/>
                  </a:lnTo>
                  <a:lnTo>
                    <a:pt x="832" y="990"/>
                  </a:lnTo>
                  <a:lnTo>
                    <a:pt x="834" y="990"/>
                  </a:lnTo>
                  <a:lnTo>
                    <a:pt x="832" y="988"/>
                  </a:lnTo>
                  <a:lnTo>
                    <a:pt x="828" y="984"/>
                  </a:lnTo>
                  <a:lnTo>
                    <a:pt x="830" y="984"/>
                  </a:lnTo>
                  <a:lnTo>
                    <a:pt x="828" y="982"/>
                  </a:lnTo>
                  <a:lnTo>
                    <a:pt x="825" y="978"/>
                  </a:lnTo>
                  <a:lnTo>
                    <a:pt x="825" y="975"/>
                  </a:lnTo>
                  <a:lnTo>
                    <a:pt x="828" y="978"/>
                  </a:lnTo>
                  <a:lnTo>
                    <a:pt x="830" y="980"/>
                  </a:lnTo>
                  <a:lnTo>
                    <a:pt x="838" y="990"/>
                  </a:lnTo>
                  <a:lnTo>
                    <a:pt x="838" y="992"/>
                  </a:lnTo>
                  <a:lnTo>
                    <a:pt x="838" y="992"/>
                  </a:lnTo>
                  <a:lnTo>
                    <a:pt x="838" y="994"/>
                  </a:lnTo>
                  <a:lnTo>
                    <a:pt x="840" y="994"/>
                  </a:lnTo>
                  <a:lnTo>
                    <a:pt x="842" y="994"/>
                  </a:lnTo>
                  <a:lnTo>
                    <a:pt x="842" y="992"/>
                  </a:lnTo>
                  <a:lnTo>
                    <a:pt x="842" y="992"/>
                  </a:lnTo>
                  <a:lnTo>
                    <a:pt x="842" y="992"/>
                  </a:lnTo>
                  <a:lnTo>
                    <a:pt x="844" y="988"/>
                  </a:lnTo>
                  <a:lnTo>
                    <a:pt x="844" y="988"/>
                  </a:lnTo>
                  <a:lnTo>
                    <a:pt x="844" y="990"/>
                  </a:lnTo>
                  <a:lnTo>
                    <a:pt x="846" y="988"/>
                  </a:lnTo>
                  <a:lnTo>
                    <a:pt x="846" y="988"/>
                  </a:lnTo>
                  <a:lnTo>
                    <a:pt x="848" y="988"/>
                  </a:lnTo>
                  <a:lnTo>
                    <a:pt x="848" y="986"/>
                  </a:lnTo>
                  <a:lnTo>
                    <a:pt x="848" y="986"/>
                  </a:lnTo>
                  <a:lnTo>
                    <a:pt x="850" y="984"/>
                  </a:lnTo>
                  <a:lnTo>
                    <a:pt x="852" y="982"/>
                  </a:lnTo>
                  <a:lnTo>
                    <a:pt x="852" y="984"/>
                  </a:lnTo>
                  <a:lnTo>
                    <a:pt x="852" y="986"/>
                  </a:lnTo>
                  <a:lnTo>
                    <a:pt x="852" y="988"/>
                  </a:lnTo>
                  <a:lnTo>
                    <a:pt x="852" y="988"/>
                  </a:lnTo>
                  <a:lnTo>
                    <a:pt x="854" y="988"/>
                  </a:lnTo>
                  <a:lnTo>
                    <a:pt x="854" y="988"/>
                  </a:lnTo>
                  <a:lnTo>
                    <a:pt x="854" y="988"/>
                  </a:lnTo>
                  <a:lnTo>
                    <a:pt x="854" y="988"/>
                  </a:lnTo>
                  <a:lnTo>
                    <a:pt x="854" y="988"/>
                  </a:lnTo>
                  <a:lnTo>
                    <a:pt x="854" y="990"/>
                  </a:lnTo>
                  <a:lnTo>
                    <a:pt x="854" y="990"/>
                  </a:lnTo>
                  <a:lnTo>
                    <a:pt x="852" y="990"/>
                  </a:lnTo>
                  <a:lnTo>
                    <a:pt x="850" y="990"/>
                  </a:lnTo>
                  <a:lnTo>
                    <a:pt x="850" y="990"/>
                  </a:lnTo>
                  <a:lnTo>
                    <a:pt x="850" y="990"/>
                  </a:lnTo>
                  <a:lnTo>
                    <a:pt x="852" y="990"/>
                  </a:lnTo>
                  <a:lnTo>
                    <a:pt x="852" y="992"/>
                  </a:lnTo>
                  <a:lnTo>
                    <a:pt x="850" y="992"/>
                  </a:lnTo>
                  <a:lnTo>
                    <a:pt x="848" y="994"/>
                  </a:lnTo>
                  <a:lnTo>
                    <a:pt x="850" y="996"/>
                  </a:lnTo>
                  <a:lnTo>
                    <a:pt x="850" y="996"/>
                  </a:lnTo>
                  <a:lnTo>
                    <a:pt x="852" y="992"/>
                  </a:lnTo>
                  <a:lnTo>
                    <a:pt x="858" y="990"/>
                  </a:lnTo>
                  <a:lnTo>
                    <a:pt x="860" y="990"/>
                  </a:lnTo>
                  <a:lnTo>
                    <a:pt x="860" y="986"/>
                  </a:lnTo>
                  <a:lnTo>
                    <a:pt x="864" y="975"/>
                  </a:lnTo>
                  <a:lnTo>
                    <a:pt x="864" y="973"/>
                  </a:lnTo>
                  <a:lnTo>
                    <a:pt x="864" y="973"/>
                  </a:lnTo>
                  <a:lnTo>
                    <a:pt x="866" y="971"/>
                  </a:lnTo>
                  <a:lnTo>
                    <a:pt x="866" y="965"/>
                  </a:lnTo>
                  <a:lnTo>
                    <a:pt x="871" y="961"/>
                  </a:lnTo>
                  <a:lnTo>
                    <a:pt x="871" y="959"/>
                  </a:lnTo>
                  <a:lnTo>
                    <a:pt x="871" y="957"/>
                  </a:lnTo>
                  <a:lnTo>
                    <a:pt x="871" y="955"/>
                  </a:lnTo>
                  <a:lnTo>
                    <a:pt x="871" y="955"/>
                  </a:lnTo>
                  <a:lnTo>
                    <a:pt x="873" y="953"/>
                  </a:lnTo>
                  <a:lnTo>
                    <a:pt x="873" y="951"/>
                  </a:lnTo>
                  <a:lnTo>
                    <a:pt x="873" y="951"/>
                  </a:lnTo>
                  <a:lnTo>
                    <a:pt x="873" y="949"/>
                  </a:lnTo>
                  <a:lnTo>
                    <a:pt x="864" y="945"/>
                  </a:lnTo>
                  <a:lnTo>
                    <a:pt x="862" y="945"/>
                  </a:lnTo>
                  <a:lnTo>
                    <a:pt x="860" y="941"/>
                  </a:lnTo>
                  <a:lnTo>
                    <a:pt x="860" y="941"/>
                  </a:lnTo>
                  <a:lnTo>
                    <a:pt x="860" y="939"/>
                  </a:lnTo>
                  <a:lnTo>
                    <a:pt x="860" y="937"/>
                  </a:lnTo>
                  <a:lnTo>
                    <a:pt x="860" y="935"/>
                  </a:lnTo>
                  <a:lnTo>
                    <a:pt x="860" y="935"/>
                  </a:lnTo>
                  <a:lnTo>
                    <a:pt x="858" y="937"/>
                  </a:lnTo>
                  <a:lnTo>
                    <a:pt x="858" y="937"/>
                  </a:lnTo>
                  <a:lnTo>
                    <a:pt x="856" y="935"/>
                  </a:lnTo>
                  <a:lnTo>
                    <a:pt x="854" y="937"/>
                  </a:lnTo>
                  <a:lnTo>
                    <a:pt x="852" y="935"/>
                  </a:lnTo>
                  <a:lnTo>
                    <a:pt x="850" y="935"/>
                  </a:lnTo>
                  <a:lnTo>
                    <a:pt x="848" y="930"/>
                  </a:lnTo>
                  <a:lnTo>
                    <a:pt x="850" y="930"/>
                  </a:lnTo>
                  <a:lnTo>
                    <a:pt x="850" y="930"/>
                  </a:lnTo>
                  <a:lnTo>
                    <a:pt x="850" y="930"/>
                  </a:lnTo>
                  <a:lnTo>
                    <a:pt x="850" y="930"/>
                  </a:lnTo>
                  <a:lnTo>
                    <a:pt x="850" y="932"/>
                  </a:lnTo>
                  <a:lnTo>
                    <a:pt x="852" y="932"/>
                  </a:lnTo>
                  <a:lnTo>
                    <a:pt x="852" y="932"/>
                  </a:lnTo>
                  <a:lnTo>
                    <a:pt x="852" y="932"/>
                  </a:lnTo>
                  <a:lnTo>
                    <a:pt x="854" y="932"/>
                  </a:lnTo>
                  <a:lnTo>
                    <a:pt x="854" y="932"/>
                  </a:lnTo>
                  <a:lnTo>
                    <a:pt x="854" y="932"/>
                  </a:lnTo>
                  <a:lnTo>
                    <a:pt x="854" y="930"/>
                  </a:lnTo>
                  <a:lnTo>
                    <a:pt x="856" y="930"/>
                  </a:lnTo>
                  <a:lnTo>
                    <a:pt x="862" y="930"/>
                  </a:lnTo>
                  <a:lnTo>
                    <a:pt x="864" y="930"/>
                  </a:lnTo>
                  <a:lnTo>
                    <a:pt x="864" y="930"/>
                  </a:lnTo>
                  <a:lnTo>
                    <a:pt x="864" y="932"/>
                  </a:lnTo>
                  <a:lnTo>
                    <a:pt x="864" y="932"/>
                  </a:lnTo>
                  <a:lnTo>
                    <a:pt x="864" y="932"/>
                  </a:lnTo>
                  <a:lnTo>
                    <a:pt x="866" y="932"/>
                  </a:lnTo>
                  <a:lnTo>
                    <a:pt x="871" y="930"/>
                  </a:lnTo>
                  <a:lnTo>
                    <a:pt x="873" y="930"/>
                  </a:lnTo>
                  <a:lnTo>
                    <a:pt x="875" y="930"/>
                  </a:lnTo>
                  <a:lnTo>
                    <a:pt x="875" y="932"/>
                  </a:lnTo>
                  <a:lnTo>
                    <a:pt x="877" y="932"/>
                  </a:lnTo>
                  <a:lnTo>
                    <a:pt x="877" y="935"/>
                  </a:lnTo>
                  <a:lnTo>
                    <a:pt x="875" y="935"/>
                  </a:lnTo>
                  <a:lnTo>
                    <a:pt x="875" y="937"/>
                  </a:lnTo>
                  <a:lnTo>
                    <a:pt x="879" y="937"/>
                  </a:lnTo>
                  <a:lnTo>
                    <a:pt x="881" y="935"/>
                  </a:lnTo>
                  <a:lnTo>
                    <a:pt x="887" y="924"/>
                  </a:lnTo>
                  <a:lnTo>
                    <a:pt x="891" y="918"/>
                  </a:lnTo>
                  <a:lnTo>
                    <a:pt x="891" y="918"/>
                  </a:lnTo>
                  <a:lnTo>
                    <a:pt x="891" y="918"/>
                  </a:lnTo>
                  <a:lnTo>
                    <a:pt x="891" y="918"/>
                  </a:lnTo>
                  <a:lnTo>
                    <a:pt x="891" y="918"/>
                  </a:lnTo>
                  <a:lnTo>
                    <a:pt x="893" y="914"/>
                  </a:lnTo>
                  <a:lnTo>
                    <a:pt x="893" y="914"/>
                  </a:lnTo>
                  <a:lnTo>
                    <a:pt x="895" y="912"/>
                  </a:lnTo>
                  <a:lnTo>
                    <a:pt x="895" y="912"/>
                  </a:lnTo>
                  <a:lnTo>
                    <a:pt x="895" y="912"/>
                  </a:lnTo>
                  <a:lnTo>
                    <a:pt x="895" y="910"/>
                  </a:lnTo>
                  <a:lnTo>
                    <a:pt x="895" y="906"/>
                  </a:lnTo>
                  <a:lnTo>
                    <a:pt x="895" y="904"/>
                  </a:lnTo>
                  <a:lnTo>
                    <a:pt x="893" y="904"/>
                  </a:lnTo>
                  <a:lnTo>
                    <a:pt x="893" y="904"/>
                  </a:lnTo>
                  <a:lnTo>
                    <a:pt x="893" y="904"/>
                  </a:lnTo>
                  <a:lnTo>
                    <a:pt x="893" y="904"/>
                  </a:lnTo>
                  <a:lnTo>
                    <a:pt x="893" y="904"/>
                  </a:lnTo>
                  <a:lnTo>
                    <a:pt x="893" y="906"/>
                  </a:lnTo>
                  <a:lnTo>
                    <a:pt x="891" y="908"/>
                  </a:lnTo>
                  <a:lnTo>
                    <a:pt x="887" y="910"/>
                  </a:lnTo>
                  <a:lnTo>
                    <a:pt x="887" y="910"/>
                  </a:lnTo>
                  <a:lnTo>
                    <a:pt x="887" y="912"/>
                  </a:lnTo>
                  <a:lnTo>
                    <a:pt x="885" y="914"/>
                  </a:lnTo>
                  <a:lnTo>
                    <a:pt x="885" y="914"/>
                  </a:lnTo>
                  <a:lnTo>
                    <a:pt x="885" y="916"/>
                  </a:lnTo>
                  <a:lnTo>
                    <a:pt x="883" y="916"/>
                  </a:lnTo>
                  <a:lnTo>
                    <a:pt x="883" y="916"/>
                  </a:lnTo>
                  <a:lnTo>
                    <a:pt x="883" y="914"/>
                  </a:lnTo>
                  <a:lnTo>
                    <a:pt x="883" y="914"/>
                  </a:lnTo>
                  <a:lnTo>
                    <a:pt x="883" y="912"/>
                  </a:lnTo>
                  <a:lnTo>
                    <a:pt x="881" y="910"/>
                  </a:lnTo>
                  <a:lnTo>
                    <a:pt x="879" y="910"/>
                  </a:lnTo>
                  <a:lnTo>
                    <a:pt x="877" y="910"/>
                  </a:lnTo>
                  <a:lnTo>
                    <a:pt x="877" y="910"/>
                  </a:lnTo>
                  <a:lnTo>
                    <a:pt x="879" y="906"/>
                  </a:lnTo>
                  <a:lnTo>
                    <a:pt x="883" y="902"/>
                  </a:lnTo>
                  <a:lnTo>
                    <a:pt x="881" y="902"/>
                  </a:lnTo>
                  <a:lnTo>
                    <a:pt x="881" y="902"/>
                  </a:lnTo>
                  <a:lnTo>
                    <a:pt x="881" y="900"/>
                  </a:lnTo>
                  <a:lnTo>
                    <a:pt x="881" y="900"/>
                  </a:lnTo>
                  <a:lnTo>
                    <a:pt x="883" y="900"/>
                  </a:lnTo>
                  <a:lnTo>
                    <a:pt x="883" y="900"/>
                  </a:lnTo>
                  <a:lnTo>
                    <a:pt x="885" y="900"/>
                  </a:lnTo>
                  <a:lnTo>
                    <a:pt x="883" y="902"/>
                  </a:lnTo>
                  <a:lnTo>
                    <a:pt x="887" y="900"/>
                  </a:lnTo>
                  <a:lnTo>
                    <a:pt x="891" y="898"/>
                  </a:lnTo>
                  <a:lnTo>
                    <a:pt x="893" y="896"/>
                  </a:lnTo>
                  <a:lnTo>
                    <a:pt x="895" y="894"/>
                  </a:lnTo>
                  <a:lnTo>
                    <a:pt x="895" y="894"/>
                  </a:lnTo>
                  <a:lnTo>
                    <a:pt x="895" y="896"/>
                  </a:lnTo>
                  <a:lnTo>
                    <a:pt x="895" y="900"/>
                  </a:lnTo>
                  <a:lnTo>
                    <a:pt x="897" y="900"/>
                  </a:lnTo>
                  <a:lnTo>
                    <a:pt x="895" y="900"/>
                  </a:lnTo>
                  <a:lnTo>
                    <a:pt x="895" y="902"/>
                  </a:lnTo>
                  <a:lnTo>
                    <a:pt x="895" y="902"/>
                  </a:lnTo>
                  <a:lnTo>
                    <a:pt x="895" y="902"/>
                  </a:lnTo>
                  <a:lnTo>
                    <a:pt x="899" y="902"/>
                  </a:lnTo>
                  <a:lnTo>
                    <a:pt x="899" y="902"/>
                  </a:lnTo>
                  <a:lnTo>
                    <a:pt x="901" y="900"/>
                  </a:lnTo>
                  <a:lnTo>
                    <a:pt x="901" y="898"/>
                  </a:lnTo>
                  <a:lnTo>
                    <a:pt x="901" y="896"/>
                  </a:lnTo>
                  <a:lnTo>
                    <a:pt x="901" y="894"/>
                  </a:lnTo>
                  <a:lnTo>
                    <a:pt x="901" y="894"/>
                  </a:lnTo>
                  <a:lnTo>
                    <a:pt x="903" y="889"/>
                  </a:lnTo>
                  <a:lnTo>
                    <a:pt x="903" y="887"/>
                  </a:lnTo>
                  <a:lnTo>
                    <a:pt x="905" y="887"/>
                  </a:lnTo>
                  <a:lnTo>
                    <a:pt x="905" y="889"/>
                  </a:lnTo>
                  <a:lnTo>
                    <a:pt x="905" y="891"/>
                  </a:lnTo>
                  <a:lnTo>
                    <a:pt x="903" y="894"/>
                  </a:lnTo>
                  <a:lnTo>
                    <a:pt x="905" y="896"/>
                  </a:lnTo>
                  <a:lnTo>
                    <a:pt x="903" y="898"/>
                  </a:lnTo>
                  <a:lnTo>
                    <a:pt x="903" y="900"/>
                  </a:lnTo>
                  <a:lnTo>
                    <a:pt x="901" y="904"/>
                  </a:lnTo>
                  <a:lnTo>
                    <a:pt x="903" y="902"/>
                  </a:lnTo>
                  <a:lnTo>
                    <a:pt x="907" y="902"/>
                  </a:lnTo>
                  <a:lnTo>
                    <a:pt x="907" y="900"/>
                  </a:lnTo>
                  <a:lnTo>
                    <a:pt x="911" y="896"/>
                  </a:lnTo>
                  <a:lnTo>
                    <a:pt x="914" y="894"/>
                  </a:lnTo>
                  <a:lnTo>
                    <a:pt x="916" y="891"/>
                  </a:lnTo>
                  <a:lnTo>
                    <a:pt x="918" y="889"/>
                  </a:lnTo>
                  <a:lnTo>
                    <a:pt x="916" y="885"/>
                  </a:lnTo>
                  <a:lnTo>
                    <a:pt x="916" y="883"/>
                  </a:lnTo>
                  <a:lnTo>
                    <a:pt x="918" y="881"/>
                  </a:lnTo>
                  <a:lnTo>
                    <a:pt x="918" y="879"/>
                  </a:lnTo>
                  <a:lnTo>
                    <a:pt x="916" y="877"/>
                  </a:lnTo>
                  <a:lnTo>
                    <a:pt x="914" y="875"/>
                  </a:lnTo>
                  <a:lnTo>
                    <a:pt x="911" y="871"/>
                  </a:lnTo>
                  <a:lnTo>
                    <a:pt x="911" y="869"/>
                  </a:lnTo>
                  <a:lnTo>
                    <a:pt x="914" y="871"/>
                  </a:lnTo>
                  <a:lnTo>
                    <a:pt x="916" y="871"/>
                  </a:lnTo>
                  <a:lnTo>
                    <a:pt x="918" y="873"/>
                  </a:lnTo>
                  <a:lnTo>
                    <a:pt x="918" y="871"/>
                  </a:lnTo>
                  <a:lnTo>
                    <a:pt x="918" y="871"/>
                  </a:lnTo>
                  <a:lnTo>
                    <a:pt x="918" y="869"/>
                  </a:lnTo>
                  <a:lnTo>
                    <a:pt x="916" y="867"/>
                  </a:lnTo>
                  <a:lnTo>
                    <a:pt x="914" y="867"/>
                  </a:lnTo>
                  <a:lnTo>
                    <a:pt x="914" y="867"/>
                  </a:lnTo>
                  <a:lnTo>
                    <a:pt x="914" y="865"/>
                  </a:lnTo>
                  <a:lnTo>
                    <a:pt x="916" y="865"/>
                  </a:lnTo>
                  <a:lnTo>
                    <a:pt x="916" y="865"/>
                  </a:lnTo>
                  <a:lnTo>
                    <a:pt x="916" y="865"/>
                  </a:lnTo>
                  <a:lnTo>
                    <a:pt x="918" y="867"/>
                  </a:lnTo>
                  <a:lnTo>
                    <a:pt x="918" y="869"/>
                  </a:lnTo>
                  <a:lnTo>
                    <a:pt x="920" y="869"/>
                  </a:lnTo>
                  <a:lnTo>
                    <a:pt x="920" y="869"/>
                  </a:lnTo>
                  <a:lnTo>
                    <a:pt x="920" y="869"/>
                  </a:lnTo>
                  <a:lnTo>
                    <a:pt x="920" y="871"/>
                  </a:lnTo>
                  <a:lnTo>
                    <a:pt x="920" y="871"/>
                  </a:lnTo>
                  <a:lnTo>
                    <a:pt x="922" y="871"/>
                  </a:lnTo>
                  <a:lnTo>
                    <a:pt x="924" y="873"/>
                  </a:lnTo>
                  <a:lnTo>
                    <a:pt x="924" y="873"/>
                  </a:lnTo>
                  <a:lnTo>
                    <a:pt x="924" y="873"/>
                  </a:lnTo>
                  <a:lnTo>
                    <a:pt x="924" y="877"/>
                  </a:lnTo>
                  <a:lnTo>
                    <a:pt x="926" y="879"/>
                  </a:lnTo>
                  <a:lnTo>
                    <a:pt x="926" y="881"/>
                  </a:lnTo>
                  <a:lnTo>
                    <a:pt x="928" y="879"/>
                  </a:lnTo>
                  <a:lnTo>
                    <a:pt x="930" y="881"/>
                  </a:lnTo>
                  <a:lnTo>
                    <a:pt x="940" y="875"/>
                  </a:lnTo>
                  <a:lnTo>
                    <a:pt x="940" y="875"/>
                  </a:lnTo>
                  <a:lnTo>
                    <a:pt x="944" y="873"/>
                  </a:lnTo>
                  <a:lnTo>
                    <a:pt x="946" y="871"/>
                  </a:lnTo>
                  <a:lnTo>
                    <a:pt x="952" y="869"/>
                  </a:lnTo>
                  <a:lnTo>
                    <a:pt x="952" y="865"/>
                  </a:lnTo>
                  <a:lnTo>
                    <a:pt x="950" y="863"/>
                  </a:lnTo>
                  <a:lnTo>
                    <a:pt x="946" y="863"/>
                  </a:lnTo>
                  <a:lnTo>
                    <a:pt x="942" y="863"/>
                  </a:lnTo>
                  <a:lnTo>
                    <a:pt x="942" y="863"/>
                  </a:lnTo>
                  <a:lnTo>
                    <a:pt x="940" y="865"/>
                  </a:lnTo>
                  <a:lnTo>
                    <a:pt x="938" y="865"/>
                  </a:lnTo>
                  <a:lnTo>
                    <a:pt x="938" y="863"/>
                  </a:lnTo>
                  <a:lnTo>
                    <a:pt x="938" y="863"/>
                  </a:lnTo>
                  <a:lnTo>
                    <a:pt x="944" y="861"/>
                  </a:lnTo>
                  <a:lnTo>
                    <a:pt x="942" y="859"/>
                  </a:lnTo>
                  <a:lnTo>
                    <a:pt x="942" y="857"/>
                  </a:lnTo>
                  <a:lnTo>
                    <a:pt x="942" y="857"/>
                  </a:lnTo>
                  <a:lnTo>
                    <a:pt x="942" y="857"/>
                  </a:lnTo>
                  <a:lnTo>
                    <a:pt x="940" y="855"/>
                  </a:lnTo>
                  <a:lnTo>
                    <a:pt x="936" y="853"/>
                  </a:lnTo>
                  <a:lnTo>
                    <a:pt x="936" y="853"/>
                  </a:lnTo>
                  <a:lnTo>
                    <a:pt x="934" y="855"/>
                  </a:lnTo>
                  <a:lnTo>
                    <a:pt x="934" y="855"/>
                  </a:lnTo>
                  <a:lnTo>
                    <a:pt x="932" y="853"/>
                  </a:lnTo>
                  <a:lnTo>
                    <a:pt x="932" y="853"/>
                  </a:lnTo>
                  <a:lnTo>
                    <a:pt x="934" y="850"/>
                  </a:lnTo>
                  <a:lnTo>
                    <a:pt x="934" y="848"/>
                  </a:lnTo>
                  <a:lnTo>
                    <a:pt x="932" y="848"/>
                  </a:lnTo>
                  <a:lnTo>
                    <a:pt x="932" y="846"/>
                  </a:lnTo>
                  <a:lnTo>
                    <a:pt x="930" y="842"/>
                  </a:lnTo>
                  <a:lnTo>
                    <a:pt x="928" y="842"/>
                  </a:lnTo>
                  <a:lnTo>
                    <a:pt x="928" y="840"/>
                  </a:lnTo>
                  <a:lnTo>
                    <a:pt x="928" y="836"/>
                  </a:lnTo>
                  <a:lnTo>
                    <a:pt x="930" y="838"/>
                  </a:lnTo>
                  <a:lnTo>
                    <a:pt x="930" y="838"/>
                  </a:lnTo>
                  <a:lnTo>
                    <a:pt x="930" y="838"/>
                  </a:lnTo>
                  <a:lnTo>
                    <a:pt x="932" y="838"/>
                  </a:lnTo>
                  <a:lnTo>
                    <a:pt x="932" y="838"/>
                  </a:lnTo>
                  <a:lnTo>
                    <a:pt x="934" y="838"/>
                  </a:lnTo>
                  <a:lnTo>
                    <a:pt x="936" y="838"/>
                  </a:lnTo>
                  <a:lnTo>
                    <a:pt x="936" y="840"/>
                  </a:lnTo>
                  <a:lnTo>
                    <a:pt x="936" y="840"/>
                  </a:lnTo>
                  <a:lnTo>
                    <a:pt x="936" y="840"/>
                  </a:lnTo>
                  <a:lnTo>
                    <a:pt x="936" y="842"/>
                  </a:lnTo>
                  <a:lnTo>
                    <a:pt x="936" y="844"/>
                  </a:lnTo>
                  <a:lnTo>
                    <a:pt x="936" y="844"/>
                  </a:lnTo>
                  <a:lnTo>
                    <a:pt x="938" y="844"/>
                  </a:lnTo>
                  <a:lnTo>
                    <a:pt x="938" y="846"/>
                  </a:lnTo>
                  <a:lnTo>
                    <a:pt x="938" y="846"/>
                  </a:lnTo>
                  <a:lnTo>
                    <a:pt x="940" y="846"/>
                  </a:lnTo>
                  <a:lnTo>
                    <a:pt x="940" y="846"/>
                  </a:lnTo>
                  <a:lnTo>
                    <a:pt x="940" y="846"/>
                  </a:lnTo>
                  <a:lnTo>
                    <a:pt x="942" y="846"/>
                  </a:lnTo>
                  <a:lnTo>
                    <a:pt x="942" y="846"/>
                  </a:lnTo>
                  <a:lnTo>
                    <a:pt x="944" y="846"/>
                  </a:lnTo>
                  <a:lnTo>
                    <a:pt x="944" y="848"/>
                  </a:lnTo>
                  <a:lnTo>
                    <a:pt x="948" y="846"/>
                  </a:lnTo>
                  <a:lnTo>
                    <a:pt x="948" y="848"/>
                  </a:lnTo>
                  <a:lnTo>
                    <a:pt x="948" y="850"/>
                  </a:lnTo>
                  <a:lnTo>
                    <a:pt x="946" y="850"/>
                  </a:lnTo>
                  <a:lnTo>
                    <a:pt x="944" y="850"/>
                  </a:lnTo>
                  <a:lnTo>
                    <a:pt x="944" y="853"/>
                  </a:lnTo>
                  <a:lnTo>
                    <a:pt x="946" y="853"/>
                  </a:lnTo>
                  <a:lnTo>
                    <a:pt x="950" y="850"/>
                  </a:lnTo>
                  <a:lnTo>
                    <a:pt x="955" y="846"/>
                  </a:lnTo>
                  <a:lnTo>
                    <a:pt x="952" y="846"/>
                  </a:lnTo>
                  <a:lnTo>
                    <a:pt x="950" y="846"/>
                  </a:lnTo>
                  <a:lnTo>
                    <a:pt x="950" y="844"/>
                  </a:lnTo>
                  <a:lnTo>
                    <a:pt x="950" y="842"/>
                  </a:lnTo>
                  <a:lnTo>
                    <a:pt x="950" y="842"/>
                  </a:lnTo>
                  <a:lnTo>
                    <a:pt x="950" y="842"/>
                  </a:lnTo>
                  <a:lnTo>
                    <a:pt x="950" y="840"/>
                  </a:lnTo>
                  <a:lnTo>
                    <a:pt x="950" y="840"/>
                  </a:lnTo>
                  <a:lnTo>
                    <a:pt x="952" y="840"/>
                  </a:lnTo>
                  <a:lnTo>
                    <a:pt x="952" y="838"/>
                  </a:lnTo>
                  <a:lnTo>
                    <a:pt x="952" y="838"/>
                  </a:lnTo>
                  <a:lnTo>
                    <a:pt x="952" y="838"/>
                  </a:lnTo>
                  <a:lnTo>
                    <a:pt x="950" y="838"/>
                  </a:lnTo>
                  <a:lnTo>
                    <a:pt x="950" y="838"/>
                  </a:lnTo>
                  <a:lnTo>
                    <a:pt x="950" y="838"/>
                  </a:lnTo>
                  <a:lnTo>
                    <a:pt x="948" y="838"/>
                  </a:lnTo>
                  <a:lnTo>
                    <a:pt x="948" y="836"/>
                  </a:lnTo>
                  <a:lnTo>
                    <a:pt x="948" y="834"/>
                  </a:lnTo>
                  <a:lnTo>
                    <a:pt x="948" y="832"/>
                  </a:lnTo>
                  <a:lnTo>
                    <a:pt x="948" y="832"/>
                  </a:lnTo>
                  <a:lnTo>
                    <a:pt x="948" y="834"/>
                  </a:lnTo>
                  <a:lnTo>
                    <a:pt x="950" y="836"/>
                  </a:lnTo>
                  <a:lnTo>
                    <a:pt x="950" y="836"/>
                  </a:lnTo>
                  <a:lnTo>
                    <a:pt x="952" y="836"/>
                  </a:lnTo>
                  <a:lnTo>
                    <a:pt x="952" y="834"/>
                  </a:lnTo>
                  <a:lnTo>
                    <a:pt x="955" y="836"/>
                  </a:lnTo>
                  <a:lnTo>
                    <a:pt x="955" y="838"/>
                  </a:lnTo>
                  <a:lnTo>
                    <a:pt x="955" y="840"/>
                  </a:lnTo>
                  <a:lnTo>
                    <a:pt x="952" y="840"/>
                  </a:lnTo>
                  <a:lnTo>
                    <a:pt x="955" y="842"/>
                  </a:lnTo>
                  <a:lnTo>
                    <a:pt x="957" y="844"/>
                  </a:lnTo>
                  <a:lnTo>
                    <a:pt x="957" y="844"/>
                  </a:lnTo>
                  <a:lnTo>
                    <a:pt x="957" y="846"/>
                  </a:lnTo>
                  <a:lnTo>
                    <a:pt x="957" y="846"/>
                  </a:lnTo>
                  <a:lnTo>
                    <a:pt x="959" y="846"/>
                  </a:lnTo>
                  <a:lnTo>
                    <a:pt x="961" y="844"/>
                  </a:lnTo>
                  <a:lnTo>
                    <a:pt x="963" y="840"/>
                  </a:lnTo>
                  <a:lnTo>
                    <a:pt x="965" y="840"/>
                  </a:lnTo>
                  <a:lnTo>
                    <a:pt x="965" y="842"/>
                  </a:lnTo>
                  <a:lnTo>
                    <a:pt x="967" y="840"/>
                  </a:lnTo>
                  <a:lnTo>
                    <a:pt x="969" y="840"/>
                  </a:lnTo>
                  <a:lnTo>
                    <a:pt x="969" y="840"/>
                  </a:lnTo>
                  <a:lnTo>
                    <a:pt x="971" y="840"/>
                  </a:lnTo>
                  <a:lnTo>
                    <a:pt x="973" y="840"/>
                  </a:lnTo>
                  <a:lnTo>
                    <a:pt x="971" y="840"/>
                  </a:lnTo>
                  <a:lnTo>
                    <a:pt x="969" y="844"/>
                  </a:lnTo>
                  <a:lnTo>
                    <a:pt x="969" y="846"/>
                  </a:lnTo>
                  <a:lnTo>
                    <a:pt x="969" y="846"/>
                  </a:lnTo>
                  <a:lnTo>
                    <a:pt x="971" y="846"/>
                  </a:lnTo>
                  <a:lnTo>
                    <a:pt x="973" y="846"/>
                  </a:lnTo>
                  <a:lnTo>
                    <a:pt x="975" y="846"/>
                  </a:lnTo>
                  <a:lnTo>
                    <a:pt x="975" y="846"/>
                  </a:lnTo>
                  <a:lnTo>
                    <a:pt x="977" y="846"/>
                  </a:lnTo>
                  <a:lnTo>
                    <a:pt x="977" y="846"/>
                  </a:lnTo>
                  <a:lnTo>
                    <a:pt x="977" y="846"/>
                  </a:lnTo>
                  <a:lnTo>
                    <a:pt x="975" y="848"/>
                  </a:lnTo>
                  <a:lnTo>
                    <a:pt x="971" y="848"/>
                  </a:lnTo>
                  <a:lnTo>
                    <a:pt x="969" y="848"/>
                  </a:lnTo>
                  <a:lnTo>
                    <a:pt x="969" y="850"/>
                  </a:lnTo>
                  <a:lnTo>
                    <a:pt x="971" y="850"/>
                  </a:lnTo>
                  <a:lnTo>
                    <a:pt x="975" y="850"/>
                  </a:lnTo>
                  <a:lnTo>
                    <a:pt x="981" y="846"/>
                  </a:lnTo>
                  <a:lnTo>
                    <a:pt x="983" y="846"/>
                  </a:lnTo>
                  <a:lnTo>
                    <a:pt x="983" y="846"/>
                  </a:lnTo>
                  <a:lnTo>
                    <a:pt x="987" y="844"/>
                  </a:lnTo>
                  <a:lnTo>
                    <a:pt x="989" y="842"/>
                  </a:lnTo>
                  <a:lnTo>
                    <a:pt x="991" y="844"/>
                  </a:lnTo>
                  <a:lnTo>
                    <a:pt x="991" y="846"/>
                  </a:lnTo>
                  <a:lnTo>
                    <a:pt x="991" y="846"/>
                  </a:lnTo>
                  <a:lnTo>
                    <a:pt x="991" y="848"/>
                  </a:lnTo>
                  <a:lnTo>
                    <a:pt x="989" y="848"/>
                  </a:lnTo>
                  <a:lnTo>
                    <a:pt x="975" y="857"/>
                  </a:lnTo>
                  <a:lnTo>
                    <a:pt x="973" y="859"/>
                  </a:lnTo>
                  <a:lnTo>
                    <a:pt x="971" y="861"/>
                  </a:lnTo>
                  <a:lnTo>
                    <a:pt x="973" y="861"/>
                  </a:lnTo>
                  <a:lnTo>
                    <a:pt x="979" y="857"/>
                  </a:lnTo>
                  <a:lnTo>
                    <a:pt x="985" y="855"/>
                  </a:lnTo>
                  <a:lnTo>
                    <a:pt x="989" y="848"/>
                  </a:lnTo>
                  <a:lnTo>
                    <a:pt x="1000" y="846"/>
                  </a:lnTo>
                  <a:lnTo>
                    <a:pt x="1006" y="842"/>
                  </a:lnTo>
                  <a:lnTo>
                    <a:pt x="1016" y="836"/>
                  </a:lnTo>
                  <a:lnTo>
                    <a:pt x="1014" y="836"/>
                  </a:lnTo>
                  <a:lnTo>
                    <a:pt x="1010" y="838"/>
                  </a:lnTo>
                  <a:lnTo>
                    <a:pt x="998" y="844"/>
                  </a:lnTo>
                  <a:lnTo>
                    <a:pt x="998" y="846"/>
                  </a:lnTo>
                  <a:lnTo>
                    <a:pt x="995" y="846"/>
                  </a:lnTo>
                  <a:lnTo>
                    <a:pt x="995" y="846"/>
                  </a:lnTo>
                  <a:lnTo>
                    <a:pt x="995" y="846"/>
                  </a:lnTo>
                  <a:lnTo>
                    <a:pt x="995" y="844"/>
                  </a:lnTo>
                  <a:lnTo>
                    <a:pt x="995" y="844"/>
                  </a:lnTo>
                  <a:lnTo>
                    <a:pt x="995" y="844"/>
                  </a:lnTo>
                  <a:lnTo>
                    <a:pt x="995" y="842"/>
                  </a:lnTo>
                  <a:lnTo>
                    <a:pt x="995" y="842"/>
                  </a:lnTo>
                  <a:lnTo>
                    <a:pt x="995" y="840"/>
                  </a:lnTo>
                  <a:lnTo>
                    <a:pt x="995" y="838"/>
                  </a:lnTo>
                  <a:lnTo>
                    <a:pt x="1008" y="834"/>
                  </a:lnTo>
                  <a:lnTo>
                    <a:pt x="1010" y="834"/>
                  </a:lnTo>
                  <a:lnTo>
                    <a:pt x="1016" y="834"/>
                  </a:lnTo>
                  <a:lnTo>
                    <a:pt x="1020" y="834"/>
                  </a:lnTo>
                  <a:lnTo>
                    <a:pt x="1024" y="832"/>
                  </a:lnTo>
                  <a:lnTo>
                    <a:pt x="1028" y="830"/>
                  </a:lnTo>
                  <a:lnTo>
                    <a:pt x="1038" y="822"/>
                  </a:lnTo>
                  <a:lnTo>
                    <a:pt x="1045" y="818"/>
                  </a:lnTo>
                  <a:lnTo>
                    <a:pt x="1047" y="816"/>
                  </a:lnTo>
                  <a:lnTo>
                    <a:pt x="1049" y="816"/>
                  </a:lnTo>
                  <a:lnTo>
                    <a:pt x="1049" y="816"/>
                  </a:lnTo>
                  <a:lnTo>
                    <a:pt x="1055" y="812"/>
                  </a:lnTo>
                  <a:lnTo>
                    <a:pt x="1059" y="805"/>
                  </a:lnTo>
                  <a:lnTo>
                    <a:pt x="1061" y="803"/>
                  </a:lnTo>
                  <a:lnTo>
                    <a:pt x="1067" y="797"/>
                  </a:lnTo>
                  <a:lnTo>
                    <a:pt x="1069" y="797"/>
                  </a:lnTo>
                  <a:lnTo>
                    <a:pt x="1069" y="795"/>
                  </a:lnTo>
                  <a:lnTo>
                    <a:pt x="1069" y="793"/>
                  </a:lnTo>
                  <a:lnTo>
                    <a:pt x="1067" y="789"/>
                  </a:lnTo>
                  <a:lnTo>
                    <a:pt x="1067" y="787"/>
                  </a:lnTo>
                  <a:lnTo>
                    <a:pt x="1069" y="783"/>
                  </a:lnTo>
                  <a:lnTo>
                    <a:pt x="1067" y="781"/>
                  </a:lnTo>
                  <a:lnTo>
                    <a:pt x="1067" y="781"/>
                  </a:lnTo>
                  <a:lnTo>
                    <a:pt x="1067" y="781"/>
                  </a:lnTo>
                  <a:lnTo>
                    <a:pt x="1069" y="781"/>
                  </a:lnTo>
                  <a:lnTo>
                    <a:pt x="1071" y="781"/>
                  </a:lnTo>
                  <a:lnTo>
                    <a:pt x="1071" y="783"/>
                  </a:lnTo>
                  <a:lnTo>
                    <a:pt x="1073" y="783"/>
                  </a:lnTo>
                  <a:lnTo>
                    <a:pt x="1075" y="781"/>
                  </a:lnTo>
                  <a:lnTo>
                    <a:pt x="1081" y="773"/>
                  </a:lnTo>
                  <a:lnTo>
                    <a:pt x="1081" y="773"/>
                  </a:lnTo>
                  <a:lnTo>
                    <a:pt x="1081" y="771"/>
                  </a:lnTo>
                  <a:lnTo>
                    <a:pt x="1081" y="771"/>
                  </a:lnTo>
                  <a:lnTo>
                    <a:pt x="1081" y="771"/>
                  </a:lnTo>
                  <a:lnTo>
                    <a:pt x="1084" y="771"/>
                  </a:lnTo>
                  <a:lnTo>
                    <a:pt x="1084" y="771"/>
                  </a:lnTo>
                  <a:lnTo>
                    <a:pt x="1086" y="771"/>
                  </a:lnTo>
                  <a:lnTo>
                    <a:pt x="1086" y="769"/>
                  </a:lnTo>
                  <a:lnTo>
                    <a:pt x="1086" y="766"/>
                  </a:lnTo>
                  <a:lnTo>
                    <a:pt x="1088" y="766"/>
                  </a:lnTo>
                  <a:lnTo>
                    <a:pt x="1088" y="769"/>
                  </a:lnTo>
                  <a:lnTo>
                    <a:pt x="1090" y="769"/>
                  </a:lnTo>
                  <a:lnTo>
                    <a:pt x="1092" y="764"/>
                  </a:lnTo>
                  <a:lnTo>
                    <a:pt x="1092" y="762"/>
                  </a:lnTo>
                  <a:lnTo>
                    <a:pt x="1092" y="760"/>
                  </a:lnTo>
                  <a:lnTo>
                    <a:pt x="1094" y="760"/>
                  </a:lnTo>
                  <a:lnTo>
                    <a:pt x="1096" y="760"/>
                  </a:lnTo>
                  <a:lnTo>
                    <a:pt x="1098" y="762"/>
                  </a:lnTo>
                  <a:lnTo>
                    <a:pt x="1098" y="760"/>
                  </a:lnTo>
                  <a:lnTo>
                    <a:pt x="1098" y="760"/>
                  </a:lnTo>
                  <a:lnTo>
                    <a:pt x="1098" y="760"/>
                  </a:lnTo>
                  <a:lnTo>
                    <a:pt x="1098" y="760"/>
                  </a:lnTo>
                  <a:lnTo>
                    <a:pt x="1094" y="758"/>
                  </a:lnTo>
                  <a:lnTo>
                    <a:pt x="1092" y="758"/>
                  </a:lnTo>
                  <a:lnTo>
                    <a:pt x="1092" y="758"/>
                  </a:lnTo>
                  <a:lnTo>
                    <a:pt x="1090" y="754"/>
                  </a:lnTo>
                  <a:lnTo>
                    <a:pt x="1090" y="754"/>
                  </a:lnTo>
                  <a:lnTo>
                    <a:pt x="1090" y="754"/>
                  </a:lnTo>
                  <a:lnTo>
                    <a:pt x="1090" y="754"/>
                  </a:lnTo>
                  <a:lnTo>
                    <a:pt x="1088" y="754"/>
                  </a:lnTo>
                  <a:lnTo>
                    <a:pt x="1088" y="754"/>
                  </a:lnTo>
                  <a:lnTo>
                    <a:pt x="1088" y="754"/>
                  </a:lnTo>
                  <a:lnTo>
                    <a:pt x="1090" y="756"/>
                  </a:lnTo>
                  <a:lnTo>
                    <a:pt x="1090" y="756"/>
                  </a:lnTo>
                  <a:lnTo>
                    <a:pt x="1088" y="756"/>
                  </a:lnTo>
                  <a:lnTo>
                    <a:pt x="1086" y="754"/>
                  </a:lnTo>
                  <a:lnTo>
                    <a:pt x="1086" y="752"/>
                  </a:lnTo>
                  <a:lnTo>
                    <a:pt x="1084" y="752"/>
                  </a:lnTo>
                  <a:lnTo>
                    <a:pt x="1084" y="752"/>
                  </a:lnTo>
                  <a:lnTo>
                    <a:pt x="1086" y="750"/>
                  </a:lnTo>
                  <a:lnTo>
                    <a:pt x="1088" y="750"/>
                  </a:lnTo>
                  <a:lnTo>
                    <a:pt x="1088" y="748"/>
                  </a:lnTo>
                  <a:lnTo>
                    <a:pt x="1088" y="748"/>
                  </a:lnTo>
                  <a:lnTo>
                    <a:pt x="1081" y="746"/>
                  </a:lnTo>
                  <a:lnTo>
                    <a:pt x="1077" y="744"/>
                  </a:lnTo>
                  <a:lnTo>
                    <a:pt x="1079" y="740"/>
                  </a:lnTo>
                  <a:lnTo>
                    <a:pt x="1079" y="740"/>
                  </a:lnTo>
                  <a:lnTo>
                    <a:pt x="1081" y="738"/>
                  </a:lnTo>
                  <a:lnTo>
                    <a:pt x="1081" y="736"/>
                  </a:lnTo>
                  <a:lnTo>
                    <a:pt x="1079" y="734"/>
                  </a:lnTo>
                  <a:lnTo>
                    <a:pt x="1077" y="732"/>
                  </a:lnTo>
                  <a:lnTo>
                    <a:pt x="1077" y="730"/>
                  </a:lnTo>
                  <a:lnTo>
                    <a:pt x="1079" y="730"/>
                  </a:lnTo>
                  <a:lnTo>
                    <a:pt x="1079" y="728"/>
                  </a:lnTo>
                  <a:lnTo>
                    <a:pt x="1079" y="728"/>
                  </a:lnTo>
                  <a:lnTo>
                    <a:pt x="1077" y="728"/>
                  </a:lnTo>
                  <a:lnTo>
                    <a:pt x="1077" y="728"/>
                  </a:lnTo>
                  <a:lnTo>
                    <a:pt x="1075" y="728"/>
                  </a:lnTo>
                  <a:lnTo>
                    <a:pt x="1075" y="728"/>
                  </a:lnTo>
                  <a:lnTo>
                    <a:pt x="1073" y="725"/>
                  </a:lnTo>
                  <a:lnTo>
                    <a:pt x="1073" y="725"/>
                  </a:lnTo>
                  <a:lnTo>
                    <a:pt x="1079" y="725"/>
                  </a:lnTo>
                  <a:lnTo>
                    <a:pt x="1084" y="725"/>
                  </a:lnTo>
                  <a:lnTo>
                    <a:pt x="1086" y="730"/>
                  </a:lnTo>
                  <a:lnTo>
                    <a:pt x="1090" y="730"/>
                  </a:lnTo>
                  <a:lnTo>
                    <a:pt x="1092" y="728"/>
                  </a:lnTo>
                  <a:lnTo>
                    <a:pt x="1094" y="723"/>
                  </a:lnTo>
                  <a:lnTo>
                    <a:pt x="1094" y="721"/>
                  </a:lnTo>
                  <a:lnTo>
                    <a:pt x="1094" y="719"/>
                  </a:lnTo>
                  <a:lnTo>
                    <a:pt x="1096" y="719"/>
                  </a:lnTo>
                  <a:lnTo>
                    <a:pt x="1100" y="717"/>
                  </a:lnTo>
                  <a:lnTo>
                    <a:pt x="1102" y="715"/>
                  </a:lnTo>
                  <a:lnTo>
                    <a:pt x="1102" y="715"/>
                  </a:lnTo>
                  <a:lnTo>
                    <a:pt x="1104" y="715"/>
                  </a:lnTo>
                  <a:lnTo>
                    <a:pt x="1104" y="717"/>
                  </a:lnTo>
                  <a:lnTo>
                    <a:pt x="1104" y="719"/>
                  </a:lnTo>
                  <a:lnTo>
                    <a:pt x="1106" y="719"/>
                  </a:lnTo>
                  <a:lnTo>
                    <a:pt x="1106" y="719"/>
                  </a:lnTo>
                  <a:lnTo>
                    <a:pt x="1106" y="721"/>
                  </a:lnTo>
                  <a:lnTo>
                    <a:pt x="1108" y="723"/>
                  </a:lnTo>
                  <a:lnTo>
                    <a:pt x="1106" y="725"/>
                  </a:lnTo>
                  <a:lnTo>
                    <a:pt x="1106" y="732"/>
                  </a:lnTo>
                  <a:lnTo>
                    <a:pt x="1104" y="736"/>
                  </a:lnTo>
                  <a:lnTo>
                    <a:pt x="1104" y="738"/>
                  </a:lnTo>
                  <a:lnTo>
                    <a:pt x="1102" y="740"/>
                  </a:lnTo>
                  <a:lnTo>
                    <a:pt x="1102" y="740"/>
                  </a:lnTo>
                  <a:lnTo>
                    <a:pt x="1100" y="742"/>
                  </a:lnTo>
                  <a:lnTo>
                    <a:pt x="1098" y="742"/>
                  </a:lnTo>
                  <a:lnTo>
                    <a:pt x="1098" y="742"/>
                  </a:lnTo>
                  <a:lnTo>
                    <a:pt x="1100" y="744"/>
                  </a:lnTo>
                  <a:lnTo>
                    <a:pt x="1100" y="744"/>
                  </a:lnTo>
                  <a:lnTo>
                    <a:pt x="1102" y="744"/>
                  </a:lnTo>
                  <a:lnTo>
                    <a:pt x="1106" y="742"/>
                  </a:lnTo>
                  <a:lnTo>
                    <a:pt x="1120" y="738"/>
                  </a:lnTo>
                  <a:lnTo>
                    <a:pt x="1122" y="738"/>
                  </a:lnTo>
                  <a:lnTo>
                    <a:pt x="1122" y="738"/>
                  </a:lnTo>
                  <a:lnTo>
                    <a:pt x="1124" y="740"/>
                  </a:lnTo>
                  <a:lnTo>
                    <a:pt x="1127" y="740"/>
                  </a:lnTo>
                  <a:lnTo>
                    <a:pt x="1129" y="740"/>
                  </a:lnTo>
                  <a:lnTo>
                    <a:pt x="1129" y="738"/>
                  </a:lnTo>
                  <a:lnTo>
                    <a:pt x="1129" y="740"/>
                  </a:lnTo>
                  <a:lnTo>
                    <a:pt x="1129" y="742"/>
                  </a:lnTo>
                  <a:lnTo>
                    <a:pt x="1127" y="744"/>
                  </a:lnTo>
                  <a:lnTo>
                    <a:pt x="1127" y="744"/>
                  </a:lnTo>
                  <a:lnTo>
                    <a:pt x="1120" y="744"/>
                  </a:lnTo>
                  <a:lnTo>
                    <a:pt x="1120" y="744"/>
                  </a:lnTo>
                  <a:lnTo>
                    <a:pt x="1118" y="744"/>
                  </a:lnTo>
                  <a:lnTo>
                    <a:pt x="1116" y="748"/>
                  </a:lnTo>
                  <a:lnTo>
                    <a:pt x="1116" y="748"/>
                  </a:lnTo>
                  <a:lnTo>
                    <a:pt x="1114" y="748"/>
                  </a:lnTo>
                  <a:lnTo>
                    <a:pt x="1114" y="748"/>
                  </a:lnTo>
                  <a:lnTo>
                    <a:pt x="1112" y="750"/>
                  </a:lnTo>
                  <a:lnTo>
                    <a:pt x="1110" y="750"/>
                  </a:lnTo>
                  <a:lnTo>
                    <a:pt x="1102" y="758"/>
                  </a:lnTo>
                  <a:lnTo>
                    <a:pt x="1102" y="760"/>
                  </a:lnTo>
                  <a:lnTo>
                    <a:pt x="1102" y="760"/>
                  </a:lnTo>
                  <a:lnTo>
                    <a:pt x="1104" y="762"/>
                  </a:lnTo>
                  <a:lnTo>
                    <a:pt x="1106" y="760"/>
                  </a:lnTo>
                  <a:lnTo>
                    <a:pt x="1110" y="754"/>
                  </a:lnTo>
                  <a:lnTo>
                    <a:pt x="1114" y="752"/>
                  </a:lnTo>
                  <a:lnTo>
                    <a:pt x="1143" y="736"/>
                  </a:lnTo>
                  <a:lnTo>
                    <a:pt x="1153" y="732"/>
                  </a:lnTo>
                  <a:lnTo>
                    <a:pt x="1161" y="728"/>
                  </a:lnTo>
                  <a:lnTo>
                    <a:pt x="1163" y="725"/>
                  </a:lnTo>
                  <a:lnTo>
                    <a:pt x="1168" y="723"/>
                  </a:lnTo>
                  <a:lnTo>
                    <a:pt x="1170" y="723"/>
                  </a:lnTo>
                  <a:lnTo>
                    <a:pt x="1182" y="723"/>
                  </a:lnTo>
                  <a:lnTo>
                    <a:pt x="1184" y="723"/>
                  </a:lnTo>
                  <a:lnTo>
                    <a:pt x="1186" y="723"/>
                  </a:lnTo>
                  <a:lnTo>
                    <a:pt x="1186" y="721"/>
                  </a:lnTo>
                  <a:lnTo>
                    <a:pt x="1186" y="719"/>
                  </a:lnTo>
                  <a:lnTo>
                    <a:pt x="1180" y="713"/>
                  </a:lnTo>
                  <a:lnTo>
                    <a:pt x="1178" y="709"/>
                  </a:lnTo>
                  <a:lnTo>
                    <a:pt x="1178" y="705"/>
                  </a:lnTo>
                  <a:lnTo>
                    <a:pt x="1184" y="695"/>
                  </a:lnTo>
                  <a:lnTo>
                    <a:pt x="1186" y="693"/>
                  </a:lnTo>
                  <a:lnTo>
                    <a:pt x="1186" y="691"/>
                  </a:lnTo>
                  <a:lnTo>
                    <a:pt x="1186" y="689"/>
                  </a:lnTo>
                  <a:lnTo>
                    <a:pt x="1190" y="689"/>
                  </a:lnTo>
                  <a:lnTo>
                    <a:pt x="1190" y="689"/>
                  </a:lnTo>
                  <a:lnTo>
                    <a:pt x="1190" y="689"/>
                  </a:lnTo>
                  <a:lnTo>
                    <a:pt x="1192" y="687"/>
                  </a:lnTo>
                  <a:lnTo>
                    <a:pt x="1198" y="680"/>
                  </a:lnTo>
                  <a:lnTo>
                    <a:pt x="1196" y="678"/>
                  </a:lnTo>
                  <a:lnTo>
                    <a:pt x="1196" y="676"/>
                  </a:lnTo>
                  <a:lnTo>
                    <a:pt x="1198" y="674"/>
                  </a:lnTo>
                  <a:lnTo>
                    <a:pt x="1198" y="672"/>
                  </a:lnTo>
                  <a:lnTo>
                    <a:pt x="1198" y="670"/>
                  </a:lnTo>
                  <a:lnTo>
                    <a:pt x="1198" y="670"/>
                  </a:lnTo>
                  <a:lnTo>
                    <a:pt x="1198" y="668"/>
                  </a:lnTo>
                  <a:lnTo>
                    <a:pt x="1198" y="666"/>
                  </a:lnTo>
                  <a:lnTo>
                    <a:pt x="1196" y="664"/>
                  </a:lnTo>
                  <a:lnTo>
                    <a:pt x="1196" y="664"/>
                  </a:lnTo>
                  <a:lnTo>
                    <a:pt x="1196" y="662"/>
                  </a:lnTo>
                  <a:lnTo>
                    <a:pt x="1196" y="660"/>
                  </a:lnTo>
                  <a:lnTo>
                    <a:pt x="1198" y="660"/>
                  </a:lnTo>
                  <a:lnTo>
                    <a:pt x="1196" y="658"/>
                  </a:lnTo>
                  <a:lnTo>
                    <a:pt x="1196" y="656"/>
                  </a:lnTo>
                  <a:lnTo>
                    <a:pt x="1194" y="654"/>
                  </a:lnTo>
                  <a:lnTo>
                    <a:pt x="1192" y="652"/>
                  </a:lnTo>
                  <a:lnTo>
                    <a:pt x="1192" y="648"/>
                  </a:lnTo>
                  <a:lnTo>
                    <a:pt x="1192" y="646"/>
                  </a:lnTo>
                  <a:lnTo>
                    <a:pt x="1194" y="644"/>
                  </a:lnTo>
                  <a:lnTo>
                    <a:pt x="1196" y="641"/>
                  </a:lnTo>
                  <a:lnTo>
                    <a:pt x="1196" y="639"/>
                  </a:lnTo>
                  <a:lnTo>
                    <a:pt x="1196" y="637"/>
                  </a:lnTo>
                  <a:lnTo>
                    <a:pt x="1196" y="635"/>
                  </a:lnTo>
                  <a:lnTo>
                    <a:pt x="1194" y="633"/>
                  </a:lnTo>
                  <a:lnTo>
                    <a:pt x="1194" y="633"/>
                  </a:lnTo>
                  <a:lnTo>
                    <a:pt x="1194" y="631"/>
                  </a:lnTo>
                  <a:lnTo>
                    <a:pt x="1194" y="629"/>
                  </a:lnTo>
                  <a:lnTo>
                    <a:pt x="1194" y="629"/>
                  </a:lnTo>
                  <a:lnTo>
                    <a:pt x="1194" y="629"/>
                  </a:lnTo>
                  <a:lnTo>
                    <a:pt x="1194" y="627"/>
                  </a:lnTo>
                  <a:lnTo>
                    <a:pt x="1194" y="625"/>
                  </a:lnTo>
                  <a:lnTo>
                    <a:pt x="1196" y="623"/>
                  </a:lnTo>
                  <a:lnTo>
                    <a:pt x="1198" y="623"/>
                  </a:lnTo>
                  <a:lnTo>
                    <a:pt x="1198" y="621"/>
                  </a:lnTo>
                  <a:lnTo>
                    <a:pt x="1198" y="617"/>
                  </a:lnTo>
                  <a:lnTo>
                    <a:pt x="1198" y="615"/>
                  </a:lnTo>
                  <a:lnTo>
                    <a:pt x="1202" y="613"/>
                  </a:lnTo>
                  <a:lnTo>
                    <a:pt x="1202" y="611"/>
                  </a:lnTo>
                  <a:lnTo>
                    <a:pt x="1204" y="605"/>
                  </a:lnTo>
                  <a:lnTo>
                    <a:pt x="1206" y="598"/>
                  </a:lnTo>
                  <a:lnTo>
                    <a:pt x="1206" y="596"/>
                  </a:lnTo>
                  <a:lnTo>
                    <a:pt x="1206" y="596"/>
                  </a:lnTo>
                  <a:lnTo>
                    <a:pt x="1206" y="594"/>
                  </a:lnTo>
                  <a:lnTo>
                    <a:pt x="1206" y="594"/>
                  </a:lnTo>
                  <a:lnTo>
                    <a:pt x="1206" y="592"/>
                  </a:lnTo>
                  <a:lnTo>
                    <a:pt x="1206" y="590"/>
                  </a:lnTo>
                  <a:lnTo>
                    <a:pt x="1206" y="590"/>
                  </a:lnTo>
                  <a:lnTo>
                    <a:pt x="1206" y="588"/>
                  </a:lnTo>
                  <a:lnTo>
                    <a:pt x="1208" y="586"/>
                  </a:lnTo>
                  <a:lnTo>
                    <a:pt x="1208" y="586"/>
                  </a:lnTo>
                  <a:lnTo>
                    <a:pt x="1208" y="586"/>
                  </a:lnTo>
                  <a:lnTo>
                    <a:pt x="1208" y="584"/>
                  </a:lnTo>
                  <a:lnTo>
                    <a:pt x="1208" y="584"/>
                  </a:lnTo>
                  <a:lnTo>
                    <a:pt x="1206" y="582"/>
                  </a:lnTo>
                  <a:lnTo>
                    <a:pt x="1204" y="578"/>
                  </a:lnTo>
                  <a:lnTo>
                    <a:pt x="1206" y="578"/>
                  </a:lnTo>
                  <a:lnTo>
                    <a:pt x="1206" y="578"/>
                  </a:lnTo>
                  <a:lnTo>
                    <a:pt x="1211" y="576"/>
                  </a:lnTo>
                  <a:lnTo>
                    <a:pt x="1211" y="576"/>
                  </a:lnTo>
                  <a:lnTo>
                    <a:pt x="1211" y="574"/>
                  </a:lnTo>
                  <a:lnTo>
                    <a:pt x="1211" y="574"/>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TX</a:t>
              </a:r>
            </a:p>
          </p:txBody>
        </p:sp>
        <p:sp>
          <p:nvSpPr>
            <p:cNvPr id="73" name="Freeform 13">
              <a:extLst>
                <a:ext uri="{FF2B5EF4-FFF2-40B4-BE49-F238E27FC236}">
                  <a16:creationId xmlns:a16="http://schemas.microsoft.com/office/drawing/2014/main" id="{E5CA221E-BCD0-ED2B-00D2-ED4B9B914C71}"/>
                </a:ext>
              </a:extLst>
            </p:cNvPr>
            <p:cNvSpPr>
              <a:spLocks/>
            </p:cNvSpPr>
            <p:nvPr/>
          </p:nvSpPr>
          <p:spPr bwMode="auto">
            <a:xfrm>
              <a:off x="3590" y="1353"/>
              <a:ext cx="733" cy="268"/>
            </a:xfrm>
            <a:custGeom>
              <a:avLst/>
              <a:gdLst>
                <a:gd name="T0" fmla="*/ 622 w 733"/>
                <a:gd name="T1" fmla="*/ 20 h 268"/>
                <a:gd name="T2" fmla="*/ 694 w 733"/>
                <a:gd name="T3" fmla="*/ 8 h 268"/>
                <a:gd name="T4" fmla="*/ 725 w 733"/>
                <a:gd name="T5" fmla="*/ 2 h 268"/>
                <a:gd name="T6" fmla="*/ 729 w 733"/>
                <a:gd name="T7" fmla="*/ 22 h 268"/>
                <a:gd name="T8" fmla="*/ 733 w 733"/>
                <a:gd name="T9" fmla="*/ 30 h 268"/>
                <a:gd name="T10" fmla="*/ 714 w 733"/>
                <a:gd name="T11" fmla="*/ 39 h 268"/>
                <a:gd name="T12" fmla="*/ 704 w 733"/>
                <a:gd name="T13" fmla="*/ 61 h 268"/>
                <a:gd name="T14" fmla="*/ 700 w 733"/>
                <a:gd name="T15" fmla="*/ 59 h 268"/>
                <a:gd name="T16" fmla="*/ 696 w 733"/>
                <a:gd name="T17" fmla="*/ 57 h 268"/>
                <a:gd name="T18" fmla="*/ 690 w 733"/>
                <a:gd name="T19" fmla="*/ 59 h 268"/>
                <a:gd name="T20" fmla="*/ 677 w 733"/>
                <a:gd name="T21" fmla="*/ 65 h 268"/>
                <a:gd name="T22" fmla="*/ 671 w 733"/>
                <a:gd name="T23" fmla="*/ 77 h 268"/>
                <a:gd name="T24" fmla="*/ 663 w 733"/>
                <a:gd name="T25" fmla="*/ 82 h 268"/>
                <a:gd name="T26" fmla="*/ 661 w 733"/>
                <a:gd name="T27" fmla="*/ 75 h 268"/>
                <a:gd name="T28" fmla="*/ 655 w 733"/>
                <a:gd name="T29" fmla="*/ 75 h 268"/>
                <a:gd name="T30" fmla="*/ 647 w 733"/>
                <a:gd name="T31" fmla="*/ 84 h 268"/>
                <a:gd name="T32" fmla="*/ 643 w 733"/>
                <a:gd name="T33" fmla="*/ 88 h 268"/>
                <a:gd name="T34" fmla="*/ 634 w 733"/>
                <a:gd name="T35" fmla="*/ 90 h 268"/>
                <a:gd name="T36" fmla="*/ 637 w 733"/>
                <a:gd name="T37" fmla="*/ 94 h 268"/>
                <a:gd name="T38" fmla="*/ 632 w 733"/>
                <a:gd name="T39" fmla="*/ 106 h 268"/>
                <a:gd name="T40" fmla="*/ 620 w 733"/>
                <a:gd name="T41" fmla="*/ 110 h 268"/>
                <a:gd name="T42" fmla="*/ 610 w 733"/>
                <a:gd name="T43" fmla="*/ 118 h 268"/>
                <a:gd name="T44" fmla="*/ 604 w 733"/>
                <a:gd name="T45" fmla="*/ 125 h 268"/>
                <a:gd name="T46" fmla="*/ 594 w 733"/>
                <a:gd name="T47" fmla="*/ 133 h 268"/>
                <a:gd name="T48" fmla="*/ 583 w 733"/>
                <a:gd name="T49" fmla="*/ 137 h 268"/>
                <a:gd name="T50" fmla="*/ 577 w 733"/>
                <a:gd name="T51" fmla="*/ 139 h 268"/>
                <a:gd name="T52" fmla="*/ 569 w 733"/>
                <a:gd name="T53" fmla="*/ 141 h 268"/>
                <a:gd name="T54" fmla="*/ 557 w 733"/>
                <a:gd name="T55" fmla="*/ 147 h 268"/>
                <a:gd name="T56" fmla="*/ 551 w 733"/>
                <a:gd name="T57" fmla="*/ 155 h 268"/>
                <a:gd name="T58" fmla="*/ 548 w 733"/>
                <a:gd name="T59" fmla="*/ 164 h 268"/>
                <a:gd name="T60" fmla="*/ 546 w 733"/>
                <a:gd name="T61" fmla="*/ 174 h 268"/>
                <a:gd name="T62" fmla="*/ 534 w 733"/>
                <a:gd name="T63" fmla="*/ 180 h 268"/>
                <a:gd name="T64" fmla="*/ 530 w 733"/>
                <a:gd name="T65" fmla="*/ 180 h 268"/>
                <a:gd name="T66" fmla="*/ 526 w 733"/>
                <a:gd name="T67" fmla="*/ 192 h 268"/>
                <a:gd name="T68" fmla="*/ 501 w 733"/>
                <a:gd name="T69" fmla="*/ 211 h 268"/>
                <a:gd name="T70" fmla="*/ 413 w 733"/>
                <a:gd name="T71" fmla="*/ 223 h 268"/>
                <a:gd name="T72" fmla="*/ 303 w 733"/>
                <a:gd name="T73" fmla="*/ 235 h 268"/>
                <a:gd name="T74" fmla="*/ 190 w 733"/>
                <a:gd name="T75" fmla="*/ 248 h 268"/>
                <a:gd name="T76" fmla="*/ 149 w 733"/>
                <a:gd name="T77" fmla="*/ 254 h 268"/>
                <a:gd name="T78" fmla="*/ 57 w 733"/>
                <a:gd name="T79" fmla="*/ 264 h 268"/>
                <a:gd name="T80" fmla="*/ 2 w 733"/>
                <a:gd name="T81" fmla="*/ 266 h 268"/>
                <a:gd name="T82" fmla="*/ 12 w 733"/>
                <a:gd name="T83" fmla="*/ 254 h 268"/>
                <a:gd name="T84" fmla="*/ 14 w 733"/>
                <a:gd name="T85" fmla="*/ 229 h 268"/>
                <a:gd name="T86" fmla="*/ 22 w 733"/>
                <a:gd name="T87" fmla="*/ 211 h 268"/>
                <a:gd name="T88" fmla="*/ 26 w 733"/>
                <a:gd name="T89" fmla="*/ 200 h 268"/>
                <a:gd name="T90" fmla="*/ 26 w 733"/>
                <a:gd name="T91" fmla="*/ 186 h 268"/>
                <a:gd name="T92" fmla="*/ 41 w 733"/>
                <a:gd name="T93" fmla="*/ 166 h 268"/>
                <a:gd name="T94" fmla="*/ 43 w 733"/>
                <a:gd name="T95" fmla="*/ 155 h 268"/>
                <a:gd name="T96" fmla="*/ 51 w 733"/>
                <a:gd name="T97" fmla="*/ 141 h 268"/>
                <a:gd name="T98" fmla="*/ 53 w 733"/>
                <a:gd name="T99" fmla="*/ 125 h 268"/>
                <a:gd name="T100" fmla="*/ 55 w 733"/>
                <a:gd name="T101" fmla="*/ 116 h 268"/>
                <a:gd name="T102" fmla="*/ 57 w 733"/>
                <a:gd name="T103" fmla="*/ 100 h 268"/>
                <a:gd name="T104" fmla="*/ 63 w 733"/>
                <a:gd name="T105" fmla="*/ 100 h 268"/>
                <a:gd name="T106" fmla="*/ 182 w 733"/>
                <a:gd name="T107" fmla="*/ 88 h 268"/>
                <a:gd name="T108" fmla="*/ 178 w 733"/>
                <a:gd name="T109" fmla="*/ 67 h 268"/>
                <a:gd name="T110" fmla="*/ 198 w 733"/>
                <a:gd name="T111" fmla="*/ 71 h 268"/>
                <a:gd name="T112" fmla="*/ 227 w 733"/>
                <a:gd name="T113" fmla="*/ 67 h 268"/>
                <a:gd name="T114" fmla="*/ 297 w 733"/>
                <a:gd name="T115" fmla="*/ 59 h 268"/>
                <a:gd name="T116" fmla="*/ 319 w 733"/>
                <a:gd name="T117" fmla="*/ 55 h 268"/>
                <a:gd name="T118" fmla="*/ 456 w 733"/>
                <a:gd name="T119" fmla="*/ 43 h 268"/>
                <a:gd name="T120" fmla="*/ 555 w 733"/>
                <a:gd name="T121" fmla="*/ 3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3" h="268">
                  <a:moveTo>
                    <a:pt x="559" y="28"/>
                  </a:moveTo>
                  <a:lnTo>
                    <a:pt x="569" y="26"/>
                  </a:lnTo>
                  <a:lnTo>
                    <a:pt x="577" y="26"/>
                  </a:lnTo>
                  <a:lnTo>
                    <a:pt x="585" y="24"/>
                  </a:lnTo>
                  <a:lnTo>
                    <a:pt x="596" y="22"/>
                  </a:lnTo>
                  <a:lnTo>
                    <a:pt x="604" y="22"/>
                  </a:lnTo>
                  <a:lnTo>
                    <a:pt x="614" y="20"/>
                  </a:lnTo>
                  <a:lnTo>
                    <a:pt x="622" y="20"/>
                  </a:lnTo>
                  <a:lnTo>
                    <a:pt x="630" y="18"/>
                  </a:lnTo>
                  <a:lnTo>
                    <a:pt x="641" y="16"/>
                  </a:lnTo>
                  <a:lnTo>
                    <a:pt x="649" y="16"/>
                  </a:lnTo>
                  <a:lnTo>
                    <a:pt x="659" y="14"/>
                  </a:lnTo>
                  <a:lnTo>
                    <a:pt x="667" y="12"/>
                  </a:lnTo>
                  <a:lnTo>
                    <a:pt x="675" y="10"/>
                  </a:lnTo>
                  <a:lnTo>
                    <a:pt x="686" y="10"/>
                  </a:lnTo>
                  <a:lnTo>
                    <a:pt x="694" y="8"/>
                  </a:lnTo>
                  <a:lnTo>
                    <a:pt x="702" y="6"/>
                  </a:lnTo>
                  <a:lnTo>
                    <a:pt x="706" y="6"/>
                  </a:lnTo>
                  <a:lnTo>
                    <a:pt x="708" y="6"/>
                  </a:lnTo>
                  <a:lnTo>
                    <a:pt x="710" y="4"/>
                  </a:lnTo>
                  <a:lnTo>
                    <a:pt x="710" y="4"/>
                  </a:lnTo>
                  <a:lnTo>
                    <a:pt x="710" y="4"/>
                  </a:lnTo>
                  <a:lnTo>
                    <a:pt x="716" y="2"/>
                  </a:lnTo>
                  <a:lnTo>
                    <a:pt x="725" y="2"/>
                  </a:lnTo>
                  <a:lnTo>
                    <a:pt x="733" y="0"/>
                  </a:lnTo>
                  <a:lnTo>
                    <a:pt x="729" y="8"/>
                  </a:lnTo>
                  <a:lnTo>
                    <a:pt x="729" y="10"/>
                  </a:lnTo>
                  <a:lnTo>
                    <a:pt x="729" y="10"/>
                  </a:lnTo>
                  <a:lnTo>
                    <a:pt x="731" y="12"/>
                  </a:lnTo>
                  <a:lnTo>
                    <a:pt x="731" y="14"/>
                  </a:lnTo>
                  <a:lnTo>
                    <a:pt x="731" y="18"/>
                  </a:lnTo>
                  <a:lnTo>
                    <a:pt x="729" y="22"/>
                  </a:lnTo>
                  <a:lnTo>
                    <a:pt x="729" y="24"/>
                  </a:lnTo>
                  <a:lnTo>
                    <a:pt x="729" y="24"/>
                  </a:lnTo>
                  <a:lnTo>
                    <a:pt x="729" y="24"/>
                  </a:lnTo>
                  <a:lnTo>
                    <a:pt x="731" y="26"/>
                  </a:lnTo>
                  <a:lnTo>
                    <a:pt x="731" y="28"/>
                  </a:lnTo>
                  <a:lnTo>
                    <a:pt x="731" y="28"/>
                  </a:lnTo>
                  <a:lnTo>
                    <a:pt x="733" y="28"/>
                  </a:lnTo>
                  <a:lnTo>
                    <a:pt x="733" y="30"/>
                  </a:lnTo>
                  <a:lnTo>
                    <a:pt x="731" y="30"/>
                  </a:lnTo>
                  <a:lnTo>
                    <a:pt x="729" y="30"/>
                  </a:lnTo>
                  <a:lnTo>
                    <a:pt x="725" y="28"/>
                  </a:lnTo>
                  <a:lnTo>
                    <a:pt x="723" y="28"/>
                  </a:lnTo>
                  <a:lnTo>
                    <a:pt x="723" y="28"/>
                  </a:lnTo>
                  <a:lnTo>
                    <a:pt x="716" y="34"/>
                  </a:lnTo>
                  <a:lnTo>
                    <a:pt x="714" y="37"/>
                  </a:lnTo>
                  <a:lnTo>
                    <a:pt x="714" y="39"/>
                  </a:lnTo>
                  <a:lnTo>
                    <a:pt x="708" y="55"/>
                  </a:lnTo>
                  <a:lnTo>
                    <a:pt x="708" y="57"/>
                  </a:lnTo>
                  <a:lnTo>
                    <a:pt x="708" y="57"/>
                  </a:lnTo>
                  <a:lnTo>
                    <a:pt x="706" y="57"/>
                  </a:lnTo>
                  <a:lnTo>
                    <a:pt x="706" y="59"/>
                  </a:lnTo>
                  <a:lnTo>
                    <a:pt x="704" y="61"/>
                  </a:lnTo>
                  <a:lnTo>
                    <a:pt x="704" y="61"/>
                  </a:lnTo>
                  <a:lnTo>
                    <a:pt x="704" y="61"/>
                  </a:lnTo>
                  <a:lnTo>
                    <a:pt x="702" y="61"/>
                  </a:lnTo>
                  <a:lnTo>
                    <a:pt x="702" y="61"/>
                  </a:lnTo>
                  <a:lnTo>
                    <a:pt x="700" y="61"/>
                  </a:lnTo>
                  <a:lnTo>
                    <a:pt x="700" y="61"/>
                  </a:lnTo>
                  <a:lnTo>
                    <a:pt x="700" y="59"/>
                  </a:lnTo>
                  <a:lnTo>
                    <a:pt x="700" y="59"/>
                  </a:lnTo>
                  <a:lnTo>
                    <a:pt x="700" y="59"/>
                  </a:lnTo>
                  <a:lnTo>
                    <a:pt x="700" y="59"/>
                  </a:lnTo>
                  <a:lnTo>
                    <a:pt x="698" y="59"/>
                  </a:lnTo>
                  <a:lnTo>
                    <a:pt x="698" y="57"/>
                  </a:lnTo>
                  <a:lnTo>
                    <a:pt x="698" y="57"/>
                  </a:lnTo>
                  <a:lnTo>
                    <a:pt x="698" y="57"/>
                  </a:lnTo>
                  <a:lnTo>
                    <a:pt x="698" y="57"/>
                  </a:lnTo>
                  <a:lnTo>
                    <a:pt x="698" y="57"/>
                  </a:lnTo>
                  <a:lnTo>
                    <a:pt x="696" y="57"/>
                  </a:lnTo>
                  <a:lnTo>
                    <a:pt x="696" y="57"/>
                  </a:lnTo>
                  <a:lnTo>
                    <a:pt x="694" y="57"/>
                  </a:lnTo>
                  <a:lnTo>
                    <a:pt x="694" y="57"/>
                  </a:lnTo>
                  <a:lnTo>
                    <a:pt x="694" y="57"/>
                  </a:lnTo>
                  <a:lnTo>
                    <a:pt x="694" y="55"/>
                  </a:lnTo>
                  <a:lnTo>
                    <a:pt x="692" y="57"/>
                  </a:lnTo>
                  <a:lnTo>
                    <a:pt x="692" y="57"/>
                  </a:lnTo>
                  <a:lnTo>
                    <a:pt x="692" y="57"/>
                  </a:lnTo>
                  <a:lnTo>
                    <a:pt x="690" y="59"/>
                  </a:lnTo>
                  <a:lnTo>
                    <a:pt x="688" y="59"/>
                  </a:lnTo>
                  <a:lnTo>
                    <a:pt x="686" y="59"/>
                  </a:lnTo>
                  <a:lnTo>
                    <a:pt x="686" y="59"/>
                  </a:lnTo>
                  <a:lnTo>
                    <a:pt x="684" y="61"/>
                  </a:lnTo>
                  <a:lnTo>
                    <a:pt x="682" y="63"/>
                  </a:lnTo>
                  <a:lnTo>
                    <a:pt x="680" y="63"/>
                  </a:lnTo>
                  <a:lnTo>
                    <a:pt x="680" y="63"/>
                  </a:lnTo>
                  <a:lnTo>
                    <a:pt x="677" y="65"/>
                  </a:lnTo>
                  <a:lnTo>
                    <a:pt x="675" y="69"/>
                  </a:lnTo>
                  <a:lnTo>
                    <a:pt x="673" y="71"/>
                  </a:lnTo>
                  <a:lnTo>
                    <a:pt x="673" y="73"/>
                  </a:lnTo>
                  <a:lnTo>
                    <a:pt x="673" y="73"/>
                  </a:lnTo>
                  <a:lnTo>
                    <a:pt x="671" y="75"/>
                  </a:lnTo>
                  <a:lnTo>
                    <a:pt x="671" y="77"/>
                  </a:lnTo>
                  <a:lnTo>
                    <a:pt x="671" y="77"/>
                  </a:lnTo>
                  <a:lnTo>
                    <a:pt x="671" y="77"/>
                  </a:lnTo>
                  <a:lnTo>
                    <a:pt x="671" y="77"/>
                  </a:lnTo>
                  <a:lnTo>
                    <a:pt x="667" y="82"/>
                  </a:lnTo>
                  <a:lnTo>
                    <a:pt x="665" y="82"/>
                  </a:lnTo>
                  <a:lnTo>
                    <a:pt x="665" y="82"/>
                  </a:lnTo>
                  <a:lnTo>
                    <a:pt x="665" y="82"/>
                  </a:lnTo>
                  <a:lnTo>
                    <a:pt x="665" y="82"/>
                  </a:lnTo>
                  <a:lnTo>
                    <a:pt x="663" y="82"/>
                  </a:lnTo>
                  <a:lnTo>
                    <a:pt x="663" y="82"/>
                  </a:lnTo>
                  <a:lnTo>
                    <a:pt x="663" y="82"/>
                  </a:lnTo>
                  <a:lnTo>
                    <a:pt x="663" y="82"/>
                  </a:lnTo>
                  <a:lnTo>
                    <a:pt x="663" y="80"/>
                  </a:lnTo>
                  <a:lnTo>
                    <a:pt x="661" y="80"/>
                  </a:lnTo>
                  <a:lnTo>
                    <a:pt x="661" y="80"/>
                  </a:lnTo>
                  <a:lnTo>
                    <a:pt x="661" y="77"/>
                  </a:lnTo>
                  <a:lnTo>
                    <a:pt x="661" y="77"/>
                  </a:lnTo>
                  <a:lnTo>
                    <a:pt x="661" y="75"/>
                  </a:lnTo>
                  <a:lnTo>
                    <a:pt x="661" y="75"/>
                  </a:lnTo>
                  <a:lnTo>
                    <a:pt x="661" y="75"/>
                  </a:lnTo>
                  <a:lnTo>
                    <a:pt x="661" y="75"/>
                  </a:lnTo>
                  <a:lnTo>
                    <a:pt x="659" y="73"/>
                  </a:lnTo>
                  <a:lnTo>
                    <a:pt x="659" y="73"/>
                  </a:lnTo>
                  <a:lnTo>
                    <a:pt x="659" y="73"/>
                  </a:lnTo>
                  <a:lnTo>
                    <a:pt x="657" y="73"/>
                  </a:lnTo>
                  <a:lnTo>
                    <a:pt x="655" y="75"/>
                  </a:lnTo>
                  <a:lnTo>
                    <a:pt x="653" y="77"/>
                  </a:lnTo>
                  <a:lnTo>
                    <a:pt x="647" y="82"/>
                  </a:lnTo>
                  <a:lnTo>
                    <a:pt x="647" y="82"/>
                  </a:lnTo>
                  <a:lnTo>
                    <a:pt x="647" y="82"/>
                  </a:lnTo>
                  <a:lnTo>
                    <a:pt x="647" y="82"/>
                  </a:lnTo>
                  <a:lnTo>
                    <a:pt x="647" y="84"/>
                  </a:lnTo>
                  <a:lnTo>
                    <a:pt x="647" y="84"/>
                  </a:lnTo>
                  <a:lnTo>
                    <a:pt x="647" y="84"/>
                  </a:lnTo>
                  <a:lnTo>
                    <a:pt x="645" y="86"/>
                  </a:lnTo>
                  <a:lnTo>
                    <a:pt x="645" y="86"/>
                  </a:lnTo>
                  <a:lnTo>
                    <a:pt x="645" y="88"/>
                  </a:lnTo>
                  <a:lnTo>
                    <a:pt x="645" y="88"/>
                  </a:lnTo>
                  <a:lnTo>
                    <a:pt x="645" y="88"/>
                  </a:lnTo>
                  <a:lnTo>
                    <a:pt x="645" y="88"/>
                  </a:lnTo>
                  <a:lnTo>
                    <a:pt x="643" y="88"/>
                  </a:lnTo>
                  <a:lnTo>
                    <a:pt x="643" y="88"/>
                  </a:lnTo>
                  <a:lnTo>
                    <a:pt x="641" y="88"/>
                  </a:lnTo>
                  <a:lnTo>
                    <a:pt x="641" y="88"/>
                  </a:lnTo>
                  <a:lnTo>
                    <a:pt x="639" y="88"/>
                  </a:lnTo>
                  <a:lnTo>
                    <a:pt x="639" y="88"/>
                  </a:lnTo>
                  <a:lnTo>
                    <a:pt x="637" y="88"/>
                  </a:lnTo>
                  <a:lnTo>
                    <a:pt x="637" y="88"/>
                  </a:lnTo>
                  <a:lnTo>
                    <a:pt x="637" y="88"/>
                  </a:lnTo>
                  <a:lnTo>
                    <a:pt x="634" y="90"/>
                  </a:lnTo>
                  <a:lnTo>
                    <a:pt x="634" y="90"/>
                  </a:lnTo>
                  <a:lnTo>
                    <a:pt x="634" y="90"/>
                  </a:lnTo>
                  <a:lnTo>
                    <a:pt x="634" y="90"/>
                  </a:lnTo>
                  <a:lnTo>
                    <a:pt x="634" y="92"/>
                  </a:lnTo>
                  <a:lnTo>
                    <a:pt x="634" y="92"/>
                  </a:lnTo>
                  <a:lnTo>
                    <a:pt x="637" y="92"/>
                  </a:lnTo>
                  <a:lnTo>
                    <a:pt x="637" y="94"/>
                  </a:lnTo>
                  <a:lnTo>
                    <a:pt x="637" y="94"/>
                  </a:lnTo>
                  <a:lnTo>
                    <a:pt x="637" y="96"/>
                  </a:lnTo>
                  <a:lnTo>
                    <a:pt x="637" y="96"/>
                  </a:lnTo>
                  <a:lnTo>
                    <a:pt x="637" y="98"/>
                  </a:lnTo>
                  <a:lnTo>
                    <a:pt x="637" y="98"/>
                  </a:lnTo>
                  <a:lnTo>
                    <a:pt x="637" y="98"/>
                  </a:lnTo>
                  <a:lnTo>
                    <a:pt x="634" y="100"/>
                  </a:lnTo>
                  <a:lnTo>
                    <a:pt x="634" y="104"/>
                  </a:lnTo>
                  <a:lnTo>
                    <a:pt x="632" y="106"/>
                  </a:lnTo>
                  <a:lnTo>
                    <a:pt x="630" y="106"/>
                  </a:lnTo>
                  <a:lnTo>
                    <a:pt x="630" y="106"/>
                  </a:lnTo>
                  <a:lnTo>
                    <a:pt x="628" y="106"/>
                  </a:lnTo>
                  <a:lnTo>
                    <a:pt x="626" y="106"/>
                  </a:lnTo>
                  <a:lnTo>
                    <a:pt x="624" y="106"/>
                  </a:lnTo>
                  <a:lnTo>
                    <a:pt x="624" y="106"/>
                  </a:lnTo>
                  <a:lnTo>
                    <a:pt x="624" y="108"/>
                  </a:lnTo>
                  <a:lnTo>
                    <a:pt x="620" y="110"/>
                  </a:lnTo>
                  <a:lnTo>
                    <a:pt x="616" y="112"/>
                  </a:lnTo>
                  <a:lnTo>
                    <a:pt x="616" y="112"/>
                  </a:lnTo>
                  <a:lnTo>
                    <a:pt x="616" y="112"/>
                  </a:lnTo>
                  <a:lnTo>
                    <a:pt x="614" y="114"/>
                  </a:lnTo>
                  <a:lnTo>
                    <a:pt x="612" y="116"/>
                  </a:lnTo>
                  <a:lnTo>
                    <a:pt x="610" y="116"/>
                  </a:lnTo>
                  <a:lnTo>
                    <a:pt x="610" y="116"/>
                  </a:lnTo>
                  <a:lnTo>
                    <a:pt x="610" y="118"/>
                  </a:lnTo>
                  <a:lnTo>
                    <a:pt x="610" y="118"/>
                  </a:lnTo>
                  <a:lnTo>
                    <a:pt x="608" y="121"/>
                  </a:lnTo>
                  <a:lnTo>
                    <a:pt x="606" y="123"/>
                  </a:lnTo>
                  <a:lnTo>
                    <a:pt x="606" y="123"/>
                  </a:lnTo>
                  <a:lnTo>
                    <a:pt x="606" y="123"/>
                  </a:lnTo>
                  <a:lnTo>
                    <a:pt x="604" y="123"/>
                  </a:lnTo>
                  <a:lnTo>
                    <a:pt x="604" y="123"/>
                  </a:lnTo>
                  <a:lnTo>
                    <a:pt x="604" y="125"/>
                  </a:lnTo>
                  <a:lnTo>
                    <a:pt x="602" y="125"/>
                  </a:lnTo>
                  <a:lnTo>
                    <a:pt x="602" y="127"/>
                  </a:lnTo>
                  <a:lnTo>
                    <a:pt x="600" y="127"/>
                  </a:lnTo>
                  <a:lnTo>
                    <a:pt x="600" y="129"/>
                  </a:lnTo>
                  <a:lnTo>
                    <a:pt x="596" y="131"/>
                  </a:lnTo>
                  <a:lnTo>
                    <a:pt x="594" y="131"/>
                  </a:lnTo>
                  <a:lnTo>
                    <a:pt x="594" y="133"/>
                  </a:lnTo>
                  <a:lnTo>
                    <a:pt x="594" y="133"/>
                  </a:lnTo>
                  <a:lnTo>
                    <a:pt x="591" y="135"/>
                  </a:lnTo>
                  <a:lnTo>
                    <a:pt x="591" y="137"/>
                  </a:lnTo>
                  <a:lnTo>
                    <a:pt x="589" y="137"/>
                  </a:lnTo>
                  <a:lnTo>
                    <a:pt x="585" y="139"/>
                  </a:lnTo>
                  <a:lnTo>
                    <a:pt x="583" y="139"/>
                  </a:lnTo>
                  <a:lnTo>
                    <a:pt x="583" y="139"/>
                  </a:lnTo>
                  <a:lnTo>
                    <a:pt x="583" y="139"/>
                  </a:lnTo>
                  <a:lnTo>
                    <a:pt x="583" y="137"/>
                  </a:lnTo>
                  <a:lnTo>
                    <a:pt x="581" y="137"/>
                  </a:lnTo>
                  <a:lnTo>
                    <a:pt x="581" y="137"/>
                  </a:lnTo>
                  <a:lnTo>
                    <a:pt x="581" y="137"/>
                  </a:lnTo>
                  <a:lnTo>
                    <a:pt x="579" y="139"/>
                  </a:lnTo>
                  <a:lnTo>
                    <a:pt x="577" y="139"/>
                  </a:lnTo>
                  <a:lnTo>
                    <a:pt x="577" y="139"/>
                  </a:lnTo>
                  <a:lnTo>
                    <a:pt x="577" y="139"/>
                  </a:lnTo>
                  <a:lnTo>
                    <a:pt x="577" y="139"/>
                  </a:lnTo>
                  <a:lnTo>
                    <a:pt x="575" y="139"/>
                  </a:lnTo>
                  <a:lnTo>
                    <a:pt x="575" y="139"/>
                  </a:lnTo>
                  <a:lnTo>
                    <a:pt x="575" y="139"/>
                  </a:lnTo>
                  <a:lnTo>
                    <a:pt x="573" y="139"/>
                  </a:lnTo>
                  <a:lnTo>
                    <a:pt x="573" y="139"/>
                  </a:lnTo>
                  <a:lnTo>
                    <a:pt x="571" y="139"/>
                  </a:lnTo>
                  <a:lnTo>
                    <a:pt x="569" y="139"/>
                  </a:lnTo>
                  <a:lnTo>
                    <a:pt x="569" y="141"/>
                  </a:lnTo>
                  <a:lnTo>
                    <a:pt x="567" y="141"/>
                  </a:lnTo>
                  <a:lnTo>
                    <a:pt x="565" y="143"/>
                  </a:lnTo>
                  <a:lnTo>
                    <a:pt x="563" y="145"/>
                  </a:lnTo>
                  <a:lnTo>
                    <a:pt x="563" y="145"/>
                  </a:lnTo>
                  <a:lnTo>
                    <a:pt x="563" y="145"/>
                  </a:lnTo>
                  <a:lnTo>
                    <a:pt x="559" y="147"/>
                  </a:lnTo>
                  <a:lnTo>
                    <a:pt x="559" y="147"/>
                  </a:lnTo>
                  <a:lnTo>
                    <a:pt x="557" y="147"/>
                  </a:lnTo>
                  <a:lnTo>
                    <a:pt x="557" y="147"/>
                  </a:lnTo>
                  <a:lnTo>
                    <a:pt x="557" y="151"/>
                  </a:lnTo>
                  <a:lnTo>
                    <a:pt x="555" y="151"/>
                  </a:lnTo>
                  <a:lnTo>
                    <a:pt x="555" y="153"/>
                  </a:lnTo>
                  <a:lnTo>
                    <a:pt x="555" y="153"/>
                  </a:lnTo>
                  <a:lnTo>
                    <a:pt x="551" y="155"/>
                  </a:lnTo>
                  <a:lnTo>
                    <a:pt x="551" y="155"/>
                  </a:lnTo>
                  <a:lnTo>
                    <a:pt x="551" y="155"/>
                  </a:lnTo>
                  <a:lnTo>
                    <a:pt x="548" y="157"/>
                  </a:lnTo>
                  <a:lnTo>
                    <a:pt x="548" y="159"/>
                  </a:lnTo>
                  <a:lnTo>
                    <a:pt x="548" y="159"/>
                  </a:lnTo>
                  <a:lnTo>
                    <a:pt x="548" y="159"/>
                  </a:lnTo>
                  <a:lnTo>
                    <a:pt x="548" y="159"/>
                  </a:lnTo>
                  <a:lnTo>
                    <a:pt x="548" y="162"/>
                  </a:lnTo>
                  <a:lnTo>
                    <a:pt x="548" y="162"/>
                  </a:lnTo>
                  <a:lnTo>
                    <a:pt x="548" y="164"/>
                  </a:lnTo>
                  <a:lnTo>
                    <a:pt x="548" y="164"/>
                  </a:lnTo>
                  <a:lnTo>
                    <a:pt x="548" y="164"/>
                  </a:lnTo>
                  <a:lnTo>
                    <a:pt x="546" y="166"/>
                  </a:lnTo>
                  <a:lnTo>
                    <a:pt x="546" y="168"/>
                  </a:lnTo>
                  <a:lnTo>
                    <a:pt x="546" y="168"/>
                  </a:lnTo>
                  <a:lnTo>
                    <a:pt x="546" y="168"/>
                  </a:lnTo>
                  <a:lnTo>
                    <a:pt x="546" y="172"/>
                  </a:lnTo>
                  <a:lnTo>
                    <a:pt x="546" y="174"/>
                  </a:lnTo>
                  <a:lnTo>
                    <a:pt x="546" y="174"/>
                  </a:lnTo>
                  <a:lnTo>
                    <a:pt x="544" y="176"/>
                  </a:lnTo>
                  <a:lnTo>
                    <a:pt x="544" y="176"/>
                  </a:lnTo>
                  <a:lnTo>
                    <a:pt x="542" y="178"/>
                  </a:lnTo>
                  <a:lnTo>
                    <a:pt x="542" y="178"/>
                  </a:lnTo>
                  <a:lnTo>
                    <a:pt x="540" y="178"/>
                  </a:lnTo>
                  <a:lnTo>
                    <a:pt x="536" y="178"/>
                  </a:lnTo>
                  <a:lnTo>
                    <a:pt x="534" y="180"/>
                  </a:lnTo>
                  <a:lnTo>
                    <a:pt x="534" y="180"/>
                  </a:lnTo>
                  <a:lnTo>
                    <a:pt x="534" y="178"/>
                  </a:lnTo>
                  <a:lnTo>
                    <a:pt x="534" y="178"/>
                  </a:lnTo>
                  <a:lnTo>
                    <a:pt x="532" y="178"/>
                  </a:lnTo>
                  <a:lnTo>
                    <a:pt x="532" y="178"/>
                  </a:lnTo>
                  <a:lnTo>
                    <a:pt x="532" y="178"/>
                  </a:lnTo>
                  <a:lnTo>
                    <a:pt x="530" y="178"/>
                  </a:lnTo>
                  <a:lnTo>
                    <a:pt x="530" y="180"/>
                  </a:lnTo>
                  <a:lnTo>
                    <a:pt x="528" y="180"/>
                  </a:lnTo>
                  <a:lnTo>
                    <a:pt x="528" y="182"/>
                  </a:lnTo>
                  <a:lnTo>
                    <a:pt x="526" y="182"/>
                  </a:lnTo>
                  <a:lnTo>
                    <a:pt x="526" y="184"/>
                  </a:lnTo>
                  <a:lnTo>
                    <a:pt x="526" y="184"/>
                  </a:lnTo>
                  <a:lnTo>
                    <a:pt x="526" y="186"/>
                  </a:lnTo>
                  <a:lnTo>
                    <a:pt x="526" y="188"/>
                  </a:lnTo>
                  <a:lnTo>
                    <a:pt x="526" y="192"/>
                  </a:lnTo>
                  <a:lnTo>
                    <a:pt x="526" y="198"/>
                  </a:lnTo>
                  <a:lnTo>
                    <a:pt x="526" y="205"/>
                  </a:lnTo>
                  <a:lnTo>
                    <a:pt x="528" y="209"/>
                  </a:lnTo>
                  <a:lnTo>
                    <a:pt x="520" y="211"/>
                  </a:lnTo>
                  <a:lnTo>
                    <a:pt x="512" y="211"/>
                  </a:lnTo>
                  <a:lnTo>
                    <a:pt x="505" y="211"/>
                  </a:lnTo>
                  <a:lnTo>
                    <a:pt x="503" y="211"/>
                  </a:lnTo>
                  <a:lnTo>
                    <a:pt x="501" y="211"/>
                  </a:lnTo>
                  <a:lnTo>
                    <a:pt x="491" y="213"/>
                  </a:lnTo>
                  <a:lnTo>
                    <a:pt x="479" y="215"/>
                  </a:lnTo>
                  <a:lnTo>
                    <a:pt x="469" y="217"/>
                  </a:lnTo>
                  <a:lnTo>
                    <a:pt x="456" y="217"/>
                  </a:lnTo>
                  <a:lnTo>
                    <a:pt x="446" y="219"/>
                  </a:lnTo>
                  <a:lnTo>
                    <a:pt x="436" y="221"/>
                  </a:lnTo>
                  <a:lnTo>
                    <a:pt x="424" y="221"/>
                  </a:lnTo>
                  <a:lnTo>
                    <a:pt x="413" y="223"/>
                  </a:lnTo>
                  <a:lnTo>
                    <a:pt x="399" y="225"/>
                  </a:lnTo>
                  <a:lnTo>
                    <a:pt x="385" y="227"/>
                  </a:lnTo>
                  <a:lnTo>
                    <a:pt x="372" y="227"/>
                  </a:lnTo>
                  <a:lnTo>
                    <a:pt x="358" y="229"/>
                  </a:lnTo>
                  <a:lnTo>
                    <a:pt x="344" y="231"/>
                  </a:lnTo>
                  <a:lnTo>
                    <a:pt x="329" y="233"/>
                  </a:lnTo>
                  <a:lnTo>
                    <a:pt x="315" y="235"/>
                  </a:lnTo>
                  <a:lnTo>
                    <a:pt x="303" y="235"/>
                  </a:lnTo>
                  <a:lnTo>
                    <a:pt x="288" y="237"/>
                  </a:lnTo>
                  <a:lnTo>
                    <a:pt x="274" y="239"/>
                  </a:lnTo>
                  <a:lnTo>
                    <a:pt x="260" y="239"/>
                  </a:lnTo>
                  <a:lnTo>
                    <a:pt x="245" y="241"/>
                  </a:lnTo>
                  <a:lnTo>
                    <a:pt x="233" y="243"/>
                  </a:lnTo>
                  <a:lnTo>
                    <a:pt x="219" y="243"/>
                  </a:lnTo>
                  <a:lnTo>
                    <a:pt x="204" y="246"/>
                  </a:lnTo>
                  <a:lnTo>
                    <a:pt x="190" y="248"/>
                  </a:lnTo>
                  <a:lnTo>
                    <a:pt x="188" y="248"/>
                  </a:lnTo>
                  <a:lnTo>
                    <a:pt x="186" y="248"/>
                  </a:lnTo>
                  <a:lnTo>
                    <a:pt x="188" y="250"/>
                  </a:lnTo>
                  <a:lnTo>
                    <a:pt x="188" y="250"/>
                  </a:lnTo>
                  <a:lnTo>
                    <a:pt x="184" y="250"/>
                  </a:lnTo>
                  <a:lnTo>
                    <a:pt x="172" y="252"/>
                  </a:lnTo>
                  <a:lnTo>
                    <a:pt x="161" y="254"/>
                  </a:lnTo>
                  <a:lnTo>
                    <a:pt x="149" y="254"/>
                  </a:lnTo>
                  <a:lnTo>
                    <a:pt x="139" y="256"/>
                  </a:lnTo>
                  <a:lnTo>
                    <a:pt x="127" y="256"/>
                  </a:lnTo>
                  <a:lnTo>
                    <a:pt x="114" y="258"/>
                  </a:lnTo>
                  <a:lnTo>
                    <a:pt x="104" y="258"/>
                  </a:lnTo>
                  <a:lnTo>
                    <a:pt x="92" y="260"/>
                  </a:lnTo>
                  <a:lnTo>
                    <a:pt x="81" y="262"/>
                  </a:lnTo>
                  <a:lnTo>
                    <a:pt x="69" y="262"/>
                  </a:lnTo>
                  <a:lnTo>
                    <a:pt x="57" y="264"/>
                  </a:lnTo>
                  <a:lnTo>
                    <a:pt x="47" y="264"/>
                  </a:lnTo>
                  <a:lnTo>
                    <a:pt x="34" y="266"/>
                  </a:lnTo>
                  <a:lnTo>
                    <a:pt x="24" y="266"/>
                  </a:lnTo>
                  <a:lnTo>
                    <a:pt x="12" y="268"/>
                  </a:lnTo>
                  <a:lnTo>
                    <a:pt x="0" y="268"/>
                  </a:lnTo>
                  <a:lnTo>
                    <a:pt x="0" y="268"/>
                  </a:lnTo>
                  <a:lnTo>
                    <a:pt x="0" y="266"/>
                  </a:lnTo>
                  <a:lnTo>
                    <a:pt x="2" y="266"/>
                  </a:lnTo>
                  <a:lnTo>
                    <a:pt x="4" y="264"/>
                  </a:lnTo>
                  <a:lnTo>
                    <a:pt x="8" y="262"/>
                  </a:lnTo>
                  <a:lnTo>
                    <a:pt x="8" y="262"/>
                  </a:lnTo>
                  <a:lnTo>
                    <a:pt x="10" y="260"/>
                  </a:lnTo>
                  <a:lnTo>
                    <a:pt x="10" y="258"/>
                  </a:lnTo>
                  <a:lnTo>
                    <a:pt x="10" y="256"/>
                  </a:lnTo>
                  <a:lnTo>
                    <a:pt x="10" y="254"/>
                  </a:lnTo>
                  <a:lnTo>
                    <a:pt x="12" y="254"/>
                  </a:lnTo>
                  <a:lnTo>
                    <a:pt x="14" y="254"/>
                  </a:lnTo>
                  <a:lnTo>
                    <a:pt x="16" y="254"/>
                  </a:lnTo>
                  <a:lnTo>
                    <a:pt x="18" y="250"/>
                  </a:lnTo>
                  <a:lnTo>
                    <a:pt x="18" y="246"/>
                  </a:lnTo>
                  <a:lnTo>
                    <a:pt x="16" y="241"/>
                  </a:lnTo>
                  <a:lnTo>
                    <a:pt x="14" y="237"/>
                  </a:lnTo>
                  <a:lnTo>
                    <a:pt x="14" y="235"/>
                  </a:lnTo>
                  <a:lnTo>
                    <a:pt x="14" y="229"/>
                  </a:lnTo>
                  <a:lnTo>
                    <a:pt x="14" y="227"/>
                  </a:lnTo>
                  <a:lnTo>
                    <a:pt x="14" y="225"/>
                  </a:lnTo>
                  <a:lnTo>
                    <a:pt x="18" y="221"/>
                  </a:lnTo>
                  <a:lnTo>
                    <a:pt x="20" y="219"/>
                  </a:lnTo>
                  <a:lnTo>
                    <a:pt x="20" y="217"/>
                  </a:lnTo>
                  <a:lnTo>
                    <a:pt x="22" y="215"/>
                  </a:lnTo>
                  <a:lnTo>
                    <a:pt x="20" y="213"/>
                  </a:lnTo>
                  <a:lnTo>
                    <a:pt x="22" y="211"/>
                  </a:lnTo>
                  <a:lnTo>
                    <a:pt x="22" y="211"/>
                  </a:lnTo>
                  <a:lnTo>
                    <a:pt x="24" y="209"/>
                  </a:lnTo>
                  <a:lnTo>
                    <a:pt x="26" y="209"/>
                  </a:lnTo>
                  <a:lnTo>
                    <a:pt x="28" y="209"/>
                  </a:lnTo>
                  <a:lnTo>
                    <a:pt x="28" y="207"/>
                  </a:lnTo>
                  <a:lnTo>
                    <a:pt x="28" y="205"/>
                  </a:lnTo>
                  <a:lnTo>
                    <a:pt x="26" y="202"/>
                  </a:lnTo>
                  <a:lnTo>
                    <a:pt x="26" y="200"/>
                  </a:lnTo>
                  <a:lnTo>
                    <a:pt x="26" y="200"/>
                  </a:lnTo>
                  <a:lnTo>
                    <a:pt x="28" y="198"/>
                  </a:lnTo>
                  <a:lnTo>
                    <a:pt x="28" y="196"/>
                  </a:lnTo>
                  <a:lnTo>
                    <a:pt x="28" y="194"/>
                  </a:lnTo>
                  <a:lnTo>
                    <a:pt x="26" y="192"/>
                  </a:lnTo>
                  <a:lnTo>
                    <a:pt x="24" y="190"/>
                  </a:lnTo>
                  <a:lnTo>
                    <a:pt x="24" y="188"/>
                  </a:lnTo>
                  <a:lnTo>
                    <a:pt x="26" y="186"/>
                  </a:lnTo>
                  <a:lnTo>
                    <a:pt x="38" y="180"/>
                  </a:lnTo>
                  <a:lnTo>
                    <a:pt x="43" y="174"/>
                  </a:lnTo>
                  <a:lnTo>
                    <a:pt x="43" y="172"/>
                  </a:lnTo>
                  <a:lnTo>
                    <a:pt x="41" y="172"/>
                  </a:lnTo>
                  <a:lnTo>
                    <a:pt x="38" y="170"/>
                  </a:lnTo>
                  <a:lnTo>
                    <a:pt x="38" y="168"/>
                  </a:lnTo>
                  <a:lnTo>
                    <a:pt x="38" y="166"/>
                  </a:lnTo>
                  <a:lnTo>
                    <a:pt x="41" y="166"/>
                  </a:lnTo>
                  <a:lnTo>
                    <a:pt x="43" y="166"/>
                  </a:lnTo>
                  <a:lnTo>
                    <a:pt x="47" y="168"/>
                  </a:lnTo>
                  <a:lnTo>
                    <a:pt x="47" y="168"/>
                  </a:lnTo>
                  <a:lnTo>
                    <a:pt x="47" y="166"/>
                  </a:lnTo>
                  <a:lnTo>
                    <a:pt x="47" y="162"/>
                  </a:lnTo>
                  <a:lnTo>
                    <a:pt x="43" y="159"/>
                  </a:lnTo>
                  <a:lnTo>
                    <a:pt x="43" y="157"/>
                  </a:lnTo>
                  <a:lnTo>
                    <a:pt x="43" y="155"/>
                  </a:lnTo>
                  <a:lnTo>
                    <a:pt x="43" y="153"/>
                  </a:lnTo>
                  <a:lnTo>
                    <a:pt x="45" y="147"/>
                  </a:lnTo>
                  <a:lnTo>
                    <a:pt x="45" y="145"/>
                  </a:lnTo>
                  <a:lnTo>
                    <a:pt x="45" y="145"/>
                  </a:lnTo>
                  <a:lnTo>
                    <a:pt x="47" y="143"/>
                  </a:lnTo>
                  <a:lnTo>
                    <a:pt x="49" y="143"/>
                  </a:lnTo>
                  <a:lnTo>
                    <a:pt x="49" y="143"/>
                  </a:lnTo>
                  <a:lnTo>
                    <a:pt x="51" y="141"/>
                  </a:lnTo>
                  <a:lnTo>
                    <a:pt x="47" y="137"/>
                  </a:lnTo>
                  <a:lnTo>
                    <a:pt x="43" y="129"/>
                  </a:lnTo>
                  <a:lnTo>
                    <a:pt x="43" y="129"/>
                  </a:lnTo>
                  <a:lnTo>
                    <a:pt x="51" y="129"/>
                  </a:lnTo>
                  <a:lnTo>
                    <a:pt x="53" y="127"/>
                  </a:lnTo>
                  <a:lnTo>
                    <a:pt x="53" y="127"/>
                  </a:lnTo>
                  <a:lnTo>
                    <a:pt x="53" y="125"/>
                  </a:lnTo>
                  <a:lnTo>
                    <a:pt x="53" y="125"/>
                  </a:lnTo>
                  <a:lnTo>
                    <a:pt x="51" y="125"/>
                  </a:lnTo>
                  <a:lnTo>
                    <a:pt x="49" y="123"/>
                  </a:lnTo>
                  <a:lnTo>
                    <a:pt x="47" y="121"/>
                  </a:lnTo>
                  <a:lnTo>
                    <a:pt x="47" y="118"/>
                  </a:lnTo>
                  <a:lnTo>
                    <a:pt x="49" y="118"/>
                  </a:lnTo>
                  <a:lnTo>
                    <a:pt x="51" y="118"/>
                  </a:lnTo>
                  <a:lnTo>
                    <a:pt x="53" y="116"/>
                  </a:lnTo>
                  <a:lnTo>
                    <a:pt x="55" y="116"/>
                  </a:lnTo>
                  <a:lnTo>
                    <a:pt x="55" y="114"/>
                  </a:lnTo>
                  <a:lnTo>
                    <a:pt x="55" y="112"/>
                  </a:lnTo>
                  <a:lnTo>
                    <a:pt x="53" y="106"/>
                  </a:lnTo>
                  <a:lnTo>
                    <a:pt x="51" y="106"/>
                  </a:lnTo>
                  <a:lnTo>
                    <a:pt x="53" y="104"/>
                  </a:lnTo>
                  <a:lnTo>
                    <a:pt x="51" y="102"/>
                  </a:lnTo>
                  <a:lnTo>
                    <a:pt x="51" y="102"/>
                  </a:lnTo>
                  <a:lnTo>
                    <a:pt x="57" y="100"/>
                  </a:lnTo>
                  <a:lnTo>
                    <a:pt x="57" y="102"/>
                  </a:lnTo>
                  <a:lnTo>
                    <a:pt x="55" y="104"/>
                  </a:lnTo>
                  <a:lnTo>
                    <a:pt x="57" y="106"/>
                  </a:lnTo>
                  <a:lnTo>
                    <a:pt x="59" y="106"/>
                  </a:lnTo>
                  <a:lnTo>
                    <a:pt x="59" y="104"/>
                  </a:lnTo>
                  <a:lnTo>
                    <a:pt x="61" y="104"/>
                  </a:lnTo>
                  <a:lnTo>
                    <a:pt x="63" y="102"/>
                  </a:lnTo>
                  <a:lnTo>
                    <a:pt x="63" y="100"/>
                  </a:lnTo>
                  <a:lnTo>
                    <a:pt x="77" y="98"/>
                  </a:lnTo>
                  <a:lnTo>
                    <a:pt x="92" y="98"/>
                  </a:lnTo>
                  <a:lnTo>
                    <a:pt x="108" y="96"/>
                  </a:lnTo>
                  <a:lnTo>
                    <a:pt x="122" y="94"/>
                  </a:lnTo>
                  <a:lnTo>
                    <a:pt x="137" y="94"/>
                  </a:lnTo>
                  <a:lnTo>
                    <a:pt x="153" y="92"/>
                  </a:lnTo>
                  <a:lnTo>
                    <a:pt x="168" y="90"/>
                  </a:lnTo>
                  <a:lnTo>
                    <a:pt x="182" y="88"/>
                  </a:lnTo>
                  <a:lnTo>
                    <a:pt x="182" y="86"/>
                  </a:lnTo>
                  <a:lnTo>
                    <a:pt x="182" y="82"/>
                  </a:lnTo>
                  <a:lnTo>
                    <a:pt x="182" y="80"/>
                  </a:lnTo>
                  <a:lnTo>
                    <a:pt x="180" y="75"/>
                  </a:lnTo>
                  <a:lnTo>
                    <a:pt x="178" y="69"/>
                  </a:lnTo>
                  <a:lnTo>
                    <a:pt x="178" y="69"/>
                  </a:lnTo>
                  <a:lnTo>
                    <a:pt x="178" y="67"/>
                  </a:lnTo>
                  <a:lnTo>
                    <a:pt x="178" y="67"/>
                  </a:lnTo>
                  <a:lnTo>
                    <a:pt x="178" y="67"/>
                  </a:lnTo>
                  <a:lnTo>
                    <a:pt x="184" y="67"/>
                  </a:lnTo>
                  <a:lnTo>
                    <a:pt x="190" y="67"/>
                  </a:lnTo>
                  <a:lnTo>
                    <a:pt x="196" y="67"/>
                  </a:lnTo>
                  <a:lnTo>
                    <a:pt x="196" y="67"/>
                  </a:lnTo>
                  <a:lnTo>
                    <a:pt x="196" y="69"/>
                  </a:lnTo>
                  <a:lnTo>
                    <a:pt x="198" y="69"/>
                  </a:lnTo>
                  <a:lnTo>
                    <a:pt x="198" y="71"/>
                  </a:lnTo>
                  <a:lnTo>
                    <a:pt x="198" y="71"/>
                  </a:lnTo>
                  <a:lnTo>
                    <a:pt x="198" y="71"/>
                  </a:lnTo>
                  <a:lnTo>
                    <a:pt x="202" y="69"/>
                  </a:lnTo>
                  <a:lnTo>
                    <a:pt x="204" y="69"/>
                  </a:lnTo>
                  <a:lnTo>
                    <a:pt x="206" y="69"/>
                  </a:lnTo>
                  <a:lnTo>
                    <a:pt x="213" y="69"/>
                  </a:lnTo>
                  <a:lnTo>
                    <a:pt x="219" y="67"/>
                  </a:lnTo>
                  <a:lnTo>
                    <a:pt x="227" y="67"/>
                  </a:lnTo>
                  <a:lnTo>
                    <a:pt x="235" y="65"/>
                  </a:lnTo>
                  <a:lnTo>
                    <a:pt x="245" y="65"/>
                  </a:lnTo>
                  <a:lnTo>
                    <a:pt x="254" y="63"/>
                  </a:lnTo>
                  <a:lnTo>
                    <a:pt x="264" y="63"/>
                  </a:lnTo>
                  <a:lnTo>
                    <a:pt x="274" y="61"/>
                  </a:lnTo>
                  <a:lnTo>
                    <a:pt x="282" y="61"/>
                  </a:lnTo>
                  <a:lnTo>
                    <a:pt x="290" y="59"/>
                  </a:lnTo>
                  <a:lnTo>
                    <a:pt x="297" y="59"/>
                  </a:lnTo>
                  <a:lnTo>
                    <a:pt x="301" y="57"/>
                  </a:lnTo>
                  <a:lnTo>
                    <a:pt x="305" y="57"/>
                  </a:lnTo>
                  <a:lnTo>
                    <a:pt x="307" y="57"/>
                  </a:lnTo>
                  <a:lnTo>
                    <a:pt x="309" y="57"/>
                  </a:lnTo>
                  <a:lnTo>
                    <a:pt x="313" y="55"/>
                  </a:lnTo>
                  <a:lnTo>
                    <a:pt x="313" y="55"/>
                  </a:lnTo>
                  <a:lnTo>
                    <a:pt x="317" y="55"/>
                  </a:lnTo>
                  <a:lnTo>
                    <a:pt x="319" y="55"/>
                  </a:lnTo>
                  <a:lnTo>
                    <a:pt x="327" y="55"/>
                  </a:lnTo>
                  <a:lnTo>
                    <a:pt x="340" y="53"/>
                  </a:lnTo>
                  <a:lnTo>
                    <a:pt x="354" y="51"/>
                  </a:lnTo>
                  <a:lnTo>
                    <a:pt x="370" y="51"/>
                  </a:lnTo>
                  <a:lnTo>
                    <a:pt x="391" y="49"/>
                  </a:lnTo>
                  <a:lnTo>
                    <a:pt x="411" y="47"/>
                  </a:lnTo>
                  <a:lnTo>
                    <a:pt x="434" y="45"/>
                  </a:lnTo>
                  <a:lnTo>
                    <a:pt x="456" y="43"/>
                  </a:lnTo>
                  <a:lnTo>
                    <a:pt x="477" y="39"/>
                  </a:lnTo>
                  <a:lnTo>
                    <a:pt x="495" y="37"/>
                  </a:lnTo>
                  <a:lnTo>
                    <a:pt x="514" y="37"/>
                  </a:lnTo>
                  <a:lnTo>
                    <a:pt x="528" y="34"/>
                  </a:lnTo>
                  <a:lnTo>
                    <a:pt x="540" y="32"/>
                  </a:lnTo>
                  <a:lnTo>
                    <a:pt x="546" y="32"/>
                  </a:lnTo>
                  <a:lnTo>
                    <a:pt x="551" y="32"/>
                  </a:lnTo>
                  <a:lnTo>
                    <a:pt x="555" y="30"/>
                  </a:lnTo>
                  <a:lnTo>
                    <a:pt x="557" y="30"/>
                  </a:lnTo>
                  <a:lnTo>
                    <a:pt x="559" y="28"/>
                  </a:lnTo>
                  <a:lnTo>
                    <a:pt x="559" y="28"/>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TN</a:t>
              </a:r>
            </a:p>
          </p:txBody>
        </p:sp>
        <p:sp>
          <p:nvSpPr>
            <p:cNvPr id="74" name="Freeform 14">
              <a:extLst>
                <a:ext uri="{FF2B5EF4-FFF2-40B4-BE49-F238E27FC236}">
                  <a16:creationId xmlns:a16="http://schemas.microsoft.com/office/drawing/2014/main" id="{E822E827-46BF-6339-AE9E-E00D81FC4537}"/>
                </a:ext>
              </a:extLst>
            </p:cNvPr>
            <p:cNvSpPr>
              <a:spLocks/>
            </p:cNvSpPr>
            <p:nvPr/>
          </p:nvSpPr>
          <p:spPr bwMode="auto">
            <a:xfrm>
              <a:off x="2403" y="490"/>
              <a:ext cx="612" cy="361"/>
            </a:xfrm>
            <a:custGeom>
              <a:avLst/>
              <a:gdLst>
                <a:gd name="T0" fmla="*/ 594 w 612"/>
                <a:gd name="T1" fmla="*/ 10 h 361"/>
                <a:gd name="T2" fmla="*/ 588 w 612"/>
                <a:gd name="T3" fmla="*/ 20 h 361"/>
                <a:gd name="T4" fmla="*/ 573 w 612"/>
                <a:gd name="T5" fmla="*/ 33 h 361"/>
                <a:gd name="T6" fmla="*/ 579 w 612"/>
                <a:gd name="T7" fmla="*/ 45 h 361"/>
                <a:gd name="T8" fmla="*/ 598 w 612"/>
                <a:gd name="T9" fmla="*/ 59 h 361"/>
                <a:gd name="T10" fmla="*/ 606 w 612"/>
                <a:gd name="T11" fmla="*/ 67 h 361"/>
                <a:gd name="T12" fmla="*/ 608 w 612"/>
                <a:gd name="T13" fmla="*/ 164 h 361"/>
                <a:gd name="T14" fmla="*/ 600 w 612"/>
                <a:gd name="T15" fmla="*/ 256 h 361"/>
                <a:gd name="T16" fmla="*/ 600 w 612"/>
                <a:gd name="T17" fmla="*/ 262 h 361"/>
                <a:gd name="T18" fmla="*/ 604 w 612"/>
                <a:gd name="T19" fmla="*/ 268 h 361"/>
                <a:gd name="T20" fmla="*/ 604 w 612"/>
                <a:gd name="T21" fmla="*/ 279 h 361"/>
                <a:gd name="T22" fmla="*/ 602 w 612"/>
                <a:gd name="T23" fmla="*/ 281 h 361"/>
                <a:gd name="T24" fmla="*/ 602 w 612"/>
                <a:gd name="T25" fmla="*/ 283 h 361"/>
                <a:gd name="T26" fmla="*/ 604 w 612"/>
                <a:gd name="T27" fmla="*/ 285 h 361"/>
                <a:gd name="T28" fmla="*/ 610 w 612"/>
                <a:gd name="T29" fmla="*/ 287 h 361"/>
                <a:gd name="T30" fmla="*/ 612 w 612"/>
                <a:gd name="T31" fmla="*/ 295 h 361"/>
                <a:gd name="T32" fmla="*/ 608 w 612"/>
                <a:gd name="T33" fmla="*/ 303 h 361"/>
                <a:gd name="T34" fmla="*/ 610 w 612"/>
                <a:gd name="T35" fmla="*/ 307 h 361"/>
                <a:gd name="T36" fmla="*/ 608 w 612"/>
                <a:gd name="T37" fmla="*/ 311 h 361"/>
                <a:gd name="T38" fmla="*/ 606 w 612"/>
                <a:gd name="T39" fmla="*/ 318 h 361"/>
                <a:gd name="T40" fmla="*/ 604 w 612"/>
                <a:gd name="T41" fmla="*/ 322 h 361"/>
                <a:gd name="T42" fmla="*/ 602 w 612"/>
                <a:gd name="T43" fmla="*/ 326 h 361"/>
                <a:gd name="T44" fmla="*/ 602 w 612"/>
                <a:gd name="T45" fmla="*/ 328 h 361"/>
                <a:gd name="T46" fmla="*/ 598 w 612"/>
                <a:gd name="T47" fmla="*/ 336 h 361"/>
                <a:gd name="T48" fmla="*/ 606 w 612"/>
                <a:gd name="T49" fmla="*/ 344 h 361"/>
                <a:gd name="T50" fmla="*/ 608 w 612"/>
                <a:gd name="T51" fmla="*/ 346 h 361"/>
                <a:gd name="T52" fmla="*/ 608 w 612"/>
                <a:gd name="T53" fmla="*/ 350 h 361"/>
                <a:gd name="T54" fmla="*/ 610 w 612"/>
                <a:gd name="T55" fmla="*/ 352 h 361"/>
                <a:gd name="T56" fmla="*/ 602 w 612"/>
                <a:gd name="T57" fmla="*/ 358 h 361"/>
                <a:gd name="T58" fmla="*/ 594 w 612"/>
                <a:gd name="T59" fmla="*/ 348 h 361"/>
                <a:gd name="T60" fmla="*/ 594 w 612"/>
                <a:gd name="T61" fmla="*/ 344 h 361"/>
                <a:gd name="T62" fmla="*/ 586 w 612"/>
                <a:gd name="T63" fmla="*/ 342 h 361"/>
                <a:gd name="T64" fmla="*/ 573 w 612"/>
                <a:gd name="T65" fmla="*/ 336 h 361"/>
                <a:gd name="T66" fmla="*/ 565 w 612"/>
                <a:gd name="T67" fmla="*/ 334 h 361"/>
                <a:gd name="T68" fmla="*/ 553 w 612"/>
                <a:gd name="T69" fmla="*/ 328 h 361"/>
                <a:gd name="T70" fmla="*/ 526 w 612"/>
                <a:gd name="T71" fmla="*/ 326 h 361"/>
                <a:gd name="T72" fmla="*/ 512 w 612"/>
                <a:gd name="T73" fmla="*/ 326 h 361"/>
                <a:gd name="T74" fmla="*/ 497 w 612"/>
                <a:gd name="T75" fmla="*/ 328 h 361"/>
                <a:gd name="T76" fmla="*/ 493 w 612"/>
                <a:gd name="T77" fmla="*/ 334 h 361"/>
                <a:gd name="T78" fmla="*/ 481 w 612"/>
                <a:gd name="T79" fmla="*/ 332 h 361"/>
                <a:gd name="T80" fmla="*/ 461 w 612"/>
                <a:gd name="T81" fmla="*/ 320 h 361"/>
                <a:gd name="T82" fmla="*/ 448 w 612"/>
                <a:gd name="T83" fmla="*/ 313 h 361"/>
                <a:gd name="T84" fmla="*/ 373 w 612"/>
                <a:gd name="T85" fmla="*/ 313 h 361"/>
                <a:gd name="T86" fmla="*/ 289 w 612"/>
                <a:gd name="T87" fmla="*/ 313 h 361"/>
                <a:gd name="T88" fmla="*/ 207 w 612"/>
                <a:gd name="T89" fmla="*/ 313 h 361"/>
                <a:gd name="T90" fmla="*/ 125 w 612"/>
                <a:gd name="T91" fmla="*/ 311 h 361"/>
                <a:gd name="T92" fmla="*/ 41 w 612"/>
                <a:gd name="T93" fmla="*/ 309 h 361"/>
                <a:gd name="T94" fmla="*/ 2 w 612"/>
                <a:gd name="T95" fmla="*/ 268 h 361"/>
                <a:gd name="T96" fmla="*/ 4 w 612"/>
                <a:gd name="T97" fmla="*/ 188 h 361"/>
                <a:gd name="T98" fmla="*/ 6 w 612"/>
                <a:gd name="T99" fmla="*/ 111 h 361"/>
                <a:gd name="T100" fmla="*/ 10 w 612"/>
                <a:gd name="T101" fmla="*/ 67 h 361"/>
                <a:gd name="T102" fmla="*/ 12 w 612"/>
                <a:gd name="T103" fmla="*/ 0 h 361"/>
                <a:gd name="T104" fmla="*/ 123 w 612"/>
                <a:gd name="T105" fmla="*/ 2 h 361"/>
                <a:gd name="T106" fmla="*/ 231 w 612"/>
                <a:gd name="T107" fmla="*/ 4 h 361"/>
                <a:gd name="T108" fmla="*/ 340 w 612"/>
                <a:gd name="T109" fmla="*/ 4 h 361"/>
                <a:gd name="T110" fmla="*/ 448 w 612"/>
                <a:gd name="T111" fmla="*/ 4 h 361"/>
                <a:gd name="T112" fmla="*/ 559 w 612"/>
                <a:gd name="T113" fmla="*/ 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2" h="361">
                  <a:moveTo>
                    <a:pt x="596" y="0"/>
                  </a:moveTo>
                  <a:lnTo>
                    <a:pt x="594" y="2"/>
                  </a:lnTo>
                  <a:lnTo>
                    <a:pt x="594" y="2"/>
                  </a:lnTo>
                  <a:lnTo>
                    <a:pt x="594" y="2"/>
                  </a:lnTo>
                  <a:lnTo>
                    <a:pt x="594" y="4"/>
                  </a:lnTo>
                  <a:lnTo>
                    <a:pt x="594" y="10"/>
                  </a:lnTo>
                  <a:lnTo>
                    <a:pt x="594" y="12"/>
                  </a:lnTo>
                  <a:lnTo>
                    <a:pt x="592" y="14"/>
                  </a:lnTo>
                  <a:lnTo>
                    <a:pt x="590" y="18"/>
                  </a:lnTo>
                  <a:lnTo>
                    <a:pt x="590" y="20"/>
                  </a:lnTo>
                  <a:lnTo>
                    <a:pt x="588" y="20"/>
                  </a:lnTo>
                  <a:lnTo>
                    <a:pt x="588" y="20"/>
                  </a:lnTo>
                  <a:lnTo>
                    <a:pt x="586" y="22"/>
                  </a:lnTo>
                  <a:lnTo>
                    <a:pt x="579" y="27"/>
                  </a:lnTo>
                  <a:lnTo>
                    <a:pt x="579" y="27"/>
                  </a:lnTo>
                  <a:lnTo>
                    <a:pt x="577" y="29"/>
                  </a:lnTo>
                  <a:lnTo>
                    <a:pt x="575" y="31"/>
                  </a:lnTo>
                  <a:lnTo>
                    <a:pt x="573" y="33"/>
                  </a:lnTo>
                  <a:lnTo>
                    <a:pt x="573" y="33"/>
                  </a:lnTo>
                  <a:lnTo>
                    <a:pt x="573" y="35"/>
                  </a:lnTo>
                  <a:lnTo>
                    <a:pt x="571" y="37"/>
                  </a:lnTo>
                  <a:lnTo>
                    <a:pt x="573" y="39"/>
                  </a:lnTo>
                  <a:lnTo>
                    <a:pt x="577" y="43"/>
                  </a:lnTo>
                  <a:lnTo>
                    <a:pt x="579" y="45"/>
                  </a:lnTo>
                  <a:lnTo>
                    <a:pt x="583" y="51"/>
                  </a:lnTo>
                  <a:lnTo>
                    <a:pt x="586" y="55"/>
                  </a:lnTo>
                  <a:lnTo>
                    <a:pt x="586" y="57"/>
                  </a:lnTo>
                  <a:lnTo>
                    <a:pt x="592" y="57"/>
                  </a:lnTo>
                  <a:lnTo>
                    <a:pt x="596" y="57"/>
                  </a:lnTo>
                  <a:lnTo>
                    <a:pt x="598" y="59"/>
                  </a:lnTo>
                  <a:lnTo>
                    <a:pt x="600" y="59"/>
                  </a:lnTo>
                  <a:lnTo>
                    <a:pt x="602" y="61"/>
                  </a:lnTo>
                  <a:lnTo>
                    <a:pt x="602" y="61"/>
                  </a:lnTo>
                  <a:lnTo>
                    <a:pt x="604" y="65"/>
                  </a:lnTo>
                  <a:lnTo>
                    <a:pt x="604" y="67"/>
                  </a:lnTo>
                  <a:lnTo>
                    <a:pt x="606" y="67"/>
                  </a:lnTo>
                  <a:lnTo>
                    <a:pt x="606" y="67"/>
                  </a:lnTo>
                  <a:lnTo>
                    <a:pt x="606" y="72"/>
                  </a:lnTo>
                  <a:lnTo>
                    <a:pt x="606" y="94"/>
                  </a:lnTo>
                  <a:lnTo>
                    <a:pt x="606" y="117"/>
                  </a:lnTo>
                  <a:lnTo>
                    <a:pt x="608" y="141"/>
                  </a:lnTo>
                  <a:lnTo>
                    <a:pt x="608" y="164"/>
                  </a:lnTo>
                  <a:lnTo>
                    <a:pt x="608" y="186"/>
                  </a:lnTo>
                  <a:lnTo>
                    <a:pt x="610" y="209"/>
                  </a:lnTo>
                  <a:lnTo>
                    <a:pt x="610" y="233"/>
                  </a:lnTo>
                  <a:lnTo>
                    <a:pt x="612" y="256"/>
                  </a:lnTo>
                  <a:lnTo>
                    <a:pt x="600" y="256"/>
                  </a:lnTo>
                  <a:lnTo>
                    <a:pt x="600" y="256"/>
                  </a:lnTo>
                  <a:lnTo>
                    <a:pt x="600" y="258"/>
                  </a:lnTo>
                  <a:lnTo>
                    <a:pt x="600" y="258"/>
                  </a:lnTo>
                  <a:lnTo>
                    <a:pt x="600" y="258"/>
                  </a:lnTo>
                  <a:lnTo>
                    <a:pt x="600" y="260"/>
                  </a:lnTo>
                  <a:lnTo>
                    <a:pt x="600" y="260"/>
                  </a:lnTo>
                  <a:lnTo>
                    <a:pt x="600" y="262"/>
                  </a:lnTo>
                  <a:lnTo>
                    <a:pt x="600" y="262"/>
                  </a:lnTo>
                  <a:lnTo>
                    <a:pt x="600" y="264"/>
                  </a:lnTo>
                  <a:lnTo>
                    <a:pt x="602" y="264"/>
                  </a:lnTo>
                  <a:lnTo>
                    <a:pt x="602" y="266"/>
                  </a:lnTo>
                  <a:lnTo>
                    <a:pt x="604" y="266"/>
                  </a:lnTo>
                  <a:lnTo>
                    <a:pt x="604" y="268"/>
                  </a:lnTo>
                  <a:lnTo>
                    <a:pt x="604" y="268"/>
                  </a:lnTo>
                  <a:lnTo>
                    <a:pt x="606" y="268"/>
                  </a:lnTo>
                  <a:lnTo>
                    <a:pt x="606" y="274"/>
                  </a:lnTo>
                  <a:lnTo>
                    <a:pt x="606" y="277"/>
                  </a:lnTo>
                  <a:lnTo>
                    <a:pt x="604" y="279"/>
                  </a:lnTo>
                  <a:lnTo>
                    <a:pt x="604" y="279"/>
                  </a:lnTo>
                  <a:lnTo>
                    <a:pt x="604" y="279"/>
                  </a:lnTo>
                  <a:lnTo>
                    <a:pt x="604" y="279"/>
                  </a:lnTo>
                  <a:lnTo>
                    <a:pt x="602" y="279"/>
                  </a:lnTo>
                  <a:lnTo>
                    <a:pt x="602" y="279"/>
                  </a:lnTo>
                  <a:lnTo>
                    <a:pt x="602" y="279"/>
                  </a:lnTo>
                  <a:lnTo>
                    <a:pt x="602" y="281"/>
                  </a:lnTo>
                  <a:lnTo>
                    <a:pt x="602" y="281"/>
                  </a:lnTo>
                  <a:lnTo>
                    <a:pt x="604" y="281"/>
                  </a:lnTo>
                  <a:lnTo>
                    <a:pt x="604" y="283"/>
                  </a:lnTo>
                  <a:lnTo>
                    <a:pt x="604" y="283"/>
                  </a:lnTo>
                  <a:lnTo>
                    <a:pt x="604" y="283"/>
                  </a:lnTo>
                  <a:lnTo>
                    <a:pt x="602" y="283"/>
                  </a:lnTo>
                  <a:lnTo>
                    <a:pt x="602" y="285"/>
                  </a:lnTo>
                  <a:lnTo>
                    <a:pt x="602" y="285"/>
                  </a:lnTo>
                  <a:lnTo>
                    <a:pt x="602" y="285"/>
                  </a:lnTo>
                  <a:lnTo>
                    <a:pt x="604" y="285"/>
                  </a:lnTo>
                  <a:lnTo>
                    <a:pt x="604" y="285"/>
                  </a:lnTo>
                  <a:lnTo>
                    <a:pt x="604" y="285"/>
                  </a:lnTo>
                  <a:lnTo>
                    <a:pt x="606" y="285"/>
                  </a:lnTo>
                  <a:lnTo>
                    <a:pt x="608" y="287"/>
                  </a:lnTo>
                  <a:lnTo>
                    <a:pt x="608" y="287"/>
                  </a:lnTo>
                  <a:lnTo>
                    <a:pt x="608" y="285"/>
                  </a:lnTo>
                  <a:lnTo>
                    <a:pt x="610" y="285"/>
                  </a:lnTo>
                  <a:lnTo>
                    <a:pt x="610" y="287"/>
                  </a:lnTo>
                  <a:lnTo>
                    <a:pt x="610" y="287"/>
                  </a:lnTo>
                  <a:lnTo>
                    <a:pt x="610" y="287"/>
                  </a:lnTo>
                  <a:lnTo>
                    <a:pt x="610" y="289"/>
                  </a:lnTo>
                  <a:lnTo>
                    <a:pt x="612" y="293"/>
                  </a:lnTo>
                  <a:lnTo>
                    <a:pt x="612" y="293"/>
                  </a:lnTo>
                  <a:lnTo>
                    <a:pt x="612" y="295"/>
                  </a:lnTo>
                  <a:lnTo>
                    <a:pt x="612" y="295"/>
                  </a:lnTo>
                  <a:lnTo>
                    <a:pt x="612" y="295"/>
                  </a:lnTo>
                  <a:lnTo>
                    <a:pt x="612" y="301"/>
                  </a:lnTo>
                  <a:lnTo>
                    <a:pt x="612" y="301"/>
                  </a:lnTo>
                  <a:lnTo>
                    <a:pt x="610" y="301"/>
                  </a:lnTo>
                  <a:lnTo>
                    <a:pt x="608" y="303"/>
                  </a:lnTo>
                  <a:lnTo>
                    <a:pt x="608" y="305"/>
                  </a:lnTo>
                  <a:lnTo>
                    <a:pt x="608" y="305"/>
                  </a:lnTo>
                  <a:lnTo>
                    <a:pt x="608" y="305"/>
                  </a:lnTo>
                  <a:lnTo>
                    <a:pt x="608" y="305"/>
                  </a:lnTo>
                  <a:lnTo>
                    <a:pt x="608" y="307"/>
                  </a:lnTo>
                  <a:lnTo>
                    <a:pt x="610" y="307"/>
                  </a:lnTo>
                  <a:lnTo>
                    <a:pt x="608" y="307"/>
                  </a:lnTo>
                  <a:lnTo>
                    <a:pt x="608" y="309"/>
                  </a:lnTo>
                  <a:lnTo>
                    <a:pt x="608" y="309"/>
                  </a:lnTo>
                  <a:lnTo>
                    <a:pt x="608" y="309"/>
                  </a:lnTo>
                  <a:lnTo>
                    <a:pt x="608" y="309"/>
                  </a:lnTo>
                  <a:lnTo>
                    <a:pt x="608" y="311"/>
                  </a:lnTo>
                  <a:lnTo>
                    <a:pt x="608" y="313"/>
                  </a:lnTo>
                  <a:lnTo>
                    <a:pt x="608" y="313"/>
                  </a:lnTo>
                  <a:lnTo>
                    <a:pt x="608" y="313"/>
                  </a:lnTo>
                  <a:lnTo>
                    <a:pt x="606" y="315"/>
                  </a:lnTo>
                  <a:lnTo>
                    <a:pt x="606" y="315"/>
                  </a:lnTo>
                  <a:lnTo>
                    <a:pt x="606" y="318"/>
                  </a:lnTo>
                  <a:lnTo>
                    <a:pt x="606" y="320"/>
                  </a:lnTo>
                  <a:lnTo>
                    <a:pt x="606" y="322"/>
                  </a:lnTo>
                  <a:lnTo>
                    <a:pt x="606" y="322"/>
                  </a:lnTo>
                  <a:lnTo>
                    <a:pt x="606" y="322"/>
                  </a:lnTo>
                  <a:lnTo>
                    <a:pt x="606" y="322"/>
                  </a:lnTo>
                  <a:lnTo>
                    <a:pt x="604" y="322"/>
                  </a:lnTo>
                  <a:lnTo>
                    <a:pt x="604" y="324"/>
                  </a:lnTo>
                  <a:lnTo>
                    <a:pt x="604" y="324"/>
                  </a:lnTo>
                  <a:lnTo>
                    <a:pt x="604" y="326"/>
                  </a:lnTo>
                  <a:lnTo>
                    <a:pt x="604" y="326"/>
                  </a:lnTo>
                  <a:lnTo>
                    <a:pt x="604" y="326"/>
                  </a:lnTo>
                  <a:lnTo>
                    <a:pt x="602" y="326"/>
                  </a:lnTo>
                  <a:lnTo>
                    <a:pt x="602" y="326"/>
                  </a:lnTo>
                  <a:lnTo>
                    <a:pt x="602" y="326"/>
                  </a:lnTo>
                  <a:lnTo>
                    <a:pt x="602" y="328"/>
                  </a:lnTo>
                  <a:lnTo>
                    <a:pt x="602" y="328"/>
                  </a:lnTo>
                  <a:lnTo>
                    <a:pt x="602" y="328"/>
                  </a:lnTo>
                  <a:lnTo>
                    <a:pt x="602" y="328"/>
                  </a:lnTo>
                  <a:lnTo>
                    <a:pt x="602" y="330"/>
                  </a:lnTo>
                  <a:lnTo>
                    <a:pt x="602" y="330"/>
                  </a:lnTo>
                  <a:lnTo>
                    <a:pt x="600" y="332"/>
                  </a:lnTo>
                  <a:lnTo>
                    <a:pt x="600" y="334"/>
                  </a:lnTo>
                  <a:lnTo>
                    <a:pt x="600" y="334"/>
                  </a:lnTo>
                  <a:lnTo>
                    <a:pt x="598" y="336"/>
                  </a:lnTo>
                  <a:lnTo>
                    <a:pt x="600" y="336"/>
                  </a:lnTo>
                  <a:lnTo>
                    <a:pt x="600" y="338"/>
                  </a:lnTo>
                  <a:lnTo>
                    <a:pt x="600" y="340"/>
                  </a:lnTo>
                  <a:lnTo>
                    <a:pt x="602" y="340"/>
                  </a:lnTo>
                  <a:lnTo>
                    <a:pt x="602" y="340"/>
                  </a:lnTo>
                  <a:lnTo>
                    <a:pt x="606" y="344"/>
                  </a:lnTo>
                  <a:lnTo>
                    <a:pt x="608" y="344"/>
                  </a:lnTo>
                  <a:lnTo>
                    <a:pt x="608" y="344"/>
                  </a:lnTo>
                  <a:lnTo>
                    <a:pt x="608" y="346"/>
                  </a:lnTo>
                  <a:lnTo>
                    <a:pt x="608" y="346"/>
                  </a:lnTo>
                  <a:lnTo>
                    <a:pt x="608" y="346"/>
                  </a:lnTo>
                  <a:lnTo>
                    <a:pt x="608" y="346"/>
                  </a:lnTo>
                  <a:lnTo>
                    <a:pt x="608" y="348"/>
                  </a:lnTo>
                  <a:lnTo>
                    <a:pt x="606" y="348"/>
                  </a:lnTo>
                  <a:lnTo>
                    <a:pt x="606" y="348"/>
                  </a:lnTo>
                  <a:lnTo>
                    <a:pt x="608" y="348"/>
                  </a:lnTo>
                  <a:lnTo>
                    <a:pt x="608" y="348"/>
                  </a:lnTo>
                  <a:lnTo>
                    <a:pt x="608" y="350"/>
                  </a:lnTo>
                  <a:lnTo>
                    <a:pt x="610" y="350"/>
                  </a:lnTo>
                  <a:lnTo>
                    <a:pt x="610" y="350"/>
                  </a:lnTo>
                  <a:lnTo>
                    <a:pt x="610" y="350"/>
                  </a:lnTo>
                  <a:lnTo>
                    <a:pt x="610" y="352"/>
                  </a:lnTo>
                  <a:lnTo>
                    <a:pt x="610" y="352"/>
                  </a:lnTo>
                  <a:lnTo>
                    <a:pt x="610" y="352"/>
                  </a:lnTo>
                  <a:lnTo>
                    <a:pt x="610" y="354"/>
                  </a:lnTo>
                  <a:lnTo>
                    <a:pt x="610" y="354"/>
                  </a:lnTo>
                  <a:lnTo>
                    <a:pt x="612" y="354"/>
                  </a:lnTo>
                  <a:lnTo>
                    <a:pt x="612" y="356"/>
                  </a:lnTo>
                  <a:lnTo>
                    <a:pt x="612" y="361"/>
                  </a:lnTo>
                  <a:lnTo>
                    <a:pt x="602" y="358"/>
                  </a:lnTo>
                  <a:lnTo>
                    <a:pt x="600" y="358"/>
                  </a:lnTo>
                  <a:lnTo>
                    <a:pt x="600" y="356"/>
                  </a:lnTo>
                  <a:lnTo>
                    <a:pt x="600" y="354"/>
                  </a:lnTo>
                  <a:lnTo>
                    <a:pt x="598" y="352"/>
                  </a:lnTo>
                  <a:lnTo>
                    <a:pt x="594" y="350"/>
                  </a:lnTo>
                  <a:lnTo>
                    <a:pt x="594" y="348"/>
                  </a:lnTo>
                  <a:lnTo>
                    <a:pt x="594" y="348"/>
                  </a:lnTo>
                  <a:lnTo>
                    <a:pt x="594" y="346"/>
                  </a:lnTo>
                  <a:lnTo>
                    <a:pt x="594" y="346"/>
                  </a:lnTo>
                  <a:lnTo>
                    <a:pt x="594" y="344"/>
                  </a:lnTo>
                  <a:lnTo>
                    <a:pt x="594" y="344"/>
                  </a:lnTo>
                  <a:lnTo>
                    <a:pt x="594" y="344"/>
                  </a:lnTo>
                  <a:lnTo>
                    <a:pt x="592" y="342"/>
                  </a:lnTo>
                  <a:lnTo>
                    <a:pt x="592" y="342"/>
                  </a:lnTo>
                  <a:lnTo>
                    <a:pt x="588" y="344"/>
                  </a:lnTo>
                  <a:lnTo>
                    <a:pt x="588" y="344"/>
                  </a:lnTo>
                  <a:lnTo>
                    <a:pt x="586" y="342"/>
                  </a:lnTo>
                  <a:lnTo>
                    <a:pt x="586" y="342"/>
                  </a:lnTo>
                  <a:lnTo>
                    <a:pt x="586" y="342"/>
                  </a:lnTo>
                  <a:lnTo>
                    <a:pt x="583" y="340"/>
                  </a:lnTo>
                  <a:lnTo>
                    <a:pt x="583" y="340"/>
                  </a:lnTo>
                  <a:lnTo>
                    <a:pt x="583" y="338"/>
                  </a:lnTo>
                  <a:lnTo>
                    <a:pt x="581" y="338"/>
                  </a:lnTo>
                  <a:lnTo>
                    <a:pt x="573" y="336"/>
                  </a:lnTo>
                  <a:lnTo>
                    <a:pt x="571" y="336"/>
                  </a:lnTo>
                  <a:lnTo>
                    <a:pt x="571" y="336"/>
                  </a:lnTo>
                  <a:lnTo>
                    <a:pt x="571" y="336"/>
                  </a:lnTo>
                  <a:lnTo>
                    <a:pt x="569" y="334"/>
                  </a:lnTo>
                  <a:lnTo>
                    <a:pt x="567" y="334"/>
                  </a:lnTo>
                  <a:lnTo>
                    <a:pt x="565" y="334"/>
                  </a:lnTo>
                  <a:lnTo>
                    <a:pt x="565" y="334"/>
                  </a:lnTo>
                  <a:lnTo>
                    <a:pt x="561" y="334"/>
                  </a:lnTo>
                  <a:lnTo>
                    <a:pt x="559" y="332"/>
                  </a:lnTo>
                  <a:lnTo>
                    <a:pt x="557" y="332"/>
                  </a:lnTo>
                  <a:lnTo>
                    <a:pt x="555" y="330"/>
                  </a:lnTo>
                  <a:lnTo>
                    <a:pt x="553" y="328"/>
                  </a:lnTo>
                  <a:lnTo>
                    <a:pt x="551" y="326"/>
                  </a:lnTo>
                  <a:lnTo>
                    <a:pt x="549" y="324"/>
                  </a:lnTo>
                  <a:lnTo>
                    <a:pt x="547" y="324"/>
                  </a:lnTo>
                  <a:lnTo>
                    <a:pt x="545" y="322"/>
                  </a:lnTo>
                  <a:lnTo>
                    <a:pt x="528" y="326"/>
                  </a:lnTo>
                  <a:lnTo>
                    <a:pt x="526" y="326"/>
                  </a:lnTo>
                  <a:lnTo>
                    <a:pt x="520" y="324"/>
                  </a:lnTo>
                  <a:lnTo>
                    <a:pt x="518" y="326"/>
                  </a:lnTo>
                  <a:lnTo>
                    <a:pt x="516" y="328"/>
                  </a:lnTo>
                  <a:lnTo>
                    <a:pt x="514" y="328"/>
                  </a:lnTo>
                  <a:lnTo>
                    <a:pt x="512" y="326"/>
                  </a:lnTo>
                  <a:lnTo>
                    <a:pt x="512" y="326"/>
                  </a:lnTo>
                  <a:lnTo>
                    <a:pt x="510" y="326"/>
                  </a:lnTo>
                  <a:lnTo>
                    <a:pt x="506" y="326"/>
                  </a:lnTo>
                  <a:lnTo>
                    <a:pt x="502" y="326"/>
                  </a:lnTo>
                  <a:lnTo>
                    <a:pt x="500" y="326"/>
                  </a:lnTo>
                  <a:lnTo>
                    <a:pt x="497" y="326"/>
                  </a:lnTo>
                  <a:lnTo>
                    <a:pt x="497" y="328"/>
                  </a:lnTo>
                  <a:lnTo>
                    <a:pt x="497" y="328"/>
                  </a:lnTo>
                  <a:lnTo>
                    <a:pt x="495" y="330"/>
                  </a:lnTo>
                  <a:lnTo>
                    <a:pt x="495" y="332"/>
                  </a:lnTo>
                  <a:lnTo>
                    <a:pt x="495" y="332"/>
                  </a:lnTo>
                  <a:lnTo>
                    <a:pt x="495" y="332"/>
                  </a:lnTo>
                  <a:lnTo>
                    <a:pt x="493" y="334"/>
                  </a:lnTo>
                  <a:lnTo>
                    <a:pt x="491" y="334"/>
                  </a:lnTo>
                  <a:lnTo>
                    <a:pt x="489" y="334"/>
                  </a:lnTo>
                  <a:lnTo>
                    <a:pt x="487" y="334"/>
                  </a:lnTo>
                  <a:lnTo>
                    <a:pt x="481" y="332"/>
                  </a:lnTo>
                  <a:lnTo>
                    <a:pt x="481" y="332"/>
                  </a:lnTo>
                  <a:lnTo>
                    <a:pt x="481" y="332"/>
                  </a:lnTo>
                  <a:lnTo>
                    <a:pt x="479" y="330"/>
                  </a:lnTo>
                  <a:lnTo>
                    <a:pt x="469" y="326"/>
                  </a:lnTo>
                  <a:lnTo>
                    <a:pt x="465" y="324"/>
                  </a:lnTo>
                  <a:lnTo>
                    <a:pt x="461" y="322"/>
                  </a:lnTo>
                  <a:lnTo>
                    <a:pt x="461" y="320"/>
                  </a:lnTo>
                  <a:lnTo>
                    <a:pt x="461" y="320"/>
                  </a:lnTo>
                  <a:lnTo>
                    <a:pt x="459" y="320"/>
                  </a:lnTo>
                  <a:lnTo>
                    <a:pt x="450" y="315"/>
                  </a:lnTo>
                  <a:lnTo>
                    <a:pt x="450" y="315"/>
                  </a:lnTo>
                  <a:lnTo>
                    <a:pt x="448" y="313"/>
                  </a:lnTo>
                  <a:lnTo>
                    <a:pt x="448" y="313"/>
                  </a:lnTo>
                  <a:lnTo>
                    <a:pt x="448" y="313"/>
                  </a:lnTo>
                  <a:lnTo>
                    <a:pt x="440" y="313"/>
                  </a:lnTo>
                  <a:lnTo>
                    <a:pt x="428" y="313"/>
                  </a:lnTo>
                  <a:lnTo>
                    <a:pt x="414" y="313"/>
                  </a:lnTo>
                  <a:lnTo>
                    <a:pt x="399" y="313"/>
                  </a:lnTo>
                  <a:lnTo>
                    <a:pt x="387" y="313"/>
                  </a:lnTo>
                  <a:lnTo>
                    <a:pt x="373" y="313"/>
                  </a:lnTo>
                  <a:lnTo>
                    <a:pt x="358" y="313"/>
                  </a:lnTo>
                  <a:lnTo>
                    <a:pt x="344" y="313"/>
                  </a:lnTo>
                  <a:lnTo>
                    <a:pt x="332" y="313"/>
                  </a:lnTo>
                  <a:lnTo>
                    <a:pt x="317" y="313"/>
                  </a:lnTo>
                  <a:lnTo>
                    <a:pt x="303" y="313"/>
                  </a:lnTo>
                  <a:lnTo>
                    <a:pt x="289" y="313"/>
                  </a:lnTo>
                  <a:lnTo>
                    <a:pt x="276" y="313"/>
                  </a:lnTo>
                  <a:lnTo>
                    <a:pt x="262" y="313"/>
                  </a:lnTo>
                  <a:lnTo>
                    <a:pt x="248" y="313"/>
                  </a:lnTo>
                  <a:lnTo>
                    <a:pt x="233" y="313"/>
                  </a:lnTo>
                  <a:lnTo>
                    <a:pt x="221" y="313"/>
                  </a:lnTo>
                  <a:lnTo>
                    <a:pt x="207" y="313"/>
                  </a:lnTo>
                  <a:lnTo>
                    <a:pt x="192" y="311"/>
                  </a:lnTo>
                  <a:lnTo>
                    <a:pt x="180" y="311"/>
                  </a:lnTo>
                  <a:lnTo>
                    <a:pt x="166" y="311"/>
                  </a:lnTo>
                  <a:lnTo>
                    <a:pt x="151" y="311"/>
                  </a:lnTo>
                  <a:lnTo>
                    <a:pt x="137" y="311"/>
                  </a:lnTo>
                  <a:lnTo>
                    <a:pt x="125" y="311"/>
                  </a:lnTo>
                  <a:lnTo>
                    <a:pt x="110" y="311"/>
                  </a:lnTo>
                  <a:lnTo>
                    <a:pt x="96" y="309"/>
                  </a:lnTo>
                  <a:lnTo>
                    <a:pt x="82" y="309"/>
                  </a:lnTo>
                  <a:lnTo>
                    <a:pt x="69" y="309"/>
                  </a:lnTo>
                  <a:lnTo>
                    <a:pt x="55" y="309"/>
                  </a:lnTo>
                  <a:lnTo>
                    <a:pt x="41" y="309"/>
                  </a:lnTo>
                  <a:lnTo>
                    <a:pt x="26" y="309"/>
                  </a:lnTo>
                  <a:lnTo>
                    <a:pt x="14" y="307"/>
                  </a:lnTo>
                  <a:lnTo>
                    <a:pt x="0" y="307"/>
                  </a:lnTo>
                  <a:lnTo>
                    <a:pt x="0" y="295"/>
                  </a:lnTo>
                  <a:lnTo>
                    <a:pt x="0" y="281"/>
                  </a:lnTo>
                  <a:lnTo>
                    <a:pt x="2" y="268"/>
                  </a:lnTo>
                  <a:lnTo>
                    <a:pt x="2" y="254"/>
                  </a:lnTo>
                  <a:lnTo>
                    <a:pt x="2" y="242"/>
                  </a:lnTo>
                  <a:lnTo>
                    <a:pt x="2" y="227"/>
                  </a:lnTo>
                  <a:lnTo>
                    <a:pt x="4" y="215"/>
                  </a:lnTo>
                  <a:lnTo>
                    <a:pt x="4" y="203"/>
                  </a:lnTo>
                  <a:lnTo>
                    <a:pt x="4" y="188"/>
                  </a:lnTo>
                  <a:lnTo>
                    <a:pt x="4" y="176"/>
                  </a:lnTo>
                  <a:lnTo>
                    <a:pt x="4" y="162"/>
                  </a:lnTo>
                  <a:lnTo>
                    <a:pt x="6" y="149"/>
                  </a:lnTo>
                  <a:lnTo>
                    <a:pt x="6" y="137"/>
                  </a:lnTo>
                  <a:lnTo>
                    <a:pt x="6" y="123"/>
                  </a:lnTo>
                  <a:lnTo>
                    <a:pt x="6" y="111"/>
                  </a:lnTo>
                  <a:lnTo>
                    <a:pt x="6" y="96"/>
                  </a:lnTo>
                  <a:lnTo>
                    <a:pt x="10" y="98"/>
                  </a:lnTo>
                  <a:lnTo>
                    <a:pt x="10" y="96"/>
                  </a:lnTo>
                  <a:lnTo>
                    <a:pt x="10" y="90"/>
                  </a:lnTo>
                  <a:lnTo>
                    <a:pt x="10" y="78"/>
                  </a:lnTo>
                  <a:lnTo>
                    <a:pt x="10" y="67"/>
                  </a:lnTo>
                  <a:lnTo>
                    <a:pt x="10" y="55"/>
                  </a:lnTo>
                  <a:lnTo>
                    <a:pt x="12" y="45"/>
                  </a:lnTo>
                  <a:lnTo>
                    <a:pt x="12" y="33"/>
                  </a:lnTo>
                  <a:lnTo>
                    <a:pt x="12" y="22"/>
                  </a:lnTo>
                  <a:lnTo>
                    <a:pt x="12" y="10"/>
                  </a:lnTo>
                  <a:lnTo>
                    <a:pt x="12" y="0"/>
                  </a:lnTo>
                  <a:lnTo>
                    <a:pt x="31" y="0"/>
                  </a:lnTo>
                  <a:lnTo>
                    <a:pt x="49" y="0"/>
                  </a:lnTo>
                  <a:lnTo>
                    <a:pt x="67" y="0"/>
                  </a:lnTo>
                  <a:lnTo>
                    <a:pt x="86" y="2"/>
                  </a:lnTo>
                  <a:lnTo>
                    <a:pt x="104" y="2"/>
                  </a:lnTo>
                  <a:lnTo>
                    <a:pt x="123" y="2"/>
                  </a:lnTo>
                  <a:lnTo>
                    <a:pt x="139" y="2"/>
                  </a:lnTo>
                  <a:lnTo>
                    <a:pt x="157" y="4"/>
                  </a:lnTo>
                  <a:lnTo>
                    <a:pt x="176" y="4"/>
                  </a:lnTo>
                  <a:lnTo>
                    <a:pt x="194" y="4"/>
                  </a:lnTo>
                  <a:lnTo>
                    <a:pt x="213" y="4"/>
                  </a:lnTo>
                  <a:lnTo>
                    <a:pt x="231" y="4"/>
                  </a:lnTo>
                  <a:lnTo>
                    <a:pt x="250" y="4"/>
                  </a:lnTo>
                  <a:lnTo>
                    <a:pt x="268" y="4"/>
                  </a:lnTo>
                  <a:lnTo>
                    <a:pt x="284" y="4"/>
                  </a:lnTo>
                  <a:lnTo>
                    <a:pt x="303" y="4"/>
                  </a:lnTo>
                  <a:lnTo>
                    <a:pt x="321" y="4"/>
                  </a:lnTo>
                  <a:lnTo>
                    <a:pt x="340" y="4"/>
                  </a:lnTo>
                  <a:lnTo>
                    <a:pt x="358" y="4"/>
                  </a:lnTo>
                  <a:lnTo>
                    <a:pt x="377" y="4"/>
                  </a:lnTo>
                  <a:lnTo>
                    <a:pt x="395" y="4"/>
                  </a:lnTo>
                  <a:lnTo>
                    <a:pt x="414" y="4"/>
                  </a:lnTo>
                  <a:lnTo>
                    <a:pt x="432" y="4"/>
                  </a:lnTo>
                  <a:lnTo>
                    <a:pt x="448" y="4"/>
                  </a:lnTo>
                  <a:lnTo>
                    <a:pt x="467" y="4"/>
                  </a:lnTo>
                  <a:lnTo>
                    <a:pt x="485" y="4"/>
                  </a:lnTo>
                  <a:lnTo>
                    <a:pt x="504" y="2"/>
                  </a:lnTo>
                  <a:lnTo>
                    <a:pt x="522" y="2"/>
                  </a:lnTo>
                  <a:lnTo>
                    <a:pt x="540" y="2"/>
                  </a:lnTo>
                  <a:lnTo>
                    <a:pt x="559" y="2"/>
                  </a:lnTo>
                  <a:lnTo>
                    <a:pt x="577" y="2"/>
                  </a:lnTo>
                  <a:lnTo>
                    <a:pt x="596" y="0"/>
                  </a:lnTo>
                  <a:lnTo>
                    <a:pt x="596" y="0"/>
                  </a:lnTo>
                  <a:close/>
                </a:path>
              </a:pathLst>
            </a:custGeom>
            <a:solidFill>
              <a:schemeClr val="bg1">
                <a:lumMod val="75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SD</a:t>
              </a:r>
            </a:p>
          </p:txBody>
        </p:sp>
        <p:sp>
          <p:nvSpPr>
            <p:cNvPr id="75" name="Freeform 15">
              <a:extLst>
                <a:ext uri="{FF2B5EF4-FFF2-40B4-BE49-F238E27FC236}">
                  <a16:creationId xmlns:a16="http://schemas.microsoft.com/office/drawing/2014/main" id="{99C3EFD6-AF90-0B44-64A7-6E10564AE6EA}"/>
                </a:ext>
              </a:extLst>
            </p:cNvPr>
            <p:cNvSpPr>
              <a:spLocks noEditPoints="1"/>
            </p:cNvSpPr>
            <p:nvPr/>
          </p:nvSpPr>
          <p:spPr bwMode="auto">
            <a:xfrm>
              <a:off x="4206" y="1500"/>
              <a:ext cx="438" cy="328"/>
            </a:xfrm>
            <a:custGeom>
              <a:avLst/>
              <a:gdLst>
                <a:gd name="T0" fmla="*/ 387 w 438"/>
                <a:gd name="T1" fmla="*/ 193 h 328"/>
                <a:gd name="T2" fmla="*/ 410 w 438"/>
                <a:gd name="T3" fmla="*/ 74 h 328"/>
                <a:gd name="T4" fmla="*/ 324 w 438"/>
                <a:gd name="T5" fmla="*/ 15 h 328"/>
                <a:gd name="T6" fmla="*/ 272 w 438"/>
                <a:gd name="T7" fmla="*/ 23 h 328"/>
                <a:gd name="T8" fmla="*/ 223 w 438"/>
                <a:gd name="T9" fmla="*/ 29 h 328"/>
                <a:gd name="T10" fmla="*/ 205 w 438"/>
                <a:gd name="T11" fmla="*/ 2 h 328"/>
                <a:gd name="T12" fmla="*/ 197 w 438"/>
                <a:gd name="T13" fmla="*/ 6 h 328"/>
                <a:gd name="T14" fmla="*/ 195 w 438"/>
                <a:gd name="T15" fmla="*/ 0 h 328"/>
                <a:gd name="T16" fmla="*/ 125 w 438"/>
                <a:gd name="T17" fmla="*/ 6 h 328"/>
                <a:gd name="T18" fmla="*/ 78 w 438"/>
                <a:gd name="T19" fmla="*/ 12 h 328"/>
                <a:gd name="T20" fmla="*/ 74 w 438"/>
                <a:gd name="T21" fmla="*/ 17 h 328"/>
                <a:gd name="T22" fmla="*/ 57 w 438"/>
                <a:gd name="T23" fmla="*/ 25 h 328"/>
                <a:gd name="T24" fmla="*/ 49 w 438"/>
                <a:gd name="T25" fmla="*/ 31 h 328"/>
                <a:gd name="T26" fmla="*/ 16 w 438"/>
                <a:gd name="T27" fmla="*/ 47 h 328"/>
                <a:gd name="T28" fmla="*/ 4 w 438"/>
                <a:gd name="T29" fmla="*/ 66 h 328"/>
                <a:gd name="T30" fmla="*/ 12 w 438"/>
                <a:gd name="T31" fmla="*/ 86 h 328"/>
                <a:gd name="T32" fmla="*/ 35 w 438"/>
                <a:gd name="T33" fmla="*/ 99 h 328"/>
                <a:gd name="T34" fmla="*/ 66 w 438"/>
                <a:gd name="T35" fmla="*/ 127 h 328"/>
                <a:gd name="T36" fmla="*/ 80 w 438"/>
                <a:gd name="T37" fmla="*/ 142 h 328"/>
                <a:gd name="T38" fmla="*/ 102 w 438"/>
                <a:gd name="T39" fmla="*/ 158 h 328"/>
                <a:gd name="T40" fmla="*/ 133 w 438"/>
                <a:gd name="T41" fmla="*/ 181 h 328"/>
                <a:gd name="T42" fmla="*/ 147 w 438"/>
                <a:gd name="T43" fmla="*/ 199 h 328"/>
                <a:gd name="T44" fmla="*/ 158 w 438"/>
                <a:gd name="T45" fmla="*/ 207 h 328"/>
                <a:gd name="T46" fmla="*/ 168 w 438"/>
                <a:gd name="T47" fmla="*/ 221 h 328"/>
                <a:gd name="T48" fmla="*/ 195 w 438"/>
                <a:gd name="T49" fmla="*/ 236 h 328"/>
                <a:gd name="T50" fmla="*/ 207 w 438"/>
                <a:gd name="T51" fmla="*/ 262 h 328"/>
                <a:gd name="T52" fmla="*/ 209 w 438"/>
                <a:gd name="T53" fmla="*/ 273 h 328"/>
                <a:gd name="T54" fmla="*/ 223 w 438"/>
                <a:gd name="T55" fmla="*/ 281 h 328"/>
                <a:gd name="T56" fmla="*/ 238 w 438"/>
                <a:gd name="T57" fmla="*/ 299 h 328"/>
                <a:gd name="T58" fmla="*/ 240 w 438"/>
                <a:gd name="T59" fmla="*/ 316 h 328"/>
                <a:gd name="T60" fmla="*/ 248 w 438"/>
                <a:gd name="T61" fmla="*/ 326 h 328"/>
                <a:gd name="T62" fmla="*/ 266 w 438"/>
                <a:gd name="T63" fmla="*/ 326 h 328"/>
                <a:gd name="T64" fmla="*/ 272 w 438"/>
                <a:gd name="T65" fmla="*/ 303 h 328"/>
                <a:gd name="T66" fmla="*/ 277 w 438"/>
                <a:gd name="T67" fmla="*/ 301 h 328"/>
                <a:gd name="T68" fmla="*/ 264 w 438"/>
                <a:gd name="T69" fmla="*/ 279 h 328"/>
                <a:gd name="T70" fmla="*/ 268 w 438"/>
                <a:gd name="T71" fmla="*/ 279 h 328"/>
                <a:gd name="T72" fmla="*/ 281 w 438"/>
                <a:gd name="T73" fmla="*/ 291 h 328"/>
                <a:gd name="T74" fmla="*/ 281 w 438"/>
                <a:gd name="T75" fmla="*/ 281 h 328"/>
                <a:gd name="T76" fmla="*/ 293 w 438"/>
                <a:gd name="T77" fmla="*/ 297 h 328"/>
                <a:gd name="T78" fmla="*/ 301 w 438"/>
                <a:gd name="T79" fmla="*/ 283 h 328"/>
                <a:gd name="T80" fmla="*/ 293 w 438"/>
                <a:gd name="T81" fmla="*/ 287 h 328"/>
                <a:gd name="T82" fmla="*/ 295 w 438"/>
                <a:gd name="T83" fmla="*/ 275 h 328"/>
                <a:gd name="T84" fmla="*/ 277 w 438"/>
                <a:gd name="T85" fmla="*/ 273 h 328"/>
                <a:gd name="T86" fmla="*/ 291 w 438"/>
                <a:gd name="T87" fmla="*/ 269 h 328"/>
                <a:gd name="T88" fmla="*/ 305 w 438"/>
                <a:gd name="T89" fmla="*/ 269 h 328"/>
                <a:gd name="T90" fmla="*/ 317 w 438"/>
                <a:gd name="T91" fmla="*/ 262 h 328"/>
                <a:gd name="T92" fmla="*/ 322 w 438"/>
                <a:gd name="T93" fmla="*/ 260 h 328"/>
                <a:gd name="T94" fmla="*/ 334 w 438"/>
                <a:gd name="T95" fmla="*/ 248 h 328"/>
                <a:gd name="T96" fmla="*/ 342 w 438"/>
                <a:gd name="T97" fmla="*/ 238 h 328"/>
                <a:gd name="T98" fmla="*/ 338 w 438"/>
                <a:gd name="T99" fmla="*/ 230 h 328"/>
                <a:gd name="T100" fmla="*/ 340 w 438"/>
                <a:gd name="T101" fmla="*/ 232 h 328"/>
                <a:gd name="T102" fmla="*/ 358 w 438"/>
                <a:gd name="T103" fmla="*/ 221 h 328"/>
                <a:gd name="T104" fmla="*/ 367 w 438"/>
                <a:gd name="T105" fmla="*/ 211 h 328"/>
                <a:gd name="T106" fmla="*/ 371 w 438"/>
                <a:gd name="T107" fmla="*/ 201 h 328"/>
                <a:gd name="T108" fmla="*/ 383 w 438"/>
                <a:gd name="T109" fmla="*/ 195 h 328"/>
                <a:gd name="T110" fmla="*/ 391 w 438"/>
                <a:gd name="T111" fmla="*/ 187 h 328"/>
                <a:gd name="T112" fmla="*/ 393 w 438"/>
                <a:gd name="T113" fmla="*/ 183 h 328"/>
                <a:gd name="T114" fmla="*/ 391 w 438"/>
                <a:gd name="T115" fmla="*/ 172 h 328"/>
                <a:gd name="T116" fmla="*/ 391 w 438"/>
                <a:gd name="T117" fmla="*/ 154 h 328"/>
                <a:gd name="T118" fmla="*/ 397 w 438"/>
                <a:gd name="T119" fmla="*/ 174 h 328"/>
                <a:gd name="T120" fmla="*/ 434 w 438"/>
                <a:gd name="T121" fmla="*/ 99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8" h="328">
                  <a:moveTo>
                    <a:pt x="385" y="193"/>
                  </a:moveTo>
                  <a:lnTo>
                    <a:pt x="385" y="195"/>
                  </a:lnTo>
                  <a:lnTo>
                    <a:pt x="385" y="197"/>
                  </a:lnTo>
                  <a:lnTo>
                    <a:pt x="383" y="199"/>
                  </a:lnTo>
                  <a:lnTo>
                    <a:pt x="385" y="201"/>
                  </a:lnTo>
                  <a:lnTo>
                    <a:pt x="385" y="201"/>
                  </a:lnTo>
                  <a:lnTo>
                    <a:pt x="385" y="195"/>
                  </a:lnTo>
                  <a:lnTo>
                    <a:pt x="385" y="195"/>
                  </a:lnTo>
                  <a:lnTo>
                    <a:pt x="387" y="195"/>
                  </a:lnTo>
                  <a:lnTo>
                    <a:pt x="387" y="193"/>
                  </a:lnTo>
                  <a:lnTo>
                    <a:pt x="387" y="193"/>
                  </a:lnTo>
                  <a:lnTo>
                    <a:pt x="385" y="193"/>
                  </a:lnTo>
                  <a:close/>
                  <a:moveTo>
                    <a:pt x="436" y="96"/>
                  </a:moveTo>
                  <a:lnTo>
                    <a:pt x="436" y="96"/>
                  </a:lnTo>
                  <a:lnTo>
                    <a:pt x="436" y="96"/>
                  </a:lnTo>
                  <a:lnTo>
                    <a:pt x="434" y="96"/>
                  </a:lnTo>
                  <a:lnTo>
                    <a:pt x="434" y="94"/>
                  </a:lnTo>
                  <a:lnTo>
                    <a:pt x="436" y="94"/>
                  </a:lnTo>
                  <a:lnTo>
                    <a:pt x="430" y="88"/>
                  </a:lnTo>
                  <a:lnTo>
                    <a:pt x="424" y="84"/>
                  </a:lnTo>
                  <a:lnTo>
                    <a:pt x="416" y="80"/>
                  </a:lnTo>
                  <a:lnTo>
                    <a:pt x="410" y="74"/>
                  </a:lnTo>
                  <a:lnTo>
                    <a:pt x="401" y="70"/>
                  </a:lnTo>
                  <a:lnTo>
                    <a:pt x="395" y="66"/>
                  </a:lnTo>
                  <a:lnTo>
                    <a:pt x="389" y="60"/>
                  </a:lnTo>
                  <a:lnTo>
                    <a:pt x="381" y="55"/>
                  </a:lnTo>
                  <a:lnTo>
                    <a:pt x="375" y="51"/>
                  </a:lnTo>
                  <a:lnTo>
                    <a:pt x="360" y="41"/>
                  </a:lnTo>
                  <a:lnTo>
                    <a:pt x="348" y="31"/>
                  </a:lnTo>
                  <a:lnTo>
                    <a:pt x="340" y="27"/>
                  </a:lnTo>
                  <a:lnTo>
                    <a:pt x="334" y="23"/>
                  </a:lnTo>
                  <a:lnTo>
                    <a:pt x="328" y="17"/>
                  </a:lnTo>
                  <a:lnTo>
                    <a:pt x="324" y="15"/>
                  </a:lnTo>
                  <a:lnTo>
                    <a:pt x="322" y="15"/>
                  </a:lnTo>
                  <a:lnTo>
                    <a:pt x="320" y="15"/>
                  </a:lnTo>
                  <a:lnTo>
                    <a:pt x="315" y="15"/>
                  </a:lnTo>
                  <a:lnTo>
                    <a:pt x="315" y="17"/>
                  </a:lnTo>
                  <a:lnTo>
                    <a:pt x="311" y="17"/>
                  </a:lnTo>
                  <a:lnTo>
                    <a:pt x="307" y="17"/>
                  </a:lnTo>
                  <a:lnTo>
                    <a:pt x="303" y="19"/>
                  </a:lnTo>
                  <a:lnTo>
                    <a:pt x="295" y="19"/>
                  </a:lnTo>
                  <a:lnTo>
                    <a:pt x="289" y="21"/>
                  </a:lnTo>
                  <a:lnTo>
                    <a:pt x="281" y="21"/>
                  </a:lnTo>
                  <a:lnTo>
                    <a:pt x="272" y="23"/>
                  </a:lnTo>
                  <a:lnTo>
                    <a:pt x="264" y="23"/>
                  </a:lnTo>
                  <a:lnTo>
                    <a:pt x="256" y="25"/>
                  </a:lnTo>
                  <a:lnTo>
                    <a:pt x="248" y="27"/>
                  </a:lnTo>
                  <a:lnTo>
                    <a:pt x="242" y="27"/>
                  </a:lnTo>
                  <a:lnTo>
                    <a:pt x="236" y="29"/>
                  </a:lnTo>
                  <a:lnTo>
                    <a:pt x="231" y="29"/>
                  </a:lnTo>
                  <a:lnTo>
                    <a:pt x="229" y="29"/>
                  </a:lnTo>
                  <a:lnTo>
                    <a:pt x="229" y="29"/>
                  </a:lnTo>
                  <a:lnTo>
                    <a:pt x="225" y="29"/>
                  </a:lnTo>
                  <a:lnTo>
                    <a:pt x="223" y="29"/>
                  </a:lnTo>
                  <a:lnTo>
                    <a:pt x="223" y="29"/>
                  </a:lnTo>
                  <a:lnTo>
                    <a:pt x="223" y="29"/>
                  </a:lnTo>
                  <a:lnTo>
                    <a:pt x="223" y="29"/>
                  </a:lnTo>
                  <a:lnTo>
                    <a:pt x="221" y="17"/>
                  </a:lnTo>
                  <a:lnTo>
                    <a:pt x="221" y="17"/>
                  </a:lnTo>
                  <a:lnTo>
                    <a:pt x="221" y="17"/>
                  </a:lnTo>
                  <a:lnTo>
                    <a:pt x="217" y="10"/>
                  </a:lnTo>
                  <a:lnTo>
                    <a:pt x="211" y="6"/>
                  </a:lnTo>
                  <a:lnTo>
                    <a:pt x="207" y="2"/>
                  </a:lnTo>
                  <a:lnTo>
                    <a:pt x="207" y="2"/>
                  </a:lnTo>
                  <a:lnTo>
                    <a:pt x="207" y="2"/>
                  </a:lnTo>
                  <a:lnTo>
                    <a:pt x="205" y="2"/>
                  </a:lnTo>
                  <a:lnTo>
                    <a:pt x="205" y="2"/>
                  </a:lnTo>
                  <a:lnTo>
                    <a:pt x="199" y="8"/>
                  </a:lnTo>
                  <a:lnTo>
                    <a:pt x="199" y="8"/>
                  </a:lnTo>
                  <a:lnTo>
                    <a:pt x="199" y="8"/>
                  </a:lnTo>
                  <a:lnTo>
                    <a:pt x="197" y="8"/>
                  </a:lnTo>
                  <a:lnTo>
                    <a:pt x="197" y="8"/>
                  </a:lnTo>
                  <a:lnTo>
                    <a:pt x="197" y="8"/>
                  </a:lnTo>
                  <a:lnTo>
                    <a:pt x="197" y="6"/>
                  </a:lnTo>
                  <a:lnTo>
                    <a:pt x="197" y="6"/>
                  </a:lnTo>
                  <a:lnTo>
                    <a:pt x="197" y="6"/>
                  </a:lnTo>
                  <a:lnTo>
                    <a:pt x="197" y="6"/>
                  </a:lnTo>
                  <a:lnTo>
                    <a:pt x="197" y="6"/>
                  </a:lnTo>
                  <a:lnTo>
                    <a:pt x="197" y="2"/>
                  </a:lnTo>
                  <a:lnTo>
                    <a:pt x="197" y="2"/>
                  </a:lnTo>
                  <a:lnTo>
                    <a:pt x="197" y="2"/>
                  </a:lnTo>
                  <a:lnTo>
                    <a:pt x="197" y="2"/>
                  </a:lnTo>
                  <a:lnTo>
                    <a:pt x="197" y="0"/>
                  </a:lnTo>
                  <a:lnTo>
                    <a:pt x="197" y="0"/>
                  </a:lnTo>
                  <a:lnTo>
                    <a:pt x="197" y="0"/>
                  </a:lnTo>
                  <a:lnTo>
                    <a:pt x="195" y="0"/>
                  </a:lnTo>
                  <a:lnTo>
                    <a:pt x="195" y="0"/>
                  </a:lnTo>
                  <a:lnTo>
                    <a:pt x="195" y="0"/>
                  </a:lnTo>
                  <a:lnTo>
                    <a:pt x="193" y="0"/>
                  </a:lnTo>
                  <a:lnTo>
                    <a:pt x="188" y="0"/>
                  </a:lnTo>
                  <a:lnTo>
                    <a:pt x="182" y="0"/>
                  </a:lnTo>
                  <a:lnTo>
                    <a:pt x="178" y="2"/>
                  </a:lnTo>
                  <a:lnTo>
                    <a:pt x="170" y="2"/>
                  </a:lnTo>
                  <a:lnTo>
                    <a:pt x="164" y="2"/>
                  </a:lnTo>
                  <a:lnTo>
                    <a:pt x="156" y="4"/>
                  </a:lnTo>
                  <a:lnTo>
                    <a:pt x="147" y="4"/>
                  </a:lnTo>
                  <a:lnTo>
                    <a:pt x="139" y="6"/>
                  </a:lnTo>
                  <a:lnTo>
                    <a:pt x="133" y="6"/>
                  </a:lnTo>
                  <a:lnTo>
                    <a:pt x="125" y="6"/>
                  </a:lnTo>
                  <a:lnTo>
                    <a:pt x="117" y="8"/>
                  </a:lnTo>
                  <a:lnTo>
                    <a:pt x="111" y="8"/>
                  </a:lnTo>
                  <a:lnTo>
                    <a:pt x="104" y="10"/>
                  </a:lnTo>
                  <a:lnTo>
                    <a:pt x="100" y="10"/>
                  </a:lnTo>
                  <a:lnTo>
                    <a:pt x="96" y="10"/>
                  </a:lnTo>
                  <a:lnTo>
                    <a:pt x="92" y="10"/>
                  </a:lnTo>
                  <a:lnTo>
                    <a:pt x="92" y="10"/>
                  </a:lnTo>
                  <a:lnTo>
                    <a:pt x="86" y="12"/>
                  </a:lnTo>
                  <a:lnTo>
                    <a:pt x="80" y="12"/>
                  </a:lnTo>
                  <a:lnTo>
                    <a:pt x="80" y="12"/>
                  </a:lnTo>
                  <a:lnTo>
                    <a:pt x="78" y="12"/>
                  </a:lnTo>
                  <a:lnTo>
                    <a:pt x="78" y="12"/>
                  </a:lnTo>
                  <a:lnTo>
                    <a:pt x="78" y="12"/>
                  </a:lnTo>
                  <a:lnTo>
                    <a:pt x="78" y="12"/>
                  </a:lnTo>
                  <a:lnTo>
                    <a:pt x="78" y="12"/>
                  </a:lnTo>
                  <a:lnTo>
                    <a:pt x="78" y="12"/>
                  </a:lnTo>
                  <a:lnTo>
                    <a:pt x="76" y="12"/>
                  </a:lnTo>
                  <a:lnTo>
                    <a:pt x="76" y="12"/>
                  </a:lnTo>
                  <a:lnTo>
                    <a:pt x="74" y="15"/>
                  </a:lnTo>
                  <a:lnTo>
                    <a:pt x="74" y="15"/>
                  </a:lnTo>
                  <a:lnTo>
                    <a:pt x="74" y="17"/>
                  </a:lnTo>
                  <a:lnTo>
                    <a:pt x="74" y="17"/>
                  </a:lnTo>
                  <a:lnTo>
                    <a:pt x="74" y="17"/>
                  </a:lnTo>
                  <a:lnTo>
                    <a:pt x="70" y="17"/>
                  </a:lnTo>
                  <a:lnTo>
                    <a:pt x="70" y="19"/>
                  </a:lnTo>
                  <a:lnTo>
                    <a:pt x="70" y="19"/>
                  </a:lnTo>
                  <a:lnTo>
                    <a:pt x="68" y="19"/>
                  </a:lnTo>
                  <a:lnTo>
                    <a:pt x="68" y="19"/>
                  </a:lnTo>
                  <a:lnTo>
                    <a:pt x="68" y="19"/>
                  </a:lnTo>
                  <a:lnTo>
                    <a:pt x="64" y="21"/>
                  </a:lnTo>
                  <a:lnTo>
                    <a:pt x="64" y="21"/>
                  </a:lnTo>
                  <a:lnTo>
                    <a:pt x="59" y="23"/>
                  </a:lnTo>
                  <a:lnTo>
                    <a:pt x="57" y="25"/>
                  </a:lnTo>
                  <a:lnTo>
                    <a:pt x="55" y="25"/>
                  </a:lnTo>
                  <a:lnTo>
                    <a:pt x="55" y="25"/>
                  </a:lnTo>
                  <a:lnTo>
                    <a:pt x="53" y="25"/>
                  </a:lnTo>
                  <a:lnTo>
                    <a:pt x="53" y="25"/>
                  </a:lnTo>
                  <a:lnTo>
                    <a:pt x="53" y="27"/>
                  </a:lnTo>
                  <a:lnTo>
                    <a:pt x="53" y="27"/>
                  </a:lnTo>
                  <a:lnTo>
                    <a:pt x="53" y="27"/>
                  </a:lnTo>
                  <a:lnTo>
                    <a:pt x="51" y="29"/>
                  </a:lnTo>
                  <a:lnTo>
                    <a:pt x="51" y="29"/>
                  </a:lnTo>
                  <a:lnTo>
                    <a:pt x="49" y="31"/>
                  </a:lnTo>
                  <a:lnTo>
                    <a:pt x="49" y="31"/>
                  </a:lnTo>
                  <a:lnTo>
                    <a:pt x="47" y="33"/>
                  </a:lnTo>
                  <a:lnTo>
                    <a:pt x="47" y="33"/>
                  </a:lnTo>
                  <a:lnTo>
                    <a:pt x="47" y="33"/>
                  </a:lnTo>
                  <a:lnTo>
                    <a:pt x="47" y="31"/>
                  </a:lnTo>
                  <a:lnTo>
                    <a:pt x="45" y="31"/>
                  </a:lnTo>
                  <a:lnTo>
                    <a:pt x="43" y="33"/>
                  </a:lnTo>
                  <a:lnTo>
                    <a:pt x="18" y="45"/>
                  </a:lnTo>
                  <a:lnTo>
                    <a:pt x="16" y="45"/>
                  </a:lnTo>
                  <a:lnTo>
                    <a:pt x="16" y="45"/>
                  </a:lnTo>
                  <a:lnTo>
                    <a:pt x="16" y="47"/>
                  </a:lnTo>
                  <a:lnTo>
                    <a:pt x="16" y="47"/>
                  </a:lnTo>
                  <a:lnTo>
                    <a:pt x="16" y="49"/>
                  </a:lnTo>
                  <a:lnTo>
                    <a:pt x="16" y="49"/>
                  </a:lnTo>
                  <a:lnTo>
                    <a:pt x="12" y="51"/>
                  </a:lnTo>
                  <a:lnTo>
                    <a:pt x="12" y="51"/>
                  </a:lnTo>
                  <a:lnTo>
                    <a:pt x="8" y="55"/>
                  </a:lnTo>
                  <a:lnTo>
                    <a:pt x="8" y="55"/>
                  </a:lnTo>
                  <a:lnTo>
                    <a:pt x="8" y="58"/>
                  </a:lnTo>
                  <a:lnTo>
                    <a:pt x="6" y="62"/>
                  </a:lnTo>
                  <a:lnTo>
                    <a:pt x="6" y="64"/>
                  </a:lnTo>
                  <a:lnTo>
                    <a:pt x="6" y="64"/>
                  </a:lnTo>
                  <a:lnTo>
                    <a:pt x="4" y="66"/>
                  </a:lnTo>
                  <a:lnTo>
                    <a:pt x="4" y="66"/>
                  </a:lnTo>
                  <a:lnTo>
                    <a:pt x="2" y="68"/>
                  </a:lnTo>
                  <a:lnTo>
                    <a:pt x="2" y="70"/>
                  </a:lnTo>
                  <a:lnTo>
                    <a:pt x="2" y="70"/>
                  </a:lnTo>
                  <a:lnTo>
                    <a:pt x="2" y="70"/>
                  </a:lnTo>
                  <a:lnTo>
                    <a:pt x="2" y="72"/>
                  </a:lnTo>
                  <a:lnTo>
                    <a:pt x="2" y="72"/>
                  </a:lnTo>
                  <a:lnTo>
                    <a:pt x="0" y="74"/>
                  </a:lnTo>
                  <a:lnTo>
                    <a:pt x="0" y="80"/>
                  </a:lnTo>
                  <a:lnTo>
                    <a:pt x="4" y="82"/>
                  </a:lnTo>
                  <a:lnTo>
                    <a:pt x="12" y="86"/>
                  </a:lnTo>
                  <a:lnTo>
                    <a:pt x="16" y="88"/>
                  </a:lnTo>
                  <a:lnTo>
                    <a:pt x="18" y="86"/>
                  </a:lnTo>
                  <a:lnTo>
                    <a:pt x="18" y="86"/>
                  </a:lnTo>
                  <a:lnTo>
                    <a:pt x="18" y="88"/>
                  </a:lnTo>
                  <a:lnTo>
                    <a:pt x="21" y="90"/>
                  </a:lnTo>
                  <a:lnTo>
                    <a:pt x="23" y="90"/>
                  </a:lnTo>
                  <a:lnTo>
                    <a:pt x="27" y="92"/>
                  </a:lnTo>
                  <a:lnTo>
                    <a:pt x="29" y="94"/>
                  </a:lnTo>
                  <a:lnTo>
                    <a:pt x="29" y="96"/>
                  </a:lnTo>
                  <a:lnTo>
                    <a:pt x="31" y="99"/>
                  </a:lnTo>
                  <a:lnTo>
                    <a:pt x="35" y="99"/>
                  </a:lnTo>
                  <a:lnTo>
                    <a:pt x="39" y="99"/>
                  </a:lnTo>
                  <a:lnTo>
                    <a:pt x="45" y="96"/>
                  </a:lnTo>
                  <a:lnTo>
                    <a:pt x="49" y="99"/>
                  </a:lnTo>
                  <a:lnTo>
                    <a:pt x="49" y="101"/>
                  </a:lnTo>
                  <a:lnTo>
                    <a:pt x="51" y="105"/>
                  </a:lnTo>
                  <a:lnTo>
                    <a:pt x="53" y="107"/>
                  </a:lnTo>
                  <a:lnTo>
                    <a:pt x="53" y="109"/>
                  </a:lnTo>
                  <a:lnTo>
                    <a:pt x="59" y="115"/>
                  </a:lnTo>
                  <a:lnTo>
                    <a:pt x="61" y="117"/>
                  </a:lnTo>
                  <a:lnTo>
                    <a:pt x="64" y="127"/>
                  </a:lnTo>
                  <a:lnTo>
                    <a:pt x="66" y="127"/>
                  </a:lnTo>
                  <a:lnTo>
                    <a:pt x="66" y="129"/>
                  </a:lnTo>
                  <a:lnTo>
                    <a:pt x="68" y="129"/>
                  </a:lnTo>
                  <a:lnTo>
                    <a:pt x="70" y="131"/>
                  </a:lnTo>
                  <a:lnTo>
                    <a:pt x="72" y="131"/>
                  </a:lnTo>
                  <a:lnTo>
                    <a:pt x="72" y="133"/>
                  </a:lnTo>
                  <a:lnTo>
                    <a:pt x="74" y="133"/>
                  </a:lnTo>
                  <a:lnTo>
                    <a:pt x="74" y="135"/>
                  </a:lnTo>
                  <a:lnTo>
                    <a:pt x="76" y="137"/>
                  </a:lnTo>
                  <a:lnTo>
                    <a:pt x="78" y="140"/>
                  </a:lnTo>
                  <a:lnTo>
                    <a:pt x="78" y="140"/>
                  </a:lnTo>
                  <a:lnTo>
                    <a:pt x="80" y="142"/>
                  </a:lnTo>
                  <a:lnTo>
                    <a:pt x="82" y="146"/>
                  </a:lnTo>
                  <a:lnTo>
                    <a:pt x="82" y="148"/>
                  </a:lnTo>
                  <a:lnTo>
                    <a:pt x="84" y="148"/>
                  </a:lnTo>
                  <a:lnTo>
                    <a:pt x="86" y="148"/>
                  </a:lnTo>
                  <a:lnTo>
                    <a:pt x="86" y="148"/>
                  </a:lnTo>
                  <a:lnTo>
                    <a:pt x="88" y="150"/>
                  </a:lnTo>
                  <a:lnTo>
                    <a:pt x="90" y="152"/>
                  </a:lnTo>
                  <a:lnTo>
                    <a:pt x="92" y="154"/>
                  </a:lnTo>
                  <a:lnTo>
                    <a:pt x="96" y="156"/>
                  </a:lnTo>
                  <a:lnTo>
                    <a:pt x="98" y="156"/>
                  </a:lnTo>
                  <a:lnTo>
                    <a:pt x="102" y="158"/>
                  </a:lnTo>
                  <a:lnTo>
                    <a:pt x="107" y="160"/>
                  </a:lnTo>
                  <a:lnTo>
                    <a:pt x="113" y="164"/>
                  </a:lnTo>
                  <a:lnTo>
                    <a:pt x="115" y="166"/>
                  </a:lnTo>
                  <a:lnTo>
                    <a:pt x="117" y="170"/>
                  </a:lnTo>
                  <a:lnTo>
                    <a:pt x="119" y="172"/>
                  </a:lnTo>
                  <a:lnTo>
                    <a:pt x="119" y="174"/>
                  </a:lnTo>
                  <a:lnTo>
                    <a:pt x="121" y="178"/>
                  </a:lnTo>
                  <a:lnTo>
                    <a:pt x="123" y="178"/>
                  </a:lnTo>
                  <a:lnTo>
                    <a:pt x="125" y="181"/>
                  </a:lnTo>
                  <a:lnTo>
                    <a:pt x="127" y="181"/>
                  </a:lnTo>
                  <a:lnTo>
                    <a:pt x="133" y="181"/>
                  </a:lnTo>
                  <a:lnTo>
                    <a:pt x="133" y="183"/>
                  </a:lnTo>
                  <a:lnTo>
                    <a:pt x="137" y="183"/>
                  </a:lnTo>
                  <a:lnTo>
                    <a:pt x="141" y="187"/>
                  </a:lnTo>
                  <a:lnTo>
                    <a:pt x="143" y="189"/>
                  </a:lnTo>
                  <a:lnTo>
                    <a:pt x="147" y="191"/>
                  </a:lnTo>
                  <a:lnTo>
                    <a:pt x="147" y="193"/>
                  </a:lnTo>
                  <a:lnTo>
                    <a:pt x="147" y="195"/>
                  </a:lnTo>
                  <a:lnTo>
                    <a:pt x="150" y="195"/>
                  </a:lnTo>
                  <a:lnTo>
                    <a:pt x="150" y="197"/>
                  </a:lnTo>
                  <a:lnTo>
                    <a:pt x="147" y="197"/>
                  </a:lnTo>
                  <a:lnTo>
                    <a:pt x="147" y="199"/>
                  </a:lnTo>
                  <a:lnTo>
                    <a:pt x="150" y="201"/>
                  </a:lnTo>
                  <a:lnTo>
                    <a:pt x="150" y="201"/>
                  </a:lnTo>
                  <a:lnTo>
                    <a:pt x="150" y="203"/>
                  </a:lnTo>
                  <a:lnTo>
                    <a:pt x="154" y="207"/>
                  </a:lnTo>
                  <a:lnTo>
                    <a:pt x="156" y="207"/>
                  </a:lnTo>
                  <a:lnTo>
                    <a:pt x="156" y="207"/>
                  </a:lnTo>
                  <a:lnTo>
                    <a:pt x="156" y="207"/>
                  </a:lnTo>
                  <a:lnTo>
                    <a:pt x="156" y="205"/>
                  </a:lnTo>
                  <a:lnTo>
                    <a:pt x="158" y="207"/>
                  </a:lnTo>
                  <a:lnTo>
                    <a:pt x="158" y="207"/>
                  </a:lnTo>
                  <a:lnTo>
                    <a:pt x="158" y="207"/>
                  </a:lnTo>
                  <a:lnTo>
                    <a:pt x="158" y="209"/>
                  </a:lnTo>
                  <a:lnTo>
                    <a:pt x="160" y="209"/>
                  </a:lnTo>
                  <a:lnTo>
                    <a:pt x="160" y="211"/>
                  </a:lnTo>
                  <a:lnTo>
                    <a:pt x="160" y="211"/>
                  </a:lnTo>
                  <a:lnTo>
                    <a:pt x="158" y="213"/>
                  </a:lnTo>
                  <a:lnTo>
                    <a:pt x="160" y="215"/>
                  </a:lnTo>
                  <a:lnTo>
                    <a:pt x="162" y="215"/>
                  </a:lnTo>
                  <a:lnTo>
                    <a:pt x="164" y="215"/>
                  </a:lnTo>
                  <a:lnTo>
                    <a:pt x="166" y="215"/>
                  </a:lnTo>
                  <a:lnTo>
                    <a:pt x="166" y="217"/>
                  </a:lnTo>
                  <a:lnTo>
                    <a:pt x="168" y="221"/>
                  </a:lnTo>
                  <a:lnTo>
                    <a:pt x="168" y="221"/>
                  </a:lnTo>
                  <a:lnTo>
                    <a:pt x="172" y="224"/>
                  </a:lnTo>
                  <a:lnTo>
                    <a:pt x="180" y="226"/>
                  </a:lnTo>
                  <a:lnTo>
                    <a:pt x="184" y="228"/>
                  </a:lnTo>
                  <a:lnTo>
                    <a:pt x="186" y="230"/>
                  </a:lnTo>
                  <a:lnTo>
                    <a:pt x="188" y="230"/>
                  </a:lnTo>
                  <a:lnTo>
                    <a:pt x="191" y="230"/>
                  </a:lnTo>
                  <a:lnTo>
                    <a:pt x="193" y="232"/>
                  </a:lnTo>
                  <a:lnTo>
                    <a:pt x="193" y="232"/>
                  </a:lnTo>
                  <a:lnTo>
                    <a:pt x="195" y="234"/>
                  </a:lnTo>
                  <a:lnTo>
                    <a:pt x="195" y="236"/>
                  </a:lnTo>
                  <a:lnTo>
                    <a:pt x="195" y="240"/>
                  </a:lnTo>
                  <a:lnTo>
                    <a:pt x="195" y="242"/>
                  </a:lnTo>
                  <a:lnTo>
                    <a:pt x="197" y="242"/>
                  </a:lnTo>
                  <a:lnTo>
                    <a:pt x="203" y="250"/>
                  </a:lnTo>
                  <a:lnTo>
                    <a:pt x="205" y="252"/>
                  </a:lnTo>
                  <a:lnTo>
                    <a:pt x="205" y="254"/>
                  </a:lnTo>
                  <a:lnTo>
                    <a:pt x="205" y="256"/>
                  </a:lnTo>
                  <a:lnTo>
                    <a:pt x="205" y="258"/>
                  </a:lnTo>
                  <a:lnTo>
                    <a:pt x="207" y="258"/>
                  </a:lnTo>
                  <a:lnTo>
                    <a:pt x="207" y="260"/>
                  </a:lnTo>
                  <a:lnTo>
                    <a:pt x="207" y="262"/>
                  </a:lnTo>
                  <a:lnTo>
                    <a:pt x="207" y="262"/>
                  </a:lnTo>
                  <a:lnTo>
                    <a:pt x="207" y="265"/>
                  </a:lnTo>
                  <a:lnTo>
                    <a:pt x="207" y="265"/>
                  </a:lnTo>
                  <a:lnTo>
                    <a:pt x="207" y="267"/>
                  </a:lnTo>
                  <a:lnTo>
                    <a:pt x="209" y="267"/>
                  </a:lnTo>
                  <a:lnTo>
                    <a:pt x="209" y="267"/>
                  </a:lnTo>
                  <a:lnTo>
                    <a:pt x="209" y="267"/>
                  </a:lnTo>
                  <a:lnTo>
                    <a:pt x="209" y="269"/>
                  </a:lnTo>
                  <a:lnTo>
                    <a:pt x="209" y="271"/>
                  </a:lnTo>
                  <a:lnTo>
                    <a:pt x="209" y="273"/>
                  </a:lnTo>
                  <a:lnTo>
                    <a:pt x="209" y="273"/>
                  </a:lnTo>
                  <a:lnTo>
                    <a:pt x="211" y="275"/>
                  </a:lnTo>
                  <a:lnTo>
                    <a:pt x="213" y="277"/>
                  </a:lnTo>
                  <a:lnTo>
                    <a:pt x="213" y="277"/>
                  </a:lnTo>
                  <a:lnTo>
                    <a:pt x="215" y="277"/>
                  </a:lnTo>
                  <a:lnTo>
                    <a:pt x="219" y="277"/>
                  </a:lnTo>
                  <a:lnTo>
                    <a:pt x="219" y="277"/>
                  </a:lnTo>
                  <a:lnTo>
                    <a:pt x="221" y="279"/>
                  </a:lnTo>
                  <a:lnTo>
                    <a:pt x="221" y="279"/>
                  </a:lnTo>
                  <a:lnTo>
                    <a:pt x="223" y="281"/>
                  </a:lnTo>
                  <a:lnTo>
                    <a:pt x="223" y="281"/>
                  </a:lnTo>
                  <a:lnTo>
                    <a:pt x="223" y="281"/>
                  </a:lnTo>
                  <a:lnTo>
                    <a:pt x="225" y="281"/>
                  </a:lnTo>
                  <a:lnTo>
                    <a:pt x="225" y="281"/>
                  </a:lnTo>
                  <a:lnTo>
                    <a:pt x="227" y="283"/>
                  </a:lnTo>
                  <a:lnTo>
                    <a:pt x="227" y="283"/>
                  </a:lnTo>
                  <a:lnTo>
                    <a:pt x="227" y="285"/>
                  </a:lnTo>
                  <a:lnTo>
                    <a:pt x="229" y="285"/>
                  </a:lnTo>
                  <a:lnTo>
                    <a:pt x="231" y="285"/>
                  </a:lnTo>
                  <a:lnTo>
                    <a:pt x="231" y="287"/>
                  </a:lnTo>
                  <a:lnTo>
                    <a:pt x="231" y="291"/>
                  </a:lnTo>
                  <a:lnTo>
                    <a:pt x="236" y="299"/>
                  </a:lnTo>
                  <a:lnTo>
                    <a:pt x="238" y="299"/>
                  </a:lnTo>
                  <a:lnTo>
                    <a:pt x="240" y="299"/>
                  </a:lnTo>
                  <a:lnTo>
                    <a:pt x="240" y="301"/>
                  </a:lnTo>
                  <a:lnTo>
                    <a:pt x="240" y="303"/>
                  </a:lnTo>
                  <a:lnTo>
                    <a:pt x="240" y="306"/>
                  </a:lnTo>
                  <a:lnTo>
                    <a:pt x="240" y="308"/>
                  </a:lnTo>
                  <a:lnTo>
                    <a:pt x="240" y="308"/>
                  </a:lnTo>
                  <a:lnTo>
                    <a:pt x="240" y="310"/>
                  </a:lnTo>
                  <a:lnTo>
                    <a:pt x="240" y="312"/>
                  </a:lnTo>
                  <a:lnTo>
                    <a:pt x="240" y="312"/>
                  </a:lnTo>
                  <a:lnTo>
                    <a:pt x="240" y="314"/>
                  </a:lnTo>
                  <a:lnTo>
                    <a:pt x="240" y="316"/>
                  </a:lnTo>
                  <a:lnTo>
                    <a:pt x="240" y="316"/>
                  </a:lnTo>
                  <a:lnTo>
                    <a:pt x="242" y="320"/>
                  </a:lnTo>
                  <a:lnTo>
                    <a:pt x="242" y="320"/>
                  </a:lnTo>
                  <a:lnTo>
                    <a:pt x="242" y="320"/>
                  </a:lnTo>
                  <a:lnTo>
                    <a:pt x="242" y="320"/>
                  </a:lnTo>
                  <a:lnTo>
                    <a:pt x="244" y="322"/>
                  </a:lnTo>
                  <a:lnTo>
                    <a:pt x="244" y="322"/>
                  </a:lnTo>
                  <a:lnTo>
                    <a:pt x="244" y="322"/>
                  </a:lnTo>
                  <a:lnTo>
                    <a:pt x="246" y="322"/>
                  </a:lnTo>
                  <a:lnTo>
                    <a:pt x="248" y="326"/>
                  </a:lnTo>
                  <a:lnTo>
                    <a:pt x="248" y="326"/>
                  </a:lnTo>
                  <a:lnTo>
                    <a:pt x="254" y="324"/>
                  </a:lnTo>
                  <a:lnTo>
                    <a:pt x="256" y="324"/>
                  </a:lnTo>
                  <a:lnTo>
                    <a:pt x="260" y="326"/>
                  </a:lnTo>
                  <a:lnTo>
                    <a:pt x="260" y="326"/>
                  </a:lnTo>
                  <a:lnTo>
                    <a:pt x="262" y="328"/>
                  </a:lnTo>
                  <a:lnTo>
                    <a:pt x="262" y="328"/>
                  </a:lnTo>
                  <a:lnTo>
                    <a:pt x="264" y="328"/>
                  </a:lnTo>
                  <a:lnTo>
                    <a:pt x="266" y="328"/>
                  </a:lnTo>
                  <a:lnTo>
                    <a:pt x="266" y="328"/>
                  </a:lnTo>
                  <a:lnTo>
                    <a:pt x="266" y="328"/>
                  </a:lnTo>
                  <a:lnTo>
                    <a:pt x="266" y="326"/>
                  </a:lnTo>
                  <a:lnTo>
                    <a:pt x="266" y="324"/>
                  </a:lnTo>
                  <a:lnTo>
                    <a:pt x="270" y="320"/>
                  </a:lnTo>
                  <a:lnTo>
                    <a:pt x="270" y="316"/>
                  </a:lnTo>
                  <a:lnTo>
                    <a:pt x="270" y="314"/>
                  </a:lnTo>
                  <a:lnTo>
                    <a:pt x="270" y="314"/>
                  </a:lnTo>
                  <a:lnTo>
                    <a:pt x="272" y="312"/>
                  </a:lnTo>
                  <a:lnTo>
                    <a:pt x="272" y="310"/>
                  </a:lnTo>
                  <a:lnTo>
                    <a:pt x="272" y="308"/>
                  </a:lnTo>
                  <a:lnTo>
                    <a:pt x="272" y="306"/>
                  </a:lnTo>
                  <a:lnTo>
                    <a:pt x="272" y="306"/>
                  </a:lnTo>
                  <a:lnTo>
                    <a:pt x="272" y="303"/>
                  </a:lnTo>
                  <a:lnTo>
                    <a:pt x="274" y="308"/>
                  </a:lnTo>
                  <a:lnTo>
                    <a:pt x="272" y="316"/>
                  </a:lnTo>
                  <a:lnTo>
                    <a:pt x="272" y="320"/>
                  </a:lnTo>
                  <a:lnTo>
                    <a:pt x="279" y="314"/>
                  </a:lnTo>
                  <a:lnTo>
                    <a:pt x="281" y="310"/>
                  </a:lnTo>
                  <a:lnTo>
                    <a:pt x="283" y="306"/>
                  </a:lnTo>
                  <a:lnTo>
                    <a:pt x="283" y="306"/>
                  </a:lnTo>
                  <a:lnTo>
                    <a:pt x="281" y="303"/>
                  </a:lnTo>
                  <a:lnTo>
                    <a:pt x="281" y="301"/>
                  </a:lnTo>
                  <a:lnTo>
                    <a:pt x="279" y="301"/>
                  </a:lnTo>
                  <a:lnTo>
                    <a:pt x="277" y="301"/>
                  </a:lnTo>
                  <a:lnTo>
                    <a:pt x="277" y="301"/>
                  </a:lnTo>
                  <a:lnTo>
                    <a:pt x="272" y="297"/>
                  </a:lnTo>
                  <a:lnTo>
                    <a:pt x="270" y="297"/>
                  </a:lnTo>
                  <a:lnTo>
                    <a:pt x="270" y="297"/>
                  </a:lnTo>
                  <a:lnTo>
                    <a:pt x="270" y="295"/>
                  </a:lnTo>
                  <a:lnTo>
                    <a:pt x="270" y="293"/>
                  </a:lnTo>
                  <a:lnTo>
                    <a:pt x="268" y="289"/>
                  </a:lnTo>
                  <a:lnTo>
                    <a:pt x="266" y="287"/>
                  </a:lnTo>
                  <a:lnTo>
                    <a:pt x="264" y="283"/>
                  </a:lnTo>
                  <a:lnTo>
                    <a:pt x="264" y="281"/>
                  </a:lnTo>
                  <a:lnTo>
                    <a:pt x="264" y="279"/>
                  </a:lnTo>
                  <a:lnTo>
                    <a:pt x="264" y="279"/>
                  </a:lnTo>
                  <a:lnTo>
                    <a:pt x="262" y="275"/>
                  </a:lnTo>
                  <a:lnTo>
                    <a:pt x="260" y="275"/>
                  </a:lnTo>
                  <a:lnTo>
                    <a:pt x="260" y="275"/>
                  </a:lnTo>
                  <a:lnTo>
                    <a:pt x="262" y="273"/>
                  </a:lnTo>
                  <a:lnTo>
                    <a:pt x="262" y="275"/>
                  </a:lnTo>
                  <a:lnTo>
                    <a:pt x="264" y="275"/>
                  </a:lnTo>
                  <a:lnTo>
                    <a:pt x="264" y="277"/>
                  </a:lnTo>
                  <a:lnTo>
                    <a:pt x="266" y="277"/>
                  </a:lnTo>
                  <a:lnTo>
                    <a:pt x="268" y="277"/>
                  </a:lnTo>
                  <a:lnTo>
                    <a:pt x="268" y="279"/>
                  </a:lnTo>
                  <a:lnTo>
                    <a:pt x="266" y="281"/>
                  </a:lnTo>
                  <a:lnTo>
                    <a:pt x="268" y="283"/>
                  </a:lnTo>
                  <a:lnTo>
                    <a:pt x="268" y="285"/>
                  </a:lnTo>
                  <a:lnTo>
                    <a:pt x="272" y="291"/>
                  </a:lnTo>
                  <a:lnTo>
                    <a:pt x="279" y="295"/>
                  </a:lnTo>
                  <a:lnTo>
                    <a:pt x="281" y="297"/>
                  </a:lnTo>
                  <a:lnTo>
                    <a:pt x="283" y="295"/>
                  </a:lnTo>
                  <a:lnTo>
                    <a:pt x="283" y="293"/>
                  </a:lnTo>
                  <a:lnTo>
                    <a:pt x="281" y="293"/>
                  </a:lnTo>
                  <a:lnTo>
                    <a:pt x="281" y="291"/>
                  </a:lnTo>
                  <a:lnTo>
                    <a:pt x="281" y="291"/>
                  </a:lnTo>
                  <a:lnTo>
                    <a:pt x="279" y="283"/>
                  </a:lnTo>
                  <a:lnTo>
                    <a:pt x="279" y="281"/>
                  </a:lnTo>
                  <a:lnTo>
                    <a:pt x="279" y="281"/>
                  </a:lnTo>
                  <a:lnTo>
                    <a:pt x="279" y="281"/>
                  </a:lnTo>
                  <a:lnTo>
                    <a:pt x="279" y="279"/>
                  </a:lnTo>
                  <a:lnTo>
                    <a:pt x="279" y="281"/>
                  </a:lnTo>
                  <a:lnTo>
                    <a:pt x="279" y="281"/>
                  </a:lnTo>
                  <a:lnTo>
                    <a:pt x="279" y="281"/>
                  </a:lnTo>
                  <a:lnTo>
                    <a:pt x="277" y="279"/>
                  </a:lnTo>
                  <a:lnTo>
                    <a:pt x="281" y="279"/>
                  </a:lnTo>
                  <a:lnTo>
                    <a:pt x="281" y="281"/>
                  </a:lnTo>
                  <a:lnTo>
                    <a:pt x="281" y="289"/>
                  </a:lnTo>
                  <a:lnTo>
                    <a:pt x="281" y="289"/>
                  </a:lnTo>
                  <a:lnTo>
                    <a:pt x="285" y="287"/>
                  </a:lnTo>
                  <a:lnTo>
                    <a:pt x="285" y="293"/>
                  </a:lnTo>
                  <a:lnTo>
                    <a:pt x="285" y="297"/>
                  </a:lnTo>
                  <a:lnTo>
                    <a:pt x="285" y="299"/>
                  </a:lnTo>
                  <a:lnTo>
                    <a:pt x="287" y="299"/>
                  </a:lnTo>
                  <a:lnTo>
                    <a:pt x="289" y="297"/>
                  </a:lnTo>
                  <a:lnTo>
                    <a:pt x="291" y="297"/>
                  </a:lnTo>
                  <a:lnTo>
                    <a:pt x="291" y="297"/>
                  </a:lnTo>
                  <a:lnTo>
                    <a:pt x="293" y="297"/>
                  </a:lnTo>
                  <a:lnTo>
                    <a:pt x="299" y="291"/>
                  </a:lnTo>
                  <a:lnTo>
                    <a:pt x="299" y="289"/>
                  </a:lnTo>
                  <a:lnTo>
                    <a:pt x="297" y="289"/>
                  </a:lnTo>
                  <a:lnTo>
                    <a:pt x="299" y="289"/>
                  </a:lnTo>
                  <a:lnTo>
                    <a:pt x="299" y="289"/>
                  </a:lnTo>
                  <a:lnTo>
                    <a:pt x="299" y="287"/>
                  </a:lnTo>
                  <a:lnTo>
                    <a:pt x="299" y="287"/>
                  </a:lnTo>
                  <a:lnTo>
                    <a:pt x="299" y="287"/>
                  </a:lnTo>
                  <a:lnTo>
                    <a:pt x="301" y="287"/>
                  </a:lnTo>
                  <a:lnTo>
                    <a:pt x="301" y="285"/>
                  </a:lnTo>
                  <a:lnTo>
                    <a:pt x="301" y="283"/>
                  </a:lnTo>
                  <a:lnTo>
                    <a:pt x="301" y="281"/>
                  </a:lnTo>
                  <a:lnTo>
                    <a:pt x="301" y="281"/>
                  </a:lnTo>
                  <a:lnTo>
                    <a:pt x="301" y="283"/>
                  </a:lnTo>
                  <a:lnTo>
                    <a:pt x="299" y="283"/>
                  </a:lnTo>
                  <a:lnTo>
                    <a:pt x="299" y="285"/>
                  </a:lnTo>
                  <a:lnTo>
                    <a:pt x="297" y="285"/>
                  </a:lnTo>
                  <a:lnTo>
                    <a:pt x="295" y="287"/>
                  </a:lnTo>
                  <a:lnTo>
                    <a:pt x="293" y="289"/>
                  </a:lnTo>
                  <a:lnTo>
                    <a:pt x="291" y="289"/>
                  </a:lnTo>
                  <a:lnTo>
                    <a:pt x="291" y="289"/>
                  </a:lnTo>
                  <a:lnTo>
                    <a:pt x="293" y="287"/>
                  </a:lnTo>
                  <a:lnTo>
                    <a:pt x="295" y="285"/>
                  </a:lnTo>
                  <a:lnTo>
                    <a:pt x="299" y="283"/>
                  </a:lnTo>
                  <a:lnTo>
                    <a:pt x="299" y="281"/>
                  </a:lnTo>
                  <a:lnTo>
                    <a:pt x="297" y="279"/>
                  </a:lnTo>
                  <a:lnTo>
                    <a:pt x="295" y="277"/>
                  </a:lnTo>
                  <a:lnTo>
                    <a:pt x="287" y="279"/>
                  </a:lnTo>
                  <a:lnTo>
                    <a:pt x="289" y="277"/>
                  </a:lnTo>
                  <a:lnTo>
                    <a:pt x="291" y="277"/>
                  </a:lnTo>
                  <a:lnTo>
                    <a:pt x="293" y="275"/>
                  </a:lnTo>
                  <a:lnTo>
                    <a:pt x="295" y="275"/>
                  </a:lnTo>
                  <a:lnTo>
                    <a:pt x="295" y="275"/>
                  </a:lnTo>
                  <a:lnTo>
                    <a:pt x="295" y="275"/>
                  </a:lnTo>
                  <a:lnTo>
                    <a:pt x="291" y="273"/>
                  </a:lnTo>
                  <a:lnTo>
                    <a:pt x="291" y="273"/>
                  </a:lnTo>
                  <a:lnTo>
                    <a:pt x="289" y="273"/>
                  </a:lnTo>
                  <a:lnTo>
                    <a:pt x="289" y="275"/>
                  </a:lnTo>
                  <a:lnTo>
                    <a:pt x="287" y="275"/>
                  </a:lnTo>
                  <a:lnTo>
                    <a:pt x="279" y="275"/>
                  </a:lnTo>
                  <a:lnTo>
                    <a:pt x="277" y="275"/>
                  </a:lnTo>
                  <a:lnTo>
                    <a:pt x="277" y="275"/>
                  </a:lnTo>
                  <a:lnTo>
                    <a:pt x="277" y="275"/>
                  </a:lnTo>
                  <a:lnTo>
                    <a:pt x="277" y="273"/>
                  </a:lnTo>
                  <a:lnTo>
                    <a:pt x="279" y="273"/>
                  </a:lnTo>
                  <a:lnTo>
                    <a:pt x="281" y="273"/>
                  </a:lnTo>
                  <a:lnTo>
                    <a:pt x="287" y="273"/>
                  </a:lnTo>
                  <a:lnTo>
                    <a:pt x="289" y="271"/>
                  </a:lnTo>
                  <a:lnTo>
                    <a:pt x="289" y="271"/>
                  </a:lnTo>
                  <a:lnTo>
                    <a:pt x="289" y="269"/>
                  </a:lnTo>
                  <a:lnTo>
                    <a:pt x="289" y="269"/>
                  </a:lnTo>
                  <a:lnTo>
                    <a:pt x="289" y="267"/>
                  </a:lnTo>
                  <a:lnTo>
                    <a:pt x="289" y="267"/>
                  </a:lnTo>
                  <a:lnTo>
                    <a:pt x="289" y="269"/>
                  </a:lnTo>
                  <a:lnTo>
                    <a:pt x="291" y="269"/>
                  </a:lnTo>
                  <a:lnTo>
                    <a:pt x="295" y="271"/>
                  </a:lnTo>
                  <a:lnTo>
                    <a:pt x="295" y="271"/>
                  </a:lnTo>
                  <a:lnTo>
                    <a:pt x="297" y="271"/>
                  </a:lnTo>
                  <a:lnTo>
                    <a:pt x="299" y="271"/>
                  </a:lnTo>
                  <a:lnTo>
                    <a:pt x="299" y="273"/>
                  </a:lnTo>
                  <a:lnTo>
                    <a:pt x="301" y="273"/>
                  </a:lnTo>
                  <a:lnTo>
                    <a:pt x="301" y="273"/>
                  </a:lnTo>
                  <a:lnTo>
                    <a:pt x="303" y="273"/>
                  </a:lnTo>
                  <a:lnTo>
                    <a:pt x="305" y="273"/>
                  </a:lnTo>
                  <a:lnTo>
                    <a:pt x="305" y="271"/>
                  </a:lnTo>
                  <a:lnTo>
                    <a:pt x="305" y="269"/>
                  </a:lnTo>
                  <a:lnTo>
                    <a:pt x="305" y="267"/>
                  </a:lnTo>
                  <a:lnTo>
                    <a:pt x="305" y="267"/>
                  </a:lnTo>
                  <a:lnTo>
                    <a:pt x="305" y="269"/>
                  </a:lnTo>
                  <a:lnTo>
                    <a:pt x="307" y="269"/>
                  </a:lnTo>
                  <a:lnTo>
                    <a:pt x="307" y="271"/>
                  </a:lnTo>
                  <a:lnTo>
                    <a:pt x="309" y="271"/>
                  </a:lnTo>
                  <a:lnTo>
                    <a:pt x="309" y="271"/>
                  </a:lnTo>
                  <a:lnTo>
                    <a:pt x="309" y="271"/>
                  </a:lnTo>
                  <a:lnTo>
                    <a:pt x="311" y="269"/>
                  </a:lnTo>
                  <a:lnTo>
                    <a:pt x="315" y="265"/>
                  </a:lnTo>
                  <a:lnTo>
                    <a:pt x="317" y="262"/>
                  </a:lnTo>
                  <a:lnTo>
                    <a:pt x="317" y="262"/>
                  </a:lnTo>
                  <a:lnTo>
                    <a:pt x="317" y="260"/>
                  </a:lnTo>
                  <a:lnTo>
                    <a:pt x="320" y="260"/>
                  </a:lnTo>
                  <a:lnTo>
                    <a:pt x="317" y="260"/>
                  </a:lnTo>
                  <a:lnTo>
                    <a:pt x="317" y="260"/>
                  </a:lnTo>
                  <a:lnTo>
                    <a:pt x="313" y="256"/>
                  </a:lnTo>
                  <a:lnTo>
                    <a:pt x="311" y="256"/>
                  </a:lnTo>
                  <a:lnTo>
                    <a:pt x="313" y="256"/>
                  </a:lnTo>
                  <a:lnTo>
                    <a:pt x="315" y="256"/>
                  </a:lnTo>
                  <a:lnTo>
                    <a:pt x="317" y="258"/>
                  </a:lnTo>
                  <a:lnTo>
                    <a:pt x="322" y="260"/>
                  </a:lnTo>
                  <a:lnTo>
                    <a:pt x="322" y="260"/>
                  </a:lnTo>
                  <a:lnTo>
                    <a:pt x="324" y="258"/>
                  </a:lnTo>
                  <a:lnTo>
                    <a:pt x="326" y="256"/>
                  </a:lnTo>
                  <a:lnTo>
                    <a:pt x="328" y="256"/>
                  </a:lnTo>
                  <a:lnTo>
                    <a:pt x="330" y="254"/>
                  </a:lnTo>
                  <a:lnTo>
                    <a:pt x="336" y="252"/>
                  </a:lnTo>
                  <a:lnTo>
                    <a:pt x="336" y="252"/>
                  </a:lnTo>
                  <a:lnTo>
                    <a:pt x="336" y="250"/>
                  </a:lnTo>
                  <a:lnTo>
                    <a:pt x="334" y="250"/>
                  </a:lnTo>
                  <a:lnTo>
                    <a:pt x="332" y="248"/>
                  </a:lnTo>
                  <a:lnTo>
                    <a:pt x="334" y="248"/>
                  </a:lnTo>
                  <a:lnTo>
                    <a:pt x="334" y="248"/>
                  </a:lnTo>
                  <a:lnTo>
                    <a:pt x="336" y="248"/>
                  </a:lnTo>
                  <a:lnTo>
                    <a:pt x="340" y="248"/>
                  </a:lnTo>
                  <a:lnTo>
                    <a:pt x="340" y="248"/>
                  </a:lnTo>
                  <a:lnTo>
                    <a:pt x="344" y="242"/>
                  </a:lnTo>
                  <a:lnTo>
                    <a:pt x="346" y="240"/>
                  </a:lnTo>
                  <a:lnTo>
                    <a:pt x="344" y="238"/>
                  </a:lnTo>
                  <a:lnTo>
                    <a:pt x="344" y="238"/>
                  </a:lnTo>
                  <a:lnTo>
                    <a:pt x="344" y="238"/>
                  </a:lnTo>
                  <a:lnTo>
                    <a:pt x="344" y="238"/>
                  </a:lnTo>
                  <a:lnTo>
                    <a:pt x="342" y="238"/>
                  </a:lnTo>
                  <a:lnTo>
                    <a:pt x="342" y="236"/>
                  </a:lnTo>
                  <a:lnTo>
                    <a:pt x="342" y="236"/>
                  </a:lnTo>
                  <a:lnTo>
                    <a:pt x="338" y="236"/>
                  </a:lnTo>
                  <a:lnTo>
                    <a:pt x="336" y="236"/>
                  </a:lnTo>
                  <a:lnTo>
                    <a:pt x="336" y="234"/>
                  </a:lnTo>
                  <a:lnTo>
                    <a:pt x="334" y="232"/>
                  </a:lnTo>
                  <a:lnTo>
                    <a:pt x="336" y="234"/>
                  </a:lnTo>
                  <a:lnTo>
                    <a:pt x="338" y="234"/>
                  </a:lnTo>
                  <a:lnTo>
                    <a:pt x="338" y="234"/>
                  </a:lnTo>
                  <a:lnTo>
                    <a:pt x="338" y="232"/>
                  </a:lnTo>
                  <a:lnTo>
                    <a:pt x="338" y="230"/>
                  </a:lnTo>
                  <a:lnTo>
                    <a:pt x="336" y="228"/>
                  </a:lnTo>
                  <a:lnTo>
                    <a:pt x="336" y="226"/>
                  </a:lnTo>
                  <a:lnTo>
                    <a:pt x="336" y="226"/>
                  </a:lnTo>
                  <a:lnTo>
                    <a:pt x="340" y="228"/>
                  </a:lnTo>
                  <a:lnTo>
                    <a:pt x="340" y="228"/>
                  </a:lnTo>
                  <a:lnTo>
                    <a:pt x="340" y="226"/>
                  </a:lnTo>
                  <a:lnTo>
                    <a:pt x="340" y="226"/>
                  </a:lnTo>
                  <a:lnTo>
                    <a:pt x="340" y="226"/>
                  </a:lnTo>
                  <a:lnTo>
                    <a:pt x="342" y="226"/>
                  </a:lnTo>
                  <a:lnTo>
                    <a:pt x="340" y="230"/>
                  </a:lnTo>
                  <a:lnTo>
                    <a:pt x="340" y="232"/>
                  </a:lnTo>
                  <a:lnTo>
                    <a:pt x="342" y="232"/>
                  </a:lnTo>
                  <a:lnTo>
                    <a:pt x="342" y="232"/>
                  </a:lnTo>
                  <a:lnTo>
                    <a:pt x="344" y="234"/>
                  </a:lnTo>
                  <a:lnTo>
                    <a:pt x="346" y="234"/>
                  </a:lnTo>
                  <a:lnTo>
                    <a:pt x="346" y="234"/>
                  </a:lnTo>
                  <a:lnTo>
                    <a:pt x="348" y="234"/>
                  </a:lnTo>
                  <a:lnTo>
                    <a:pt x="350" y="232"/>
                  </a:lnTo>
                  <a:lnTo>
                    <a:pt x="354" y="228"/>
                  </a:lnTo>
                  <a:lnTo>
                    <a:pt x="356" y="226"/>
                  </a:lnTo>
                  <a:lnTo>
                    <a:pt x="356" y="224"/>
                  </a:lnTo>
                  <a:lnTo>
                    <a:pt x="358" y="221"/>
                  </a:lnTo>
                  <a:lnTo>
                    <a:pt x="360" y="219"/>
                  </a:lnTo>
                  <a:lnTo>
                    <a:pt x="360" y="219"/>
                  </a:lnTo>
                  <a:lnTo>
                    <a:pt x="360" y="219"/>
                  </a:lnTo>
                  <a:lnTo>
                    <a:pt x="360" y="217"/>
                  </a:lnTo>
                  <a:lnTo>
                    <a:pt x="363" y="217"/>
                  </a:lnTo>
                  <a:lnTo>
                    <a:pt x="363" y="217"/>
                  </a:lnTo>
                  <a:lnTo>
                    <a:pt x="367" y="213"/>
                  </a:lnTo>
                  <a:lnTo>
                    <a:pt x="367" y="213"/>
                  </a:lnTo>
                  <a:lnTo>
                    <a:pt x="367" y="211"/>
                  </a:lnTo>
                  <a:lnTo>
                    <a:pt x="367" y="211"/>
                  </a:lnTo>
                  <a:lnTo>
                    <a:pt x="367" y="211"/>
                  </a:lnTo>
                  <a:lnTo>
                    <a:pt x="365" y="213"/>
                  </a:lnTo>
                  <a:lnTo>
                    <a:pt x="365" y="213"/>
                  </a:lnTo>
                  <a:lnTo>
                    <a:pt x="363" y="213"/>
                  </a:lnTo>
                  <a:lnTo>
                    <a:pt x="363" y="211"/>
                  </a:lnTo>
                  <a:lnTo>
                    <a:pt x="363" y="209"/>
                  </a:lnTo>
                  <a:lnTo>
                    <a:pt x="365" y="205"/>
                  </a:lnTo>
                  <a:lnTo>
                    <a:pt x="365" y="203"/>
                  </a:lnTo>
                  <a:lnTo>
                    <a:pt x="367" y="203"/>
                  </a:lnTo>
                  <a:lnTo>
                    <a:pt x="369" y="199"/>
                  </a:lnTo>
                  <a:lnTo>
                    <a:pt x="371" y="199"/>
                  </a:lnTo>
                  <a:lnTo>
                    <a:pt x="371" y="201"/>
                  </a:lnTo>
                  <a:lnTo>
                    <a:pt x="371" y="201"/>
                  </a:lnTo>
                  <a:lnTo>
                    <a:pt x="373" y="203"/>
                  </a:lnTo>
                  <a:lnTo>
                    <a:pt x="373" y="203"/>
                  </a:lnTo>
                  <a:lnTo>
                    <a:pt x="375" y="203"/>
                  </a:lnTo>
                  <a:lnTo>
                    <a:pt x="377" y="201"/>
                  </a:lnTo>
                  <a:lnTo>
                    <a:pt x="379" y="201"/>
                  </a:lnTo>
                  <a:lnTo>
                    <a:pt x="381" y="201"/>
                  </a:lnTo>
                  <a:lnTo>
                    <a:pt x="383" y="199"/>
                  </a:lnTo>
                  <a:lnTo>
                    <a:pt x="383" y="199"/>
                  </a:lnTo>
                  <a:lnTo>
                    <a:pt x="383" y="197"/>
                  </a:lnTo>
                  <a:lnTo>
                    <a:pt x="383" y="195"/>
                  </a:lnTo>
                  <a:lnTo>
                    <a:pt x="385" y="193"/>
                  </a:lnTo>
                  <a:lnTo>
                    <a:pt x="387" y="191"/>
                  </a:lnTo>
                  <a:lnTo>
                    <a:pt x="389" y="189"/>
                  </a:lnTo>
                  <a:lnTo>
                    <a:pt x="389" y="187"/>
                  </a:lnTo>
                  <a:lnTo>
                    <a:pt x="387" y="185"/>
                  </a:lnTo>
                  <a:lnTo>
                    <a:pt x="385" y="185"/>
                  </a:lnTo>
                  <a:lnTo>
                    <a:pt x="383" y="185"/>
                  </a:lnTo>
                  <a:lnTo>
                    <a:pt x="385" y="185"/>
                  </a:lnTo>
                  <a:lnTo>
                    <a:pt x="387" y="185"/>
                  </a:lnTo>
                  <a:lnTo>
                    <a:pt x="389" y="185"/>
                  </a:lnTo>
                  <a:lnTo>
                    <a:pt x="391" y="187"/>
                  </a:lnTo>
                  <a:lnTo>
                    <a:pt x="391" y="187"/>
                  </a:lnTo>
                  <a:lnTo>
                    <a:pt x="391" y="187"/>
                  </a:lnTo>
                  <a:lnTo>
                    <a:pt x="391" y="185"/>
                  </a:lnTo>
                  <a:lnTo>
                    <a:pt x="391" y="185"/>
                  </a:lnTo>
                  <a:lnTo>
                    <a:pt x="391" y="185"/>
                  </a:lnTo>
                  <a:lnTo>
                    <a:pt x="389" y="183"/>
                  </a:lnTo>
                  <a:lnTo>
                    <a:pt x="389" y="183"/>
                  </a:lnTo>
                  <a:lnTo>
                    <a:pt x="391" y="181"/>
                  </a:lnTo>
                  <a:lnTo>
                    <a:pt x="391" y="181"/>
                  </a:lnTo>
                  <a:lnTo>
                    <a:pt x="393" y="183"/>
                  </a:lnTo>
                  <a:lnTo>
                    <a:pt x="393" y="183"/>
                  </a:lnTo>
                  <a:lnTo>
                    <a:pt x="395" y="183"/>
                  </a:lnTo>
                  <a:lnTo>
                    <a:pt x="395" y="181"/>
                  </a:lnTo>
                  <a:lnTo>
                    <a:pt x="395" y="178"/>
                  </a:lnTo>
                  <a:lnTo>
                    <a:pt x="397" y="178"/>
                  </a:lnTo>
                  <a:lnTo>
                    <a:pt x="395" y="178"/>
                  </a:lnTo>
                  <a:lnTo>
                    <a:pt x="395" y="178"/>
                  </a:lnTo>
                  <a:lnTo>
                    <a:pt x="395" y="176"/>
                  </a:lnTo>
                  <a:lnTo>
                    <a:pt x="393" y="174"/>
                  </a:lnTo>
                  <a:lnTo>
                    <a:pt x="393" y="174"/>
                  </a:lnTo>
                  <a:lnTo>
                    <a:pt x="393" y="172"/>
                  </a:lnTo>
                  <a:lnTo>
                    <a:pt x="391" y="172"/>
                  </a:lnTo>
                  <a:lnTo>
                    <a:pt x="387" y="172"/>
                  </a:lnTo>
                  <a:lnTo>
                    <a:pt x="385" y="170"/>
                  </a:lnTo>
                  <a:lnTo>
                    <a:pt x="385" y="168"/>
                  </a:lnTo>
                  <a:lnTo>
                    <a:pt x="385" y="166"/>
                  </a:lnTo>
                  <a:lnTo>
                    <a:pt x="385" y="164"/>
                  </a:lnTo>
                  <a:lnTo>
                    <a:pt x="385" y="162"/>
                  </a:lnTo>
                  <a:lnTo>
                    <a:pt x="389" y="154"/>
                  </a:lnTo>
                  <a:lnTo>
                    <a:pt x="389" y="154"/>
                  </a:lnTo>
                  <a:lnTo>
                    <a:pt x="391" y="152"/>
                  </a:lnTo>
                  <a:lnTo>
                    <a:pt x="391" y="152"/>
                  </a:lnTo>
                  <a:lnTo>
                    <a:pt x="391" y="154"/>
                  </a:lnTo>
                  <a:lnTo>
                    <a:pt x="389" y="158"/>
                  </a:lnTo>
                  <a:lnTo>
                    <a:pt x="387" y="162"/>
                  </a:lnTo>
                  <a:lnTo>
                    <a:pt x="387" y="166"/>
                  </a:lnTo>
                  <a:lnTo>
                    <a:pt x="387" y="166"/>
                  </a:lnTo>
                  <a:lnTo>
                    <a:pt x="391" y="166"/>
                  </a:lnTo>
                  <a:lnTo>
                    <a:pt x="391" y="166"/>
                  </a:lnTo>
                  <a:lnTo>
                    <a:pt x="393" y="168"/>
                  </a:lnTo>
                  <a:lnTo>
                    <a:pt x="393" y="170"/>
                  </a:lnTo>
                  <a:lnTo>
                    <a:pt x="395" y="174"/>
                  </a:lnTo>
                  <a:lnTo>
                    <a:pt x="395" y="174"/>
                  </a:lnTo>
                  <a:lnTo>
                    <a:pt x="397" y="174"/>
                  </a:lnTo>
                  <a:lnTo>
                    <a:pt x="395" y="172"/>
                  </a:lnTo>
                  <a:lnTo>
                    <a:pt x="395" y="160"/>
                  </a:lnTo>
                  <a:lnTo>
                    <a:pt x="397" y="158"/>
                  </a:lnTo>
                  <a:lnTo>
                    <a:pt x="395" y="158"/>
                  </a:lnTo>
                  <a:lnTo>
                    <a:pt x="397" y="152"/>
                  </a:lnTo>
                  <a:lnTo>
                    <a:pt x="404" y="140"/>
                  </a:lnTo>
                  <a:lnTo>
                    <a:pt x="410" y="125"/>
                  </a:lnTo>
                  <a:lnTo>
                    <a:pt x="414" y="117"/>
                  </a:lnTo>
                  <a:lnTo>
                    <a:pt x="422" y="109"/>
                  </a:lnTo>
                  <a:lnTo>
                    <a:pt x="430" y="101"/>
                  </a:lnTo>
                  <a:lnTo>
                    <a:pt x="434" y="99"/>
                  </a:lnTo>
                  <a:lnTo>
                    <a:pt x="438" y="96"/>
                  </a:lnTo>
                  <a:lnTo>
                    <a:pt x="436" y="96"/>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96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SC</a:t>
              </a:r>
            </a:p>
          </p:txBody>
        </p:sp>
        <p:sp>
          <p:nvSpPr>
            <p:cNvPr id="76" name="Freeform 16">
              <a:extLst>
                <a:ext uri="{FF2B5EF4-FFF2-40B4-BE49-F238E27FC236}">
                  <a16:creationId xmlns:a16="http://schemas.microsoft.com/office/drawing/2014/main" id="{89F6EE23-5B25-7ACB-6EF9-921BC7B8EB44}"/>
                </a:ext>
              </a:extLst>
            </p:cNvPr>
            <p:cNvSpPr>
              <a:spLocks noEditPoints="1"/>
            </p:cNvSpPr>
            <p:nvPr/>
          </p:nvSpPr>
          <p:spPr bwMode="auto">
            <a:xfrm>
              <a:off x="5014" y="607"/>
              <a:ext cx="59" cy="92"/>
            </a:xfrm>
            <a:custGeom>
              <a:avLst/>
              <a:gdLst>
                <a:gd name="T0" fmla="*/ 41 w 59"/>
                <a:gd name="T1" fmla="*/ 86 h 92"/>
                <a:gd name="T2" fmla="*/ 39 w 59"/>
                <a:gd name="T3" fmla="*/ 86 h 92"/>
                <a:gd name="T4" fmla="*/ 37 w 59"/>
                <a:gd name="T5" fmla="*/ 90 h 92"/>
                <a:gd name="T6" fmla="*/ 43 w 59"/>
                <a:gd name="T7" fmla="*/ 92 h 92"/>
                <a:gd name="T8" fmla="*/ 43 w 59"/>
                <a:gd name="T9" fmla="*/ 88 h 92"/>
                <a:gd name="T10" fmla="*/ 47 w 59"/>
                <a:gd name="T11" fmla="*/ 45 h 92"/>
                <a:gd name="T12" fmla="*/ 47 w 59"/>
                <a:gd name="T13" fmla="*/ 49 h 92"/>
                <a:gd name="T14" fmla="*/ 47 w 59"/>
                <a:gd name="T15" fmla="*/ 51 h 92"/>
                <a:gd name="T16" fmla="*/ 47 w 59"/>
                <a:gd name="T17" fmla="*/ 57 h 92"/>
                <a:gd name="T18" fmla="*/ 49 w 59"/>
                <a:gd name="T19" fmla="*/ 53 h 92"/>
                <a:gd name="T20" fmla="*/ 59 w 59"/>
                <a:gd name="T21" fmla="*/ 49 h 92"/>
                <a:gd name="T22" fmla="*/ 57 w 59"/>
                <a:gd name="T23" fmla="*/ 39 h 92"/>
                <a:gd name="T24" fmla="*/ 53 w 59"/>
                <a:gd name="T25" fmla="*/ 35 h 92"/>
                <a:gd name="T26" fmla="*/ 53 w 59"/>
                <a:gd name="T27" fmla="*/ 41 h 92"/>
                <a:gd name="T28" fmla="*/ 53 w 59"/>
                <a:gd name="T29" fmla="*/ 45 h 92"/>
                <a:gd name="T30" fmla="*/ 51 w 59"/>
                <a:gd name="T31" fmla="*/ 49 h 92"/>
                <a:gd name="T32" fmla="*/ 51 w 59"/>
                <a:gd name="T33" fmla="*/ 53 h 92"/>
                <a:gd name="T34" fmla="*/ 53 w 59"/>
                <a:gd name="T35" fmla="*/ 55 h 92"/>
                <a:gd name="T36" fmla="*/ 57 w 59"/>
                <a:gd name="T37" fmla="*/ 51 h 92"/>
                <a:gd name="T38" fmla="*/ 53 w 59"/>
                <a:gd name="T39" fmla="*/ 30 h 92"/>
                <a:gd name="T40" fmla="*/ 53 w 59"/>
                <a:gd name="T41" fmla="*/ 28 h 92"/>
                <a:gd name="T42" fmla="*/ 47 w 59"/>
                <a:gd name="T43" fmla="*/ 22 h 92"/>
                <a:gd name="T44" fmla="*/ 43 w 59"/>
                <a:gd name="T45" fmla="*/ 20 h 92"/>
                <a:gd name="T46" fmla="*/ 41 w 59"/>
                <a:gd name="T47" fmla="*/ 14 h 92"/>
                <a:gd name="T48" fmla="*/ 41 w 59"/>
                <a:gd name="T49" fmla="*/ 12 h 92"/>
                <a:gd name="T50" fmla="*/ 39 w 59"/>
                <a:gd name="T51" fmla="*/ 12 h 92"/>
                <a:gd name="T52" fmla="*/ 35 w 59"/>
                <a:gd name="T53" fmla="*/ 4 h 92"/>
                <a:gd name="T54" fmla="*/ 23 w 59"/>
                <a:gd name="T55" fmla="*/ 2 h 92"/>
                <a:gd name="T56" fmla="*/ 2 w 59"/>
                <a:gd name="T57" fmla="*/ 14 h 92"/>
                <a:gd name="T58" fmla="*/ 8 w 59"/>
                <a:gd name="T59" fmla="*/ 39 h 92"/>
                <a:gd name="T60" fmla="*/ 14 w 59"/>
                <a:gd name="T61" fmla="*/ 59 h 92"/>
                <a:gd name="T62" fmla="*/ 14 w 59"/>
                <a:gd name="T63" fmla="*/ 71 h 92"/>
                <a:gd name="T64" fmla="*/ 23 w 59"/>
                <a:gd name="T65" fmla="*/ 78 h 92"/>
                <a:gd name="T66" fmla="*/ 41 w 59"/>
                <a:gd name="T67" fmla="*/ 67 h 92"/>
                <a:gd name="T68" fmla="*/ 43 w 59"/>
                <a:gd name="T69" fmla="*/ 65 h 92"/>
                <a:gd name="T70" fmla="*/ 43 w 59"/>
                <a:gd name="T71" fmla="*/ 49 h 92"/>
                <a:gd name="T72" fmla="*/ 43 w 59"/>
                <a:gd name="T73" fmla="*/ 43 h 92"/>
                <a:gd name="T74" fmla="*/ 41 w 59"/>
                <a:gd name="T75" fmla="*/ 37 h 92"/>
                <a:gd name="T76" fmla="*/ 39 w 59"/>
                <a:gd name="T77" fmla="*/ 32 h 92"/>
                <a:gd name="T78" fmla="*/ 43 w 59"/>
                <a:gd name="T79" fmla="*/ 35 h 92"/>
                <a:gd name="T80" fmla="*/ 43 w 59"/>
                <a:gd name="T81" fmla="*/ 28 h 92"/>
                <a:gd name="T82" fmla="*/ 41 w 59"/>
                <a:gd name="T83" fmla="*/ 26 h 92"/>
                <a:gd name="T84" fmla="*/ 41 w 59"/>
                <a:gd name="T85" fmla="*/ 20 h 92"/>
                <a:gd name="T86" fmla="*/ 43 w 59"/>
                <a:gd name="T87" fmla="*/ 26 h 92"/>
                <a:gd name="T88" fmla="*/ 47 w 59"/>
                <a:gd name="T89" fmla="*/ 26 h 92"/>
                <a:gd name="T90" fmla="*/ 49 w 59"/>
                <a:gd name="T91" fmla="*/ 24 h 92"/>
                <a:gd name="T92" fmla="*/ 49 w 59"/>
                <a:gd name="T93" fmla="*/ 32 h 92"/>
                <a:gd name="T94" fmla="*/ 53 w 59"/>
                <a:gd name="T9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 h="92">
                  <a:moveTo>
                    <a:pt x="43" y="88"/>
                  </a:moveTo>
                  <a:lnTo>
                    <a:pt x="41" y="88"/>
                  </a:lnTo>
                  <a:lnTo>
                    <a:pt x="41" y="86"/>
                  </a:lnTo>
                  <a:lnTo>
                    <a:pt x="41" y="86"/>
                  </a:lnTo>
                  <a:lnTo>
                    <a:pt x="41" y="84"/>
                  </a:lnTo>
                  <a:lnTo>
                    <a:pt x="41" y="84"/>
                  </a:lnTo>
                  <a:lnTo>
                    <a:pt x="39" y="84"/>
                  </a:lnTo>
                  <a:lnTo>
                    <a:pt x="39" y="86"/>
                  </a:lnTo>
                  <a:lnTo>
                    <a:pt x="41" y="86"/>
                  </a:lnTo>
                  <a:lnTo>
                    <a:pt x="39" y="88"/>
                  </a:lnTo>
                  <a:lnTo>
                    <a:pt x="39" y="88"/>
                  </a:lnTo>
                  <a:lnTo>
                    <a:pt x="37" y="90"/>
                  </a:lnTo>
                  <a:lnTo>
                    <a:pt x="39" y="90"/>
                  </a:lnTo>
                  <a:lnTo>
                    <a:pt x="39" y="92"/>
                  </a:lnTo>
                  <a:lnTo>
                    <a:pt x="41" y="92"/>
                  </a:lnTo>
                  <a:lnTo>
                    <a:pt x="43" y="92"/>
                  </a:lnTo>
                  <a:lnTo>
                    <a:pt x="43" y="90"/>
                  </a:lnTo>
                  <a:lnTo>
                    <a:pt x="43" y="90"/>
                  </a:lnTo>
                  <a:lnTo>
                    <a:pt x="43" y="90"/>
                  </a:lnTo>
                  <a:lnTo>
                    <a:pt x="43" y="88"/>
                  </a:lnTo>
                  <a:close/>
                  <a:moveTo>
                    <a:pt x="49" y="47"/>
                  </a:moveTo>
                  <a:lnTo>
                    <a:pt x="49" y="45"/>
                  </a:lnTo>
                  <a:lnTo>
                    <a:pt x="47" y="45"/>
                  </a:lnTo>
                  <a:lnTo>
                    <a:pt x="47" y="45"/>
                  </a:lnTo>
                  <a:lnTo>
                    <a:pt x="47" y="45"/>
                  </a:lnTo>
                  <a:lnTo>
                    <a:pt x="47" y="45"/>
                  </a:lnTo>
                  <a:lnTo>
                    <a:pt x="45" y="49"/>
                  </a:lnTo>
                  <a:lnTo>
                    <a:pt x="47" y="49"/>
                  </a:lnTo>
                  <a:lnTo>
                    <a:pt x="47" y="51"/>
                  </a:lnTo>
                  <a:lnTo>
                    <a:pt x="47" y="51"/>
                  </a:lnTo>
                  <a:lnTo>
                    <a:pt x="47" y="51"/>
                  </a:lnTo>
                  <a:lnTo>
                    <a:pt x="47" y="51"/>
                  </a:lnTo>
                  <a:lnTo>
                    <a:pt x="47" y="53"/>
                  </a:lnTo>
                  <a:lnTo>
                    <a:pt x="47" y="53"/>
                  </a:lnTo>
                  <a:lnTo>
                    <a:pt x="47" y="55"/>
                  </a:lnTo>
                  <a:lnTo>
                    <a:pt x="47" y="57"/>
                  </a:lnTo>
                  <a:lnTo>
                    <a:pt x="47" y="55"/>
                  </a:lnTo>
                  <a:lnTo>
                    <a:pt x="49" y="55"/>
                  </a:lnTo>
                  <a:lnTo>
                    <a:pt x="49" y="55"/>
                  </a:lnTo>
                  <a:lnTo>
                    <a:pt x="49" y="53"/>
                  </a:lnTo>
                  <a:lnTo>
                    <a:pt x="49" y="53"/>
                  </a:lnTo>
                  <a:lnTo>
                    <a:pt x="49" y="51"/>
                  </a:lnTo>
                  <a:lnTo>
                    <a:pt x="49" y="47"/>
                  </a:lnTo>
                  <a:close/>
                  <a:moveTo>
                    <a:pt x="59" y="49"/>
                  </a:moveTo>
                  <a:lnTo>
                    <a:pt x="59" y="49"/>
                  </a:lnTo>
                  <a:lnTo>
                    <a:pt x="59" y="47"/>
                  </a:lnTo>
                  <a:lnTo>
                    <a:pt x="59" y="45"/>
                  </a:lnTo>
                  <a:lnTo>
                    <a:pt x="57" y="39"/>
                  </a:lnTo>
                  <a:lnTo>
                    <a:pt x="57" y="35"/>
                  </a:lnTo>
                  <a:lnTo>
                    <a:pt x="57" y="32"/>
                  </a:lnTo>
                  <a:lnTo>
                    <a:pt x="55" y="32"/>
                  </a:lnTo>
                  <a:lnTo>
                    <a:pt x="53" y="35"/>
                  </a:lnTo>
                  <a:lnTo>
                    <a:pt x="53" y="37"/>
                  </a:lnTo>
                  <a:lnTo>
                    <a:pt x="53" y="37"/>
                  </a:lnTo>
                  <a:lnTo>
                    <a:pt x="53" y="41"/>
                  </a:lnTo>
                  <a:lnTo>
                    <a:pt x="53" y="41"/>
                  </a:lnTo>
                  <a:lnTo>
                    <a:pt x="53" y="43"/>
                  </a:lnTo>
                  <a:lnTo>
                    <a:pt x="51" y="43"/>
                  </a:lnTo>
                  <a:lnTo>
                    <a:pt x="51" y="43"/>
                  </a:lnTo>
                  <a:lnTo>
                    <a:pt x="53" y="45"/>
                  </a:lnTo>
                  <a:lnTo>
                    <a:pt x="53" y="45"/>
                  </a:lnTo>
                  <a:lnTo>
                    <a:pt x="53" y="47"/>
                  </a:lnTo>
                  <a:lnTo>
                    <a:pt x="51" y="47"/>
                  </a:lnTo>
                  <a:lnTo>
                    <a:pt x="51" y="49"/>
                  </a:lnTo>
                  <a:lnTo>
                    <a:pt x="53" y="49"/>
                  </a:lnTo>
                  <a:lnTo>
                    <a:pt x="53" y="51"/>
                  </a:lnTo>
                  <a:lnTo>
                    <a:pt x="53" y="51"/>
                  </a:lnTo>
                  <a:lnTo>
                    <a:pt x="51" y="53"/>
                  </a:lnTo>
                  <a:lnTo>
                    <a:pt x="51" y="55"/>
                  </a:lnTo>
                  <a:lnTo>
                    <a:pt x="51" y="55"/>
                  </a:lnTo>
                  <a:lnTo>
                    <a:pt x="51" y="55"/>
                  </a:lnTo>
                  <a:lnTo>
                    <a:pt x="53" y="55"/>
                  </a:lnTo>
                  <a:lnTo>
                    <a:pt x="53" y="53"/>
                  </a:lnTo>
                  <a:lnTo>
                    <a:pt x="55" y="53"/>
                  </a:lnTo>
                  <a:lnTo>
                    <a:pt x="55" y="51"/>
                  </a:lnTo>
                  <a:lnTo>
                    <a:pt x="57" y="51"/>
                  </a:lnTo>
                  <a:lnTo>
                    <a:pt x="59" y="51"/>
                  </a:lnTo>
                  <a:lnTo>
                    <a:pt x="59" y="49"/>
                  </a:lnTo>
                  <a:close/>
                  <a:moveTo>
                    <a:pt x="53" y="32"/>
                  </a:moveTo>
                  <a:lnTo>
                    <a:pt x="53" y="30"/>
                  </a:lnTo>
                  <a:lnTo>
                    <a:pt x="55" y="30"/>
                  </a:lnTo>
                  <a:lnTo>
                    <a:pt x="53" y="30"/>
                  </a:lnTo>
                  <a:lnTo>
                    <a:pt x="53" y="28"/>
                  </a:lnTo>
                  <a:lnTo>
                    <a:pt x="53" y="28"/>
                  </a:lnTo>
                  <a:lnTo>
                    <a:pt x="53" y="28"/>
                  </a:lnTo>
                  <a:lnTo>
                    <a:pt x="51" y="24"/>
                  </a:lnTo>
                  <a:lnTo>
                    <a:pt x="49" y="22"/>
                  </a:lnTo>
                  <a:lnTo>
                    <a:pt x="47" y="22"/>
                  </a:lnTo>
                  <a:lnTo>
                    <a:pt x="47" y="22"/>
                  </a:lnTo>
                  <a:lnTo>
                    <a:pt x="45" y="22"/>
                  </a:lnTo>
                  <a:lnTo>
                    <a:pt x="43" y="22"/>
                  </a:lnTo>
                  <a:lnTo>
                    <a:pt x="43" y="20"/>
                  </a:lnTo>
                  <a:lnTo>
                    <a:pt x="43" y="20"/>
                  </a:lnTo>
                  <a:lnTo>
                    <a:pt x="43" y="20"/>
                  </a:lnTo>
                  <a:lnTo>
                    <a:pt x="43" y="16"/>
                  </a:lnTo>
                  <a:lnTo>
                    <a:pt x="41" y="14"/>
                  </a:lnTo>
                  <a:lnTo>
                    <a:pt x="41" y="14"/>
                  </a:lnTo>
                  <a:lnTo>
                    <a:pt x="41" y="14"/>
                  </a:lnTo>
                  <a:lnTo>
                    <a:pt x="41" y="12"/>
                  </a:lnTo>
                  <a:lnTo>
                    <a:pt x="41" y="12"/>
                  </a:lnTo>
                  <a:lnTo>
                    <a:pt x="41" y="12"/>
                  </a:lnTo>
                  <a:lnTo>
                    <a:pt x="41" y="10"/>
                  </a:lnTo>
                  <a:lnTo>
                    <a:pt x="39" y="10"/>
                  </a:lnTo>
                  <a:lnTo>
                    <a:pt x="39" y="12"/>
                  </a:lnTo>
                  <a:lnTo>
                    <a:pt x="37" y="12"/>
                  </a:lnTo>
                  <a:lnTo>
                    <a:pt x="37" y="10"/>
                  </a:lnTo>
                  <a:lnTo>
                    <a:pt x="37" y="10"/>
                  </a:lnTo>
                  <a:lnTo>
                    <a:pt x="35" y="4"/>
                  </a:lnTo>
                  <a:lnTo>
                    <a:pt x="35" y="0"/>
                  </a:lnTo>
                  <a:lnTo>
                    <a:pt x="33" y="0"/>
                  </a:lnTo>
                  <a:lnTo>
                    <a:pt x="29" y="0"/>
                  </a:lnTo>
                  <a:lnTo>
                    <a:pt x="23" y="2"/>
                  </a:lnTo>
                  <a:lnTo>
                    <a:pt x="14" y="4"/>
                  </a:lnTo>
                  <a:lnTo>
                    <a:pt x="8" y="6"/>
                  </a:lnTo>
                  <a:lnTo>
                    <a:pt x="0" y="8"/>
                  </a:lnTo>
                  <a:lnTo>
                    <a:pt x="2" y="14"/>
                  </a:lnTo>
                  <a:lnTo>
                    <a:pt x="4" y="20"/>
                  </a:lnTo>
                  <a:lnTo>
                    <a:pt x="6" y="26"/>
                  </a:lnTo>
                  <a:lnTo>
                    <a:pt x="8" y="32"/>
                  </a:lnTo>
                  <a:lnTo>
                    <a:pt x="8" y="39"/>
                  </a:lnTo>
                  <a:lnTo>
                    <a:pt x="10" y="45"/>
                  </a:lnTo>
                  <a:lnTo>
                    <a:pt x="12" y="49"/>
                  </a:lnTo>
                  <a:lnTo>
                    <a:pt x="14" y="55"/>
                  </a:lnTo>
                  <a:lnTo>
                    <a:pt x="14" y="59"/>
                  </a:lnTo>
                  <a:lnTo>
                    <a:pt x="14" y="63"/>
                  </a:lnTo>
                  <a:lnTo>
                    <a:pt x="16" y="69"/>
                  </a:lnTo>
                  <a:lnTo>
                    <a:pt x="16" y="69"/>
                  </a:lnTo>
                  <a:lnTo>
                    <a:pt x="14" y="71"/>
                  </a:lnTo>
                  <a:lnTo>
                    <a:pt x="14" y="73"/>
                  </a:lnTo>
                  <a:lnTo>
                    <a:pt x="16" y="78"/>
                  </a:lnTo>
                  <a:lnTo>
                    <a:pt x="16" y="80"/>
                  </a:lnTo>
                  <a:lnTo>
                    <a:pt x="23" y="78"/>
                  </a:lnTo>
                  <a:lnTo>
                    <a:pt x="35" y="69"/>
                  </a:lnTo>
                  <a:lnTo>
                    <a:pt x="39" y="67"/>
                  </a:lnTo>
                  <a:lnTo>
                    <a:pt x="39" y="67"/>
                  </a:lnTo>
                  <a:lnTo>
                    <a:pt x="41" y="67"/>
                  </a:lnTo>
                  <a:lnTo>
                    <a:pt x="43" y="67"/>
                  </a:lnTo>
                  <a:lnTo>
                    <a:pt x="43" y="67"/>
                  </a:lnTo>
                  <a:lnTo>
                    <a:pt x="43" y="67"/>
                  </a:lnTo>
                  <a:lnTo>
                    <a:pt x="43" y="65"/>
                  </a:lnTo>
                  <a:lnTo>
                    <a:pt x="43" y="65"/>
                  </a:lnTo>
                  <a:lnTo>
                    <a:pt x="45" y="57"/>
                  </a:lnTo>
                  <a:lnTo>
                    <a:pt x="45" y="55"/>
                  </a:lnTo>
                  <a:lnTo>
                    <a:pt x="43" y="49"/>
                  </a:lnTo>
                  <a:lnTo>
                    <a:pt x="43" y="47"/>
                  </a:lnTo>
                  <a:lnTo>
                    <a:pt x="41" y="45"/>
                  </a:lnTo>
                  <a:lnTo>
                    <a:pt x="41" y="45"/>
                  </a:lnTo>
                  <a:lnTo>
                    <a:pt x="43" y="43"/>
                  </a:lnTo>
                  <a:lnTo>
                    <a:pt x="43" y="41"/>
                  </a:lnTo>
                  <a:lnTo>
                    <a:pt x="43" y="39"/>
                  </a:lnTo>
                  <a:lnTo>
                    <a:pt x="41" y="37"/>
                  </a:lnTo>
                  <a:lnTo>
                    <a:pt x="41" y="37"/>
                  </a:lnTo>
                  <a:lnTo>
                    <a:pt x="39" y="35"/>
                  </a:lnTo>
                  <a:lnTo>
                    <a:pt x="39" y="35"/>
                  </a:lnTo>
                  <a:lnTo>
                    <a:pt x="39" y="32"/>
                  </a:lnTo>
                  <a:lnTo>
                    <a:pt x="39" y="32"/>
                  </a:lnTo>
                  <a:lnTo>
                    <a:pt x="41" y="32"/>
                  </a:lnTo>
                  <a:lnTo>
                    <a:pt x="41" y="32"/>
                  </a:lnTo>
                  <a:lnTo>
                    <a:pt x="43" y="32"/>
                  </a:lnTo>
                  <a:lnTo>
                    <a:pt x="43" y="35"/>
                  </a:lnTo>
                  <a:lnTo>
                    <a:pt x="43" y="32"/>
                  </a:lnTo>
                  <a:lnTo>
                    <a:pt x="43" y="30"/>
                  </a:lnTo>
                  <a:lnTo>
                    <a:pt x="43" y="30"/>
                  </a:lnTo>
                  <a:lnTo>
                    <a:pt x="43" y="28"/>
                  </a:lnTo>
                  <a:lnTo>
                    <a:pt x="43" y="28"/>
                  </a:lnTo>
                  <a:lnTo>
                    <a:pt x="41" y="28"/>
                  </a:lnTo>
                  <a:lnTo>
                    <a:pt x="41" y="26"/>
                  </a:lnTo>
                  <a:lnTo>
                    <a:pt x="41" y="26"/>
                  </a:lnTo>
                  <a:lnTo>
                    <a:pt x="39" y="22"/>
                  </a:lnTo>
                  <a:lnTo>
                    <a:pt x="39" y="20"/>
                  </a:lnTo>
                  <a:lnTo>
                    <a:pt x="39" y="20"/>
                  </a:lnTo>
                  <a:lnTo>
                    <a:pt x="41" y="20"/>
                  </a:lnTo>
                  <a:lnTo>
                    <a:pt x="41" y="22"/>
                  </a:lnTo>
                  <a:lnTo>
                    <a:pt x="41" y="22"/>
                  </a:lnTo>
                  <a:lnTo>
                    <a:pt x="43" y="24"/>
                  </a:lnTo>
                  <a:lnTo>
                    <a:pt x="43" y="26"/>
                  </a:lnTo>
                  <a:lnTo>
                    <a:pt x="45" y="26"/>
                  </a:lnTo>
                  <a:lnTo>
                    <a:pt x="47" y="28"/>
                  </a:lnTo>
                  <a:lnTo>
                    <a:pt x="47" y="28"/>
                  </a:lnTo>
                  <a:lnTo>
                    <a:pt x="47" y="26"/>
                  </a:lnTo>
                  <a:lnTo>
                    <a:pt x="47" y="24"/>
                  </a:lnTo>
                  <a:lnTo>
                    <a:pt x="47" y="24"/>
                  </a:lnTo>
                  <a:lnTo>
                    <a:pt x="49" y="24"/>
                  </a:lnTo>
                  <a:lnTo>
                    <a:pt x="49" y="24"/>
                  </a:lnTo>
                  <a:lnTo>
                    <a:pt x="49" y="24"/>
                  </a:lnTo>
                  <a:lnTo>
                    <a:pt x="49" y="28"/>
                  </a:lnTo>
                  <a:lnTo>
                    <a:pt x="49" y="30"/>
                  </a:lnTo>
                  <a:lnTo>
                    <a:pt x="49" y="32"/>
                  </a:lnTo>
                  <a:lnTo>
                    <a:pt x="49" y="32"/>
                  </a:lnTo>
                  <a:lnTo>
                    <a:pt x="49" y="35"/>
                  </a:lnTo>
                  <a:lnTo>
                    <a:pt x="51" y="35"/>
                  </a:lnTo>
                  <a:lnTo>
                    <a:pt x="53" y="32"/>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endParaRPr>
            </a:p>
          </p:txBody>
        </p:sp>
        <p:sp>
          <p:nvSpPr>
            <p:cNvPr id="77" name="Freeform 17">
              <a:extLst>
                <a:ext uri="{FF2B5EF4-FFF2-40B4-BE49-F238E27FC236}">
                  <a16:creationId xmlns:a16="http://schemas.microsoft.com/office/drawing/2014/main" id="{2114FB5F-AC43-D8AE-1F01-1A69C219E9BD}"/>
                </a:ext>
              </a:extLst>
            </p:cNvPr>
            <p:cNvSpPr>
              <a:spLocks/>
            </p:cNvSpPr>
            <p:nvPr/>
          </p:nvSpPr>
          <p:spPr bwMode="auto">
            <a:xfrm>
              <a:off x="4317" y="685"/>
              <a:ext cx="510" cy="323"/>
            </a:xfrm>
            <a:custGeom>
              <a:avLst/>
              <a:gdLst>
                <a:gd name="T0" fmla="*/ 491 w 510"/>
                <a:gd name="T1" fmla="*/ 166 h 323"/>
                <a:gd name="T2" fmla="*/ 475 w 510"/>
                <a:gd name="T3" fmla="*/ 157 h 323"/>
                <a:gd name="T4" fmla="*/ 463 w 510"/>
                <a:gd name="T5" fmla="*/ 145 h 323"/>
                <a:gd name="T6" fmla="*/ 458 w 510"/>
                <a:gd name="T7" fmla="*/ 135 h 323"/>
                <a:gd name="T8" fmla="*/ 458 w 510"/>
                <a:gd name="T9" fmla="*/ 127 h 323"/>
                <a:gd name="T10" fmla="*/ 458 w 510"/>
                <a:gd name="T11" fmla="*/ 123 h 323"/>
                <a:gd name="T12" fmla="*/ 465 w 510"/>
                <a:gd name="T13" fmla="*/ 114 h 323"/>
                <a:gd name="T14" fmla="*/ 460 w 510"/>
                <a:gd name="T15" fmla="*/ 106 h 323"/>
                <a:gd name="T16" fmla="*/ 458 w 510"/>
                <a:gd name="T17" fmla="*/ 106 h 323"/>
                <a:gd name="T18" fmla="*/ 456 w 510"/>
                <a:gd name="T19" fmla="*/ 100 h 323"/>
                <a:gd name="T20" fmla="*/ 467 w 510"/>
                <a:gd name="T21" fmla="*/ 88 h 323"/>
                <a:gd name="T22" fmla="*/ 467 w 510"/>
                <a:gd name="T23" fmla="*/ 84 h 323"/>
                <a:gd name="T24" fmla="*/ 473 w 510"/>
                <a:gd name="T25" fmla="*/ 67 h 323"/>
                <a:gd name="T26" fmla="*/ 477 w 510"/>
                <a:gd name="T27" fmla="*/ 59 h 323"/>
                <a:gd name="T28" fmla="*/ 483 w 510"/>
                <a:gd name="T29" fmla="*/ 55 h 323"/>
                <a:gd name="T30" fmla="*/ 477 w 510"/>
                <a:gd name="T31" fmla="*/ 47 h 323"/>
                <a:gd name="T32" fmla="*/ 467 w 510"/>
                <a:gd name="T33" fmla="*/ 49 h 323"/>
                <a:gd name="T34" fmla="*/ 456 w 510"/>
                <a:gd name="T35" fmla="*/ 45 h 323"/>
                <a:gd name="T36" fmla="*/ 446 w 510"/>
                <a:gd name="T37" fmla="*/ 26 h 323"/>
                <a:gd name="T38" fmla="*/ 442 w 510"/>
                <a:gd name="T39" fmla="*/ 18 h 323"/>
                <a:gd name="T40" fmla="*/ 438 w 510"/>
                <a:gd name="T41" fmla="*/ 12 h 323"/>
                <a:gd name="T42" fmla="*/ 426 w 510"/>
                <a:gd name="T43" fmla="*/ 10 h 323"/>
                <a:gd name="T44" fmla="*/ 415 w 510"/>
                <a:gd name="T45" fmla="*/ 2 h 323"/>
                <a:gd name="T46" fmla="*/ 381 w 510"/>
                <a:gd name="T47" fmla="*/ 8 h 323"/>
                <a:gd name="T48" fmla="*/ 315 w 510"/>
                <a:gd name="T49" fmla="*/ 22 h 323"/>
                <a:gd name="T50" fmla="*/ 250 w 510"/>
                <a:gd name="T51" fmla="*/ 36 h 323"/>
                <a:gd name="T52" fmla="*/ 184 w 510"/>
                <a:gd name="T53" fmla="*/ 49 h 323"/>
                <a:gd name="T54" fmla="*/ 118 w 510"/>
                <a:gd name="T55" fmla="*/ 63 h 323"/>
                <a:gd name="T56" fmla="*/ 61 w 510"/>
                <a:gd name="T57" fmla="*/ 73 h 323"/>
                <a:gd name="T58" fmla="*/ 57 w 510"/>
                <a:gd name="T59" fmla="*/ 55 h 323"/>
                <a:gd name="T60" fmla="*/ 43 w 510"/>
                <a:gd name="T61" fmla="*/ 55 h 323"/>
                <a:gd name="T62" fmla="*/ 28 w 510"/>
                <a:gd name="T63" fmla="*/ 65 h 323"/>
                <a:gd name="T64" fmla="*/ 32 w 510"/>
                <a:gd name="T65" fmla="*/ 61 h 323"/>
                <a:gd name="T66" fmla="*/ 26 w 510"/>
                <a:gd name="T67" fmla="*/ 67 h 323"/>
                <a:gd name="T68" fmla="*/ 4 w 510"/>
                <a:gd name="T69" fmla="*/ 84 h 323"/>
                <a:gd name="T70" fmla="*/ 14 w 510"/>
                <a:gd name="T71" fmla="*/ 159 h 323"/>
                <a:gd name="T72" fmla="*/ 24 w 510"/>
                <a:gd name="T73" fmla="*/ 225 h 323"/>
                <a:gd name="T74" fmla="*/ 24 w 510"/>
                <a:gd name="T75" fmla="*/ 227 h 323"/>
                <a:gd name="T76" fmla="*/ 32 w 510"/>
                <a:gd name="T77" fmla="*/ 268 h 323"/>
                <a:gd name="T78" fmla="*/ 41 w 510"/>
                <a:gd name="T79" fmla="*/ 315 h 323"/>
                <a:gd name="T80" fmla="*/ 96 w 510"/>
                <a:gd name="T81" fmla="*/ 313 h 323"/>
                <a:gd name="T82" fmla="*/ 157 w 510"/>
                <a:gd name="T83" fmla="*/ 301 h 323"/>
                <a:gd name="T84" fmla="*/ 215 w 510"/>
                <a:gd name="T85" fmla="*/ 291 h 323"/>
                <a:gd name="T86" fmla="*/ 272 w 510"/>
                <a:gd name="T87" fmla="*/ 278 h 323"/>
                <a:gd name="T88" fmla="*/ 329 w 510"/>
                <a:gd name="T89" fmla="*/ 268 h 323"/>
                <a:gd name="T90" fmla="*/ 385 w 510"/>
                <a:gd name="T91" fmla="*/ 256 h 323"/>
                <a:gd name="T92" fmla="*/ 434 w 510"/>
                <a:gd name="T93" fmla="*/ 245 h 323"/>
                <a:gd name="T94" fmla="*/ 440 w 510"/>
                <a:gd name="T95" fmla="*/ 231 h 323"/>
                <a:gd name="T96" fmla="*/ 456 w 510"/>
                <a:gd name="T97" fmla="*/ 227 h 323"/>
                <a:gd name="T98" fmla="*/ 465 w 510"/>
                <a:gd name="T99" fmla="*/ 223 h 323"/>
                <a:gd name="T100" fmla="*/ 481 w 510"/>
                <a:gd name="T101" fmla="*/ 213 h 323"/>
                <a:gd name="T102" fmla="*/ 487 w 510"/>
                <a:gd name="T103" fmla="*/ 200 h 323"/>
                <a:gd name="T104" fmla="*/ 497 w 510"/>
                <a:gd name="T105" fmla="*/ 190 h 323"/>
                <a:gd name="T106" fmla="*/ 508 w 510"/>
                <a:gd name="T107" fmla="*/ 18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0" h="323">
                  <a:moveTo>
                    <a:pt x="506" y="176"/>
                  </a:moveTo>
                  <a:lnTo>
                    <a:pt x="499" y="174"/>
                  </a:lnTo>
                  <a:lnTo>
                    <a:pt x="495" y="170"/>
                  </a:lnTo>
                  <a:lnTo>
                    <a:pt x="493" y="168"/>
                  </a:lnTo>
                  <a:lnTo>
                    <a:pt x="493" y="166"/>
                  </a:lnTo>
                  <a:lnTo>
                    <a:pt x="491" y="166"/>
                  </a:lnTo>
                  <a:lnTo>
                    <a:pt x="487" y="163"/>
                  </a:lnTo>
                  <a:lnTo>
                    <a:pt x="485" y="159"/>
                  </a:lnTo>
                  <a:lnTo>
                    <a:pt x="483" y="157"/>
                  </a:lnTo>
                  <a:lnTo>
                    <a:pt x="479" y="159"/>
                  </a:lnTo>
                  <a:lnTo>
                    <a:pt x="477" y="159"/>
                  </a:lnTo>
                  <a:lnTo>
                    <a:pt x="475" y="157"/>
                  </a:lnTo>
                  <a:lnTo>
                    <a:pt x="475" y="155"/>
                  </a:lnTo>
                  <a:lnTo>
                    <a:pt x="473" y="147"/>
                  </a:lnTo>
                  <a:lnTo>
                    <a:pt x="471" y="145"/>
                  </a:lnTo>
                  <a:lnTo>
                    <a:pt x="465" y="145"/>
                  </a:lnTo>
                  <a:lnTo>
                    <a:pt x="463" y="145"/>
                  </a:lnTo>
                  <a:lnTo>
                    <a:pt x="463" y="145"/>
                  </a:lnTo>
                  <a:lnTo>
                    <a:pt x="460" y="143"/>
                  </a:lnTo>
                  <a:lnTo>
                    <a:pt x="460" y="141"/>
                  </a:lnTo>
                  <a:lnTo>
                    <a:pt x="460" y="141"/>
                  </a:lnTo>
                  <a:lnTo>
                    <a:pt x="460" y="139"/>
                  </a:lnTo>
                  <a:lnTo>
                    <a:pt x="458" y="137"/>
                  </a:lnTo>
                  <a:lnTo>
                    <a:pt x="458" y="135"/>
                  </a:lnTo>
                  <a:lnTo>
                    <a:pt x="458" y="135"/>
                  </a:lnTo>
                  <a:lnTo>
                    <a:pt x="458" y="133"/>
                  </a:lnTo>
                  <a:lnTo>
                    <a:pt x="458" y="133"/>
                  </a:lnTo>
                  <a:lnTo>
                    <a:pt x="458" y="131"/>
                  </a:lnTo>
                  <a:lnTo>
                    <a:pt x="458" y="127"/>
                  </a:lnTo>
                  <a:lnTo>
                    <a:pt x="458" y="127"/>
                  </a:lnTo>
                  <a:lnTo>
                    <a:pt x="456" y="127"/>
                  </a:lnTo>
                  <a:lnTo>
                    <a:pt x="456" y="127"/>
                  </a:lnTo>
                  <a:lnTo>
                    <a:pt x="456" y="125"/>
                  </a:lnTo>
                  <a:lnTo>
                    <a:pt x="458" y="125"/>
                  </a:lnTo>
                  <a:lnTo>
                    <a:pt x="458" y="125"/>
                  </a:lnTo>
                  <a:lnTo>
                    <a:pt x="458" y="123"/>
                  </a:lnTo>
                  <a:lnTo>
                    <a:pt x="460" y="123"/>
                  </a:lnTo>
                  <a:lnTo>
                    <a:pt x="463" y="123"/>
                  </a:lnTo>
                  <a:lnTo>
                    <a:pt x="463" y="120"/>
                  </a:lnTo>
                  <a:lnTo>
                    <a:pt x="463" y="118"/>
                  </a:lnTo>
                  <a:lnTo>
                    <a:pt x="463" y="116"/>
                  </a:lnTo>
                  <a:lnTo>
                    <a:pt x="465" y="114"/>
                  </a:lnTo>
                  <a:lnTo>
                    <a:pt x="465" y="114"/>
                  </a:lnTo>
                  <a:lnTo>
                    <a:pt x="465" y="112"/>
                  </a:lnTo>
                  <a:lnTo>
                    <a:pt x="465" y="110"/>
                  </a:lnTo>
                  <a:lnTo>
                    <a:pt x="463" y="108"/>
                  </a:lnTo>
                  <a:lnTo>
                    <a:pt x="460" y="106"/>
                  </a:lnTo>
                  <a:lnTo>
                    <a:pt x="460" y="106"/>
                  </a:lnTo>
                  <a:lnTo>
                    <a:pt x="460" y="106"/>
                  </a:lnTo>
                  <a:lnTo>
                    <a:pt x="460" y="106"/>
                  </a:lnTo>
                  <a:lnTo>
                    <a:pt x="458" y="106"/>
                  </a:lnTo>
                  <a:lnTo>
                    <a:pt x="458" y="106"/>
                  </a:lnTo>
                  <a:lnTo>
                    <a:pt x="458" y="106"/>
                  </a:lnTo>
                  <a:lnTo>
                    <a:pt x="458" y="106"/>
                  </a:lnTo>
                  <a:lnTo>
                    <a:pt x="458" y="104"/>
                  </a:lnTo>
                  <a:lnTo>
                    <a:pt x="458" y="104"/>
                  </a:lnTo>
                  <a:lnTo>
                    <a:pt x="456" y="104"/>
                  </a:lnTo>
                  <a:lnTo>
                    <a:pt x="456" y="102"/>
                  </a:lnTo>
                  <a:lnTo>
                    <a:pt x="456" y="102"/>
                  </a:lnTo>
                  <a:lnTo>
                    <a:pt x="456" y="100"/>
                  </a:lnTo>
                  <a:lnTo>
                    <a:pt x="458" y="98"/>
                  </a:lnTo>
                  <a:lnTo>
                    <a:pt x="458" y="96"/>
                  </a:lnTo>
                  <a:lnTo>
                    <a:pt x="460" y="96"/>
                  </a:lnTo>
                  <a:lnTo>
                    <a:pt x="463" y="94"/>
                  </a:lnTo>
                  <a:lnTo>
                    <a:pt x="463" y="94"/>
                  </a:lnTo>
                  <a:lnTo>
                    <a:pt x="467" y="88"/>
                  </a:lnTo>
                  <a:lnTo>
                    <a:pt x="467" y="88"/>
                  </a:lnTo>
                  <a:lnTo>
                    <a:pt x="467" y="88"/>
                  </a:lnTo>
                  <a:lnTo>
                    <a:pt x="465" y="86"/>
                  </a:lnTo>
                  <a:lnTo>
                    <a:pt x="467" y="86"/>
                  </a:lnTo>
                  <a:lnTo>
                    <a:pt x="467" y="86"/>
                  </a:lnTo>
                  <a:lnTo>
                    <a:pt x="467" y="84"/>
                  </a:lnTo>
                  <a:lnTo>
                    <a:pt x="467" y="84"/>
                  </a:lnTo>
                  <a:lnTo>
                    <a:pt x="469" y="84"/>
                  </a:lnTo>
                  <a:lnTo>
                    <a:pt x="471" y="77"/>
                  </a:lnTo>
                  <a:lnTo>
                    <a:pt x="473" y="71"/>
                  </a:lnTo>
                  <a:lnTo>
                    <a:pt x="473" y="69"/>
                  </a:lnTo>
                  <a:lnTo>
                    <a:pt x="473" y="67"/>
                  </a:lnTo>
                  <a:lnTo>
                    <a:pt x="473" y="67"/>
                  </a:lnTo>
                  <a:lnTo>
                    <a:pt x="477" y="61"/>
                  </a:lnTo>
                  <a:lnTo>
                    <a:pt x="477" y="61"/>
                  </a:lnTo>
                  <a:lnTo>
                    <a:pt x="477" y="59"/>
                  </a:lnTo>
                  <a:lnTo>
                    <a:pt x="477" y="59"/>
                  </a:lnTo>
                  <a:lnTo>
                    <a:pt x="477" y="59"/>
                  </a:lnTo>
                  <a:lnTo>
                    <a:pt x="477" y="59"/>
                  </a:lnTo>
                  <a:lnTo>
                    <a:pt x="479" y="57"/>
                  </a:lnTo>
                  <a:lnTo>
                    <a:pt x="479" y="57"/>
                  </a:lnTo>
                  <a:lnTo>
                    <a:pt x="481" y="57"/>
                  </a:lnTo>
                  <a:lnTo>
                    <a:pt x="483" y="55"/>
                  </a:lnTo>
                  <a:lnTo>
                    <a:pt x="483" y="55"/>
                  </a:lnTo>
                  <a:lnTo>
                    <a:pt x="481" y="53"/>
                  </a:lnTo>
                  <a:lnTo>
                    <a:pt x="479" y="51"/>
                  </a:lnTo>
                  <a:lnTo>
                    <a:pt x="479" y="51"/>
                  </a:lnTo>
                  <a:lnTo>
                    <a:pt x="477" y="49"/>
                  </a:lnTo>
                  <a:lnTo>
                    <a:pt x="477" y="49"/>
                  </a:lnTo>
                  <a:lnTo>
                    <a:pt x="477" y="47"/>
                  </a:lnTo>
                  <a:lnTo>
                    <a:pt x="475" y="49"/>
                  </a:lnTo>
                  <a:lnTo>
                    <a:pt x="475" y="49"/>
                  </a:lnTo>
                  <a:lnTo>
                    <a:pt x="475" y="49"/>
                  </a:lnTo>
                  <a:lnTo>
                    <a:pt x="473" y="49"/>
                  </a:lnTo>
                  <a:lnTo>
                    <a:pt x="471" y="47"/>
                  </a:lnTo>
                  <a:lnTo>
                    <a:pt x="467" y="49"/>
                  </a:lnTo>
                  <a:lnTo>
                    <a:pt x="465" y="49"/>
                  </a:lnTo>
                  <a:lnTo>
                    <a:pt x="465" y="49"/>
                  </a:lnTo>
                  <a:lnTo>
                    <a:pt x="463" y="47"/>
                  </a:lnTo>
                  <a:lnTo>
                    <a:pt x="460" y="47"/>
                  </a:lnTo>
                  <a:lnTo>
                    <a:pt x="458" y="47"/>
                  </a:lnTo>
                  <a:lnTo>
                    <a:pt x="456" y="45"/>
                  </a:lnTo>
                  <a:lnTo>
                    <a:pt x="454" y="45"/>
                  </a:lnTo>
                  <a:lnTo>
                    <a:pt x="448" y="36"/>
                  </a:lnTo>
                  <a:lnTo>
                    <a:pt x="448" y="36"/>
                  </a:lnTo>
                  <a:lnTo>
                    <a:pt x="446" y="34"/>
                  </a:lnTo>
                  <a:lnTo>
                    <a:pt x="446" y="30"/>
                  </a:lnTo>
                  <a:lnTo>
                    <a:pt x="446" y="26"/>
                  </a:lnTo>
                  <a:lnTo>
                    <a:pt x="444" y="24"/>
                  </a:lnTo>
                  <a:lnTo>
                    <a:pt x="444" y="22"/>
                  </a:lnTo>
                  <a:lnTo>
                    <a:pt x="444" y="22"/>
                  </a:lnTo>
                  <a:lnTo>
                    <a:pt x="444" y="20"/>
                  </a:lnTo>
                  <a:lnTo>
                    <a:pt x="444" y="18"/>
                  </a:lnTo>
                  <a:lnTo>
                    <a:pt x="442" y="18"/>
                  </a:lnTo>
                  <a:lnTo>
                    <a:pt x="440" y="18"/>
                  </a:lnTo>
                  <a:lnTo>
                    <a:pt x="440" y="16"/>
                  </a:lnTo>
                  <a:lnTo>
                    <a:pt x="440" y="14"/>
                  </a:lnTo>
                  <a:lnTo>
                    <a:pt x="440" y="14"/>
                  </a:lnTo>
                  <a:lnTo>
                    <a:pt x="440" y="12"/>
                  </a:lnTo>
                  <a:lnTo>
                    <a:pt x="438" y="12"/>
                  </a:lnTo>
                  <a:lnTo>
                    <a:pt x="438" y="12"/>
                  </a:lnTo>
                  <a:lnTo>
                    <a:pt x="434" y="10"/>
                  </a:lnTo>
                  <a:lnTo>
                    <a:pt x="432" y="10"/>
                  </a:lnTo>
                  <a:lnTo>
                    <a:pt x="432" y="10"/>
                  </a:lnTo>
                  <a:lnTo>
                    <a:pt x="428" y="12"/>
                  </a:lnTo>
                  <a:lnTo>
                    <a:pt x="426" y="10"/>
                  </a:lnTo>
                  <a:lnTo>
                    <a:pt x="426" y="8"/>
                  </a:lnTo>
                  <a:lnTo>
                    <a:pt x="424" y="6"/>
                  </a:lnTo>
                  <a:lnTo>
                    <a:pt x="424" y="4"/>
                  </a:lnTo>
                  <a:lnTo>
                    <a:pt x="422" y="4"/>
                  </a:lnTo>
                  <a:lnTo>
                    <a:pt x="417" y="4"/>
                  </a:lnTo>
                  <a:lnTo>
                    <a:pt x="415" y="2"/>
                  </a:lnTo>
                  <a:lnTo>
                    <a:pt x="415" y="0"/>
                  </a:lnTo>
                  <a:lnTo>
                    <a:pt x="415" y="0"/>
                  </a:lnTo>
                  <a:lnTo>
                    <a:pt x="413" y="2"/>
                  </a:lnTo>
                  <a:lnTo>
                    <a:pt x="403" y="4"/>
                  </a:lnTo>
                  <a:lnTo>
                    <a:pt x="391" y="6"/>
                  </a:lnTo>
                  <a:lnTo>
                    <a:pt x="381" y="8"/>
                  </a:lnTo>
                  <a:lnTo>
                    <a:pt x="370" y="10"/>
                  </a:lnTo>
                  <a:lnTo>
                    <a:pt x="358" y="14"/>
                  </a:lnTo>
                  <a:lnTo>
                    <a:pt x="348" y="16"/>
                  </a:lnTo>
                  <a:lnTo>
                    <a:pt x="338" y="18"/>
                  </a:lnTo>
                  <a:lnTo>
                    <a:pt x="325" y="20"/>
                  </a:lnTo>
                  <a:lnTo>
                    <a:pt x="315" y="22"/>
                  </a:lnTo>
                  <a:lnTo>
                    <a:pt x="305" y="24"/>
                  </a:lnTo>
                  <a:lnTo>
                    <a:pt x="293" y="26"/>
                  </a:lnTo>
                  <a:lnTo>
                    <a:pt x="282" y="30"/>
                  </a:lnTo>
                  <a:lnTo>
                    <a:pt x="272" y="32"/>
                  </a:lnTo>
                  <a:lnTo>
                    <a:pt x="260" y="34"/>
                  </a:lnTo>
                  <a:lnTo>
                    <a:pt x="250" y="36"/>
                  </a:lnTo>
                  <a:lnTo>
                    <a:pt x="239" y="38"/>
                  </a:lnTo>
                  <a:lnTo>
                    <a:pt x="227" y="41"/>
                  </a:lnTo>
                  <a:lnTo>
                    <a:pt x="217" y="43"/>
                  </a:lnTo>
                  <a:lnTo>
                    <a:pt x="207" y="45"/>
                  </a:lnTo>
                  <a:lnTo>
                    <a:pt x="194" y="47"/>
                  </a:lnTo>
                  <a:lnTo>
                    <a:pt x="184" y="49"/>
                  </a:lnTo>
                  <a:lnTo>
                    <a:pt x="174" y="51"/>
                  </a:lnTo>
                  <a:lnTo>
                    <a:pt x="161" y="53"/>
                  </a:lnTo>
                  <a:lnTo>
                    <a:pt x="151" y="55"/>
                  </a:lnTo>
                  <a:lnTo>
                    <a:pt x="141" y="59"/>
                  </a:lnTo>
                  <a:lnTo>
                    <a:pt x="129" y="61"/>
                  </a:lnTo>
                  <a:lnTo>
                    <a:pt x="118" y="63"/>
                  </a:lnTo>
                  <a:lnTo>
                    <a:pt x="108" y="65"/>
                  </a:lnTo>
                  <a:lnTo>
                    <a:pt x="96" y="67"/>
                  </a:lnTo>
                  <a:lnTo>
                    <a:pt x="86" y="69"/>
                  </a:lnTo>
                  <a:lnTo>
                    <a:pt x="75" y="71"/>
                  </a:lnTo>
                  <a:lnTo>
                    <a:pt x="63" y="73"/>
                  </a:lnTo>
                  <a:lnTo>
                    <a:pt x="61" y="73"/>
                  </a:lnTo>
                  <a:lnTo>
                    <a:pt x="61" y="69"/>
                  </a:lnTo>
                  <a:lnTo>
                    <a:pt x="59" y="67"/>
                  </a:lnTo>
                  <a:lnTo>
                    <a:pt x="59" y="63"/>
                  </a:lnTo>
                  <a:lnTo>
                    <a:pt x="59" y="61"/>
                  </a:lnTo>
                  <a:lnTo>
                    <a:pt x="57" y="57"/>
                  </a:lnTo>
                  <a:lnTo>
                    <a:pt x="57" y="55"/>
                  </a:lnTo>
                  <a:lnTo>
                    <a:pt x="57" y="51"/>
                  </a:lnTo>
                  <a:lnTo>
                    <a:pt x="57" y="49"/>
                  </a:lnTo>
                  <a:lnTo>
                    <a:pt x="55" y="45"/>
                  </a:lnTo>
                  <a:lnTo>
                    <a:pt x="55" y="45"/>
                  </a:lnTo>
                  <a:lnTo>
                    <a:pt x="47" y="51"/>
                  </a:lnTo>
                  <a:lnTo>
                    <a:pt x="43" y="55"/>
                  </a:lnTo>
                  <a:lnTo>
                    <a:pt x="41" y="55"/>
                  </a:lnTo>
                  <a:lnTo>
                    <a:pt x="37" y="59"/>
                  </a:lnTo>
                  <a:lnTo>
                    <a:pt x="34" y="61"/>
                  </a:lnTo>
                  <a:lnTo>
                    <a:pt x="30" y="65"/>
                  </a:lnTo>
                  <a:lnTo>
                    <a:pt x="28" y="65"/>
                  </a:lnTo>
                  <a:lnTo>
                    <a:pt x="28" y="65"/>
                  </a:lnTo>
                  <a:lnTo>
                    <a:pt x="28" y="63"/>
                  </a:lnTo>
                  <a:lnTo>
                    <a:pt x="30" y="63"/>
                  </a:lnTo>
                  <a:lnTo>
                    <a:pt x="30" y="63"/>
                  </a:lnTo>
                  <a:lnTo>
                    <a:pt x="32" y="61"/>
                  </a:lnTo>
                  <a:lnTo>
                    <a:pt x="32" y="61"/>
                  </a:lnTo>
                  <a:lnTo>
                    <a:pt x="32" y="61"/>
                  </a:lnTo>
                  <a:lnTo>
                    <a:pt x="30" y="59"/>
                  </a:lnTo>
                  <a:lnTo>
                    <a:pt x="30" y="61"/>
                  </a:lnTo>
                  <a:lnTo>
                    <a:pt x="28" y="63"/>
                  </a:lnTo>
                  <a:lnTo>
                    <a:pt x="26" y="63"/>
                  </a:lnTo>
                  <a:lnTo>
                    <a:pt x="26" y="67"/>
                  </a:lnTo>
                  <a:lnTo>
                    <a:pt x="26" y="67"/>
                  </a:lnTo>
                  <a:lnTo>
                    <a:pt x="24" y="67"/>
                  </a:lnTo>
                  <a:lnTo>
                    <a:pt x="22" y="69"/>
                  </a:lnTo>
                  <a:lnTo>
                    <a:pt x="12" y="79"/>
                  </a:lnTo>
                  <a:lnTo>
                    <a:pt x="6" y="82"/>
                  </a:lnTo>
                  <a:lnTo>
                    <a:pt x="6" y="82"/>
                  </a:lnTo>
                  <a:lnTo>
                    <a:pt x="4" y="84"/>
                  </a:lnTo>
                  <a:lnTo>
                    <a:pt x="0" y="86"/>
                  </a:lnTo>
                  <a:lnTo>
                    <a:pt x="2" y="94"/>
                  </a:lnTo>
                  <a:lnTo>
                    <a:pt x="6" y="116"/>
                  </a:lnTo>
                  <a:lnTo>
                    <a:pt x="10" y="137"/>
                  </a:lnTo>
                  <a:lnTo>
                    <a:pt x="12" y="149"/>
                  </a:lnTo>
                  <a:lnTo>
                    <a:pt x="14" y="159"/>
                  </a:lnTo>
                  <a:lnTo>
                    <a:pt x="16" y="172"/>
                  </a:lnTo>
                  <a:lnTo>
                    <a:pt x="18" y="182"/>
                  </a:lnTo>
                  <a:lnTo>
                    <a:pt x="20" y="192"/>
                  </a:lnTo>
                  <a:lnTo>
                    <a:pt x="20" y="204"/>
                  </a:lnTo>
                  <a:lnTo>
                    <a:pt x="22" y="215"/>
                  </a:lnTo>
                  <a:lnTo>
                    <a:pt x="24" y="225"/>
                  </a:lnTo>
                  <a:lnTo>
                    <a:pt x="24" y="225"/>
                  </a:lnTo>
                  <a:lnTo>
                    <a:pt x="24" y="225"/>
                  </a:lnTo>
                  <a:lnTo>
                    <a:pt x="24" y="225"/>
                  </a:lnTo>
                  <a:lnTo>
                    <a:pt x="24" y="225"/>
                  </a:lnTo>
                  <a:lnTo>
                    <a:pt x="24" y="227"/>
                  </a:lnTo>
                  <a:lnTo>
                    <a:pt x="24" y="227"/>
                  </a:lnTo>
                  <a:lnTo>
                    <a:pt x="24" y="227"/>
                  </a:lnTo>
                  <a:lnTo>
                    <a:pt x="24" y="227"/>
                  </a:lnTo>
                  <a:lnTo>
                    <a:pt x="28" y="243"/>
                  </a:lnTo>
                  <a:lnTo>
                    <a:pt x="30" y="252"/>
                  </a:lnTo>
                  <a:lnTo>
                    <a:pt x="30" y="260"/>
                  </a:lnTo>
                  <a:lnTo>
                    <a:pt x="32" y="268"/>
                  </a:lnTo>
                  <a:lnTo>
                    <a:pt x="34" y="276"/>
                  </a:lnTo>
                  <a:lnTo>
                    <a:pt x="37" y="284"/>
                  </a:lnTo>
                  <a:lnTo>
                    <a:pt x="37" y="295"/>
                  </a:lnTo>
                  <a:lnTo>
                    <a:pt x="39" y="301"/>
                  </a:lnTo>
                  <a:lnTo>
                    <a:pt x="41" y="309"/>
                  </a:lnTo>
                  <a:lnTo>
                    <a:pt x="41" y="315"/>
                  </a:lnTo>
                  <a:lnTo>
                    <a:pt x="43" y="323"/>
                  </a:lnTo>
                  <a:lnTo>
                    <a:pt x="53" y="321"/>
                  </a:lnTo>
                  <a:lnTo>
                    <a:pt x="63" y="319"/>
                  </a:lnTo>
                  <a:lnTo>
                    <a:pt x="75" y="317"/>
                  </a:lnTo>
                  <a:lnTo>
                    <a:pt x="86" y="315"/>
                  </a:lnTo>
                  <a:lnTo>
                    <a:pt x="96" y="313"/>
                  </a:lnTo>
                  <a:lnTo>
                    <a:pt x="106" y="311"/>
                  </a:lnTo>
                  <a:lnTo>
                    <a:pt x="118" y="309"/>
                  </a:lnTo>
                  <a:lnTo>
                    <a:pt x="129" y="307"/>
                  </a:lnTo>
                  <a:lnTo>
                    <a:pt x="139" y="305"/>
                  </a:lnTo>
                  <a:lnTo>
                    <a:pt x="147" y="303"/>
                  </a:lnTo>
                  <a:lnTo>
                    <a:pt x="157" y="301"/>
                  </a:lnTo>
                  <a:lnTo>
                    <a:pt x="168" y="301"/>
                  </a:lnTo>
                  <a:lnTo>
                    <a:pt x="176" y="299"/>
                  </a:lnTo>
                  <a:lnTo>
                    <a:pt x="186" y="297"/>
                  </a:lnTo>
                  <a:lnTo>
                    <a:pt x="196" y="295"/>
                  </a:lnTo>
                  <a:lnTo>
                    <a:pt x="204" y="293"/>
                  </a:lnTo>
                  <a:lnTo>
                    <a:pt x="215" y="291"/>
                  </a:lnTo>
                  <a:lnTo>
                    <a:pt x="223" y="288"/>
                  </a:lnTo>
                  <a:lnTo>
                    <a:pt x="233" y="286"/>
                  </a:lnTo>
                  <a:lnTo>
                    <a:pt x="243" y="284"/>
                  </a:lnTo>
                  <a:lnTo>
                    <a:pt x="252" y="282"/>
                  </a:lnTo>
                  <a:lnTo>
                    <a:pt x="262" y="280"/>
                  </a:lnTo>
                  <a:lnTo>
                    <a:pt x="272" y="278"/>
                  </a:lnTo>
                  <a:lnTo>
                    <a:pt x="280" y="278"/>
                  </a:lnTo>
                  <a:lnTo>
                    <a:pt x="291" y="276"/>
                  </a:lnTo>
                  <a:lnTo>
                    <a:pt x="301" y="274"/>
                  </a:lnTo>
                  <a:lnTo>
                    <a:pt x="309" y="272"/>
                  </a:lnTo>
                  <a:lnTo>
                    <a:pt x="319" y="270"/>
                  </a:lnTo>
                  <a:lnTo>
                    <a:pt x="329" y="268"/>
                  </a:lnTo>
                  <a:lnTo>
                    <a:pt x="338" y="266"/>
                  </a:lnTo>
                  <a:lnTo>
                    <a:pt x="348" y="264"/>
                  </a:lnTo>
                  <a:lnTo>
                    <a:pt x="356" y="262"/>
                  </a:lnTo>
                  <a:lnTo>
                    <a:pt x="366" y="260"/>
                  </a:lnTo>
                  <a:lnTo>
                    <a:pt x="377" y="258"/>
                  </a:lnTo>
                  <a:lnTo>
                    <a:pt x="385" y="256"/>
                  </a:lnTo>
                  <a:lnTo>
                    <a:pt x="395" y="254"/>
                  </a:lnTo>
                  <a:lnTo>
                    <a:pt x="405" y="252"/>
                  </a:lnTo>
                  <a:lnTo>
                    <a:pt x="413" y="250"/>
                  </a:lnTo>
                  <a:lnTo>
                    <a:pt x="424" y="248"/>
                  </a:lnTo>
                  <a:lnTo>
                    <a:pt x="432" y="245"/>
                  </a:lnTo>
                  <a:lnTo>
                    <a:pt x="434" y="245"/>
                  </a:lnTo>
                  <a:lnTo>
                    <a:pt x="434" y="245"/>
                  </a:lnTo>
                  <a:lnTo>
                    <a:pt x="434" y="241"/>
                  </a:lnTo>
                  <a:lnTo>
                    <a:pt x="436" y="237"/>
                  </a:lnTo>
                  <a:lnTo>
                    <a:pt x="438" y="233"/>
                  </a:lnTo>
                  <a:lnTo>
                    <a:pt x="438" y="233"/>
                  </a:lnTo>
                  <a:lnTo>
                    <a:pt x="440" y="231"/>
                  </a:lnTo>
                  <a:lnTo>
                    <a:pt x="442" y="229"/>
                  </a:lnTo>
                  <a:lnTo>
                    <a:pt x="444" y="229"/>
                  </a:lnTo>
                  <a:lnTo>
                    <a:pt x="446" y="227"/>
                  </a:lnTo>
                  <a:lnTo>
                    <a:pt x="448" y="227"/>
                  </a:lnTo>
                  <a:lnTo>
                    <a:pt x="452" y="227"/>
                  </a:lnTo>
                  <a:lnTo>
                    <a:pt x="456" y="227"/>
                  </a:lnTo>
                  <a:lnTo>
                    <a:pt x="458" y="227"/>
                  </a:lnTo>
                  <a:lnTo>
                    <a:pt x="460" y="229"/>
                  </a:lnTo>
                  <a:lnTo>
                    <a:pt x="460" y="229"/>
                  </a:lnTo>
                  <a:lnTo>
                    <a:pt x="463" y="225"/>
                  </a:lnTo>
                  <a:lnTo>
                    <a:pt x="463" y="225"/>
                  </a:lnTo>
                  <a:lnTo>
                    <a:pt x="465" y="223"/>
                  </a:lnTo>
                  <a:lnTo>
                    <a:pt x="469" y="221"/>
                  </a:lnTo>
                  <a:lnTo>
                    <a:pt x="471" y="221"/>
                  </a:lnTo>
                  <a:lnTo>
                    <a:pt x="473" y="219"/>
                  </a:lnTo>
                  <a:lnTo>
                    <a:pt x="477" y="217"/>
                  </a:lnTo>
                  <a:lnTo>
                    <a:pt x="481" y="215"/>
                  </a:lnTo>
                  <a:lnTo>
                    <a:pt x="481" y="213"/>
                  </a:lnTo>
                  <a:lnTo>
                    <a:pt x="481" y="211"/>
                  </a:lnTo>
                  <a:lnTo>
                    <a:pt x="481" y="209"/>
                  </a:lnTo>
                  <a:lnTo>
                    <a:pt x="481" y="207"/>
                  </a:lnTo>
                  <a:lnTo>
                    <a:pt x="483" y="204"/>
                  </a:lnTo>
                  <a:lnTo>
                    <a:pt x="485" y="204"/>
                  </a:lnTo>
                  <a:lnTo>
                    <a:pt x="487" y="200"/>
                  </a:lnTo>
                  <a:lnTo>
                    <a:pt x="489" y="200"/>
                  </a:lnTo>
                  <a:lnTo>
                    <a:pt x="491" y="198"/>
                  </a:lnTo>
                  <a:lnTo>
                    <a:pt x="491" y="196"/>
                  </a:lnTo>
                  <a:lnTo>
                    <a:pt x="493" y="192"/>
                  </a:lnTo>
                  <a:lnTo>
                    <a:pt x="495" y="192"/>
                  </a:lnTo>
                  <a:lnTo>
                    <a:pt x="497" y="190"/>
                  </a:lnTo>
                  <a:lnTo>
                    <a:pt x="499" y="190"/>
                  </a:lnTo>
                  <a:lnTo>
                    <a:pt x="501" y="186"/>
                  </a:lnTo>
                  <a:lnTo>
                    <a:pt x="501" y="186"/>
                  </a:lnTo>
                  <a:lnTo>
                    <a:pt x="504" y="184"/>
                  </a:lnTo>
                  <a:lnTo>
                    <a:pt x="506" y="184"/>
                  </a:lnTo>
                  <a:lnTo>
                    <a:pt x="508" y="182"/>
                  </a:lnTo>
                  <a:lnTo>
                    <a:pt x="510" y="180"/>
                  </a:lnTo>
                  <a:lnTo>
                    <a:pt x="508" y="178"/>
                  </a:lnTo>
                  <a:lnTo>
                    <a:pt x="506" y="176"/>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PA</a:t>
              </a:r>
            </a:p>
          </p:txBody>
        </p:sp>
        <p:sp>
          <p:nvSpPr>
            <p:cNvPr id="78" name="Freeform 18">
              <a:extLst>
                <a:ext uri="{FF2B5EF4-FFF2-40B4-BE49-F238E27FC236}">
                  <a16:creationId xmlns:a16="http://schemas.microsoft.com/office/drawing/2014/main" id="{D7305448-4EA9-8278-C875-6AFAE59E9BB7}"/>
                </a:ext>
              </a:extLst>
            </p:cNvPr>
            <p:cNvSpPr>
              <a:spLocks/>
            </p:cNvSpPr>
            <p:nvPr/>
          </p:nvSpPr>
          <p:spPr bwMode="auto">
            <a:xfrm>
              <a:off x="747" y="264"/>
              <a:ext cx="692" cy="537"/>
            </a:xfrm>
            <a:custGeom>
              <a:avLst/>
              <a:gdLst>
                <a:gd name="T0" fmla="*/ 205 w 692"/>
                <a:gd name="T1" fmla="*/ 31 h 537"/>
                <a:gd name="T2" fmla="*/ 209 w 692"/>
                <a:gd name="T3" fmla="*/ 58 h 537"/>
                <a:gd name="T4" fmla="*/ 211 w 692"/>
                <a:gd name="T5" fmla="*/ 80 h 537"/>
                <a:gd name="T6" fmla="*/ 246 w 692"/>
                <a:gd name="T7" fmla="*/ 95 h 537"/>
                <a:gd name="T8" fmla="*/ 328 w 692"/>
                <a:gd name="T9" fmla="*/ 99 h 537"/>
                <a:gd name="T10" fmla="*/ 344 w 692"/>
                <a:gd name="T11" fmla="*/ 105 h 537"/>
                <a:gd name="T12" fmla="*/ 369 w 692"/>
                <a:gd name="T13" fmla="*/ 103 h 537"/>
                <a:gd name="T14" fmla="*/ 397 w 692"/>
                <a:gd name="T15" fmla="*/ 107 h 537"/>
                <a:gd name="T16" fmla="*/ 449 w 692"/>
                <a:gd name="T17" fmla="*/ 101 h 537"/>
                <a:gd name="T18" fmla="*/ 504 w 692"/>
                <a:gd name="T19" fmla="*/ 97 h 537"/>
                <a:gd name="T20" fmla="*/ 606 w 692"/>
                <a:gd name="T21" fmla="*/ 115 h 537"/>
                <a:gd name="T22" fmla="*/ 672 w 692"/>
                <a:gd name="T23" fmla="*/ 142 h 537"/>
                <a:gd name="T24" fmla="*/ 692 w 692"/>
                <a:gd name="T25" fmla="*/ 166 h 537"/>
                <a:gd name="T26" fmla="*/ 678 w 692"/>
                <a:gd name="T27" fmla="*/ 189 h 537"/>
                <a:gd name="T28" fmla="*/ 653 w 692"/>
                <a:gd name="T29" fmla="*/ 226 h 537"/>
                <a:gd name="T30" fmla="*/ 641 w 692"/>
                <a:gd name="T31" fmla="*/ 250 h 537"/>
                <a:gd name="T32" fmla="*/ 621 w 692"/>
                <a:gd name="T33" fmla="*/ 273 h 537"/>
                <a:gd name="T34" fmla="*/ 614 w 692"/>
                <a:gd name="T35" fmla="*/ 287 h 537"/>
                <a:gd name="T36" fmla="*/ 621 w 692"/>
                <a:gd name="T37" fmla="*/ 298 h 537"/>
                <a:gd name="T38" fmla="*/ 631 w 692"/>
                <a:gd name="T39" fmla="*/ 304 h 537"/>
                <a:gd name="T40" fmla="*/ 635 w 692"/>
                <a:gd name="T41" fmla="*/ 314 h 537"/>
                <a:gd name="T42" fmla="*/ 631 w 692"/>
                <a:gd name="T43" fmla="*/ 328 h 537"/>
                <a:gd name="T44" fmla="*/ 619 w 692"/>
                <a:gd name="T45" fmla="*/ 347 h 537"/>
                <a:gd name="T46" fmla="*/ 608 w 692"/>
                <a:gd name="T47" fmla="*/ 421 h 537"/>
                <a:gd name="T48" fmla="*/ 590 w 692"/>
                <a:gd name="T49" fmla="*/ 537 h 537"/>
                <a:gd name="T50" fmla="*/ 426 w 692"/>
                <a:gd name="T51" fmla="*/ 511 h 537"/>
                <a:gd name="T52" fmla="*/ 223 w 692"/>
                <a:gd name="T53" fmla="*/ 474 h 537"/>
                <a:gd name="T54" fmla="*/ 14 w 692"/>
                <a:gd name="T55" fmla="*/ 429 h 537"/>
                <a:gd name="T56" fmla="*/ 2 w 692"/>
                <a:gd name="T57" fmla="*/ 396 h 537"/>
                <a:gd name="T58" fmla="*/ 4 w 692"/>
                <a:gd name="T59" fmla="*/ 378 h 537"/>
                <a:gd name="T60" fmla="*/ 8 w 692"/>
                <a:gd name="T61" fmla="*/ 353 h 537"/>
                <a:gd name="T62" fmla="*/ 10 w 692"/>
                <a:gd name="T63" fmla="*/ 326 h 537"/>
                <a:gd name="T64" fmla="*/ 29 w 692"/>
                <a:gd name="T65" fmla="*/ 289 h 537"/>
                <a:gd name="T66" fmla="*/ 35 w 692"/>
                <a:gd name="T67" fmla="*/ 289 h 537"/>
                <a:gd name="T68" fmla="*/ 43 w 692"/>
                <a:gd name="T69" fmla="*/ 283 h 537"/>
                <a:gd name="T70" fmla="*/ 47 w 692"/>
                <a:gd name="T71" fmla="*/ 279 h 537"/>
                <a:gd name="T72" fmla="*/ 49 w 692"/>
                <a:gd name="T73" fmla="*/ 261 h 537"/>
                <a:gd name="T74" fmla="*/ 57 w 692"/>
                <a:gd name="T75" fmla="*/ 255 h 537"/>
                <a:gd name="T76" fmla="*/ 53 w 692"/>
                <a:gd name="T77" fmla="*/ 255 h 537"/>
                <a:gd name="T78" fmla="*/ 66 w 692"/>
                <a:gd name="T79" fmla="*/ 220 h 537"/>
                <a:gd name="T80" fmla="*/ 72 w 692"/>
                <a:gd name="T81" fmla="*/ 193 h 537"/>
                <a:gd name="T82" fmla="*/ 78 w 692"/>
                <a:gd name="T83" fmla="*/ 181 h 537"/>
                <a:gd name="T84" fmla="*/ 84 w 692"/>
                <a:gd name="T85" fmla="*/ 162 h 537"/>
                <a:gd name="T86" fmla="*/ 90 w 692"/>
                <a:gd name="T87" fmla="*/ 138 h 537"/>
                <a:gd name="T88" fmla="*/ 98 w 692"/>
                <a:gd name="T89" fmla="*/ 119 h 537"/>
                <a:gd name="T90" fmla="*/ 104 w 692"/>
                <a:gd name="T91" fmla="*/ 99 h 537"/>
                <a:gd name="T92" fmla="*/ 104 w 692"/>
                <a:gd name="T93" fmla="*/ 89 h 537"/>
                <a:gd name="T94" fmla="*/ 111 w 692"/>
                <a:gd name="T95" fmla="*/ 84 h 537"/>
                <a:gd name="T96" fmla="*/ 113 w 692"/>
                <a:gd name="T97" fmla="*/ 76 h 537"/>
                <a:gd name="T98" fmla="*/ 115 w 692"/>
                <a:gd name="T99" fmla="*/ 68 h 537"/>
                <a:gd name="T100" fmla="*/ 123 w 692"/>
                <a:gd name="T101" fmla="*/ 56 h 537"/>
                <a:gd name="T102" fmla="*/ 117 w 692"/>
                <a:gd name="T103" fmla="*/ 52 h 537"/>
                <a:gd name="T104" fmla="*/ 121 w 692"/>
                <a:gd name="T105" fmla="*/ 27 h 537"/>
                <a:gd name="T106" fmla="*/ 127 w 692"/>
                <a:gd name="T107" fmla="*/ 0 h 537"/>
                <a:gd name="T108" fmla="*/ 137 w 692"/>
                <a:gd name="T109" fmla="*/ 11 h 537"/>
                <a:gd name="T110" fmla="*/ 137 w 692"/>
                <a:gd name="T111" fmla="*/ 9 h 537"/>
                <a:gd name="T112" fmla="*/ 145 w 692"/>
                <a:gd name="T113" fmla="*/ 9 h 537"/>
                <a:gd name="T114" fmla="*/ 162 w 692"/>
                <a:gd name="T115" fmla="*/ 7 h 537"/>
                <a:gd name="T116" fmla="*/ 186 w 692"/>
                <a:gd name="T117" fmla="*/ 1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2" h="537">
                  <a:moveTo>
                    <a:pt x="186" y="17"/>
                  </a:moveTo>
                  <a:lnTo>
                    <a:pt x="190" y="17"/>
                  </a:lnTo>
                  <a:lnTo>
                    <a:pt x="193" y="19"/>
                  </a:lnTo>
                  <a:lnTo>
                    <a:pt x="193" y="19"/>
                  </a:lnTo>
                  <a:lnTo>
                    <a:pt x="195" y="23"/>
                  </a:lnTo>
                  <a:lnTo>
                    <a:pt x="197" y="23"/>
                  </a:lnTo>
                  <a:lnTo>
                    <a:pt x="199" y="23"/>
                  </a:lnTo>
                  <a:lnTo>
                    <a:pt x="201" y="25"/>
                  </a:lnTo>
                  <a:lnTo>
                    <a:pt x="203" y="27"/>
                  </a:lnTo>
                  <a:lnTo>
                    <a:pt x="205" y="29"/>
                  </a:lnTo>
                  <a:lnTo>
                    <a:pt x="205" y="31"/>
                  </a:lnTo>
                  <a:lnTo>
                    <a:pt x="207" y="33"/>
                  </a:lnTo>
                  <a:lnTo>
                    <a:pt x="207" y="35"/>
                  </a:lnTo>
                  <a:lnTo>
                    <a:pt x="207" y="39"/>
                  </a:lnTo>
                  <a:lnTo>
                    <a:pt x="209" y="41"/>
                  </a:lnTo>
                  <a:lnTo>
                    <a:pt x="209" y="41"/>
                  </a:lnTo>
                  <a:lnTo>
                    <a:pt x="209" y="43"/>
                  </a:lnTo>
                  <a:lnTo>
                    <a:pt x="211" y="46"/>
                  </a:lnTo>
                  <a:lnTo>
                    <a:pt x="209" y="50"/>
                  </a:lnTo>
                  <a:lnTo>
                    <a:pt x="211" y="54"/>
                  </a:lnTo>
                  <a:lnTo>
                    <a:pt x="209" y="56"/>
                  </a:lnTo>
                  <a:lnTo>
                    <a:pt x="209" y="58"/>
                  </a:lnTo>
                  <a:lnTo>
                    <a:pt x="209" y="60"/>
                  </a:lnTo>
                  <a:lnTo>
                    <a:pt x="209" y="64"/>
                  </a:lnTo>
                  <a:lnTo>
                    <a:pt x="209" y="64"/>
                  </a:lnTo>
                  <a:lnTo>
                    <a:pt x="209" y="66"/>
                  </a:lnTo>
                  <a:lnTo>
                    <a:pt x="209" y="68"/>
                  </a:lnTo>
                  <a:lnTo>
                    <a:pt x="209" y="68"/>
                  </a:lnTo>
                  <a:lnTo>
                    <a:pt x="209" y="72"/>
                  </a:lnTo>
                  <a:lnTo>
                    <a:pt x="209" y="76"/>
                  </a:lnTo>
                  <a:lnTo>
                    <a:pt x="209" y="76"/>
                  </a:lnTo>
                  <a:lnTo>
                    <a:pt x="209" y="78"/>
                  </a:lnTo>
                  <a:lnTo>
                    <a:pt x="211" y="80"/>
                  </a:lnTo>
                  <a:lnTo>
                    <a:pt x="213" y="82"/>
                  </a:lnTo>
                  <a:lnTo>
                    <a:pt x="219" y="84"/>
                  </a:lnTo>
                  <a:lnTo>
                    <a:pt x="221" y="84"/>
                  </a:lnTo>
                  <a:lnTo>
                    <a:pt x="223" y="84"/>
                  </a:lnTo>
                  <a:lnTo>
                    <a:pt x="225" y="87"/>
                  </a:lnTo>
                  <a:lnTo>
                    <a:pt x="229" y="89"/>
                  </a:lnTo>
                  <a:lnTo>
                    <a:pt x="231" y="91"/>
                  </a:lnTo>
                  <a:lnTo>
                    <a:pt x="238" y="91"/>
                  </a:lnTo>
                  <a:lnTo>
                    <a:pt x="244" y="95"/>
                  </a:lnTo>
                  <a:lnTo>
                    <a:pt x="244" y="95"/>
                  </a:lnTo>
                  <a:lnTo>
                    <a:pt x="246" y="95"/>
                  </a:lnTo>
                  <a:lnTo>
                    <a:pt x="252" y="93"/>
                  </a:lnTo>
                  <a:lnTo>
                    <a:pt x="266" y="91"/>
                  </a:lnTo>
                  <a:lnTo>
                    <a:pt x="270" y="91"/>
                  </a:lnTo>
                  <a:lnTo>
                    <a:pt x="276" y="87"/>
                  </a:lnTo>
                  <a:lnTo>
                    <a:pt x="281" y="87"/>
                  </a:lnTo>
                  <a:lnTo>
                    <a:pt x="283" y="87"/>
                  </a:lnTo>
                  <a:lnTo>
                    <a:pt x="289" y="89"/>
                  </a:lnTo>
                  <a:lnTo>
                    <a:pt x="299" y="89"/>
                  </a:lnTo>
                  <a:lnTo>
                    <a:pt x="322" y="95"/>
                  </a:lnTo>
                  <a:lnTo>
                    <a:pt x="326" y="97"/>
                  </a:lnTo>
                  <a:lnTo>
                    <a:pt x="328" y="99"/>
                  </a:lnTo>
                  <a:lnTo>
                    <a:pt x="328" y="101"/>
                  </a:lnTo>
                  <a:lnTo>
                    <a:pt x="328" y="103"/>
                  </a:lnTo>
                  <a:lnTo>
                    <a:pt x="328" y="105"/>
                  </a:lnTo>
                  <a:lnTo>
                    <a:pt x="330" y="105"/>
                  </a:lnTo>
                  <a:lnTo>
                    <a:pt x="332" y="105"/>
                  </a:lnTo>
                  <a:lnTo>
                    <a:pt x="338" y="105"/>
                  </a:lnTo>
                  <a:lnTo>
                    <a:pt x="338" y="105"/>
                  </a:lnTo>
                  <a:lnTo>
                    <a:pt x="340" y="105"/>
                  </a:lnTo>
                  <a:lnTo>
                    <a:pt x="342" y="105"/>
                  </a:lnTo>
                  <a:lnTo>
                    <a:pt x="342" y="105"/>
                  </a:lnTo>
                  <a:lnTo>
                    <a:pt x="344" y="105"/>
                  </a:lnTo>
                  <a:lnTo>
                    <a:pt x="346" y="105"/>
                  </a:lnTo>
                  <a:lnTo>
                    <a:pt x="346" y="107"/>
                  </a:lnTo>
                  <a:lnTo>
                    <a:pt x="350" y="107"/>
                  </a:lnTo>
                  <a:lnTo>
                    <a:pt x="352" y="107"/>
                  </a:lnTo>
                  <a:lnTo>
                    <a:pt x="354" y="107"/>
                  </a:lnTo>
                  <a:lnTo>
                    <a:pt x="354" y="107"/>
                  </a:lnTo>
                  <a:lnTo>
                    <a:pt x="358" y="105"/>
                  </a:lnTo>
                  <a:lnTo>
                    <a:pt x="358" y="105"/>
                  </a:lnTo>
                  <a:lnTo>
                    <a:pt x="365" y="105"/>
                  </a:lnTo>
                  <a:lnTo>
                    <a:pt x="369" y="105"/>
                  </a:lnTo>
                  <a:lnTo>
                    <a:pt x="369" y="103"/>
                  </a:lnTo>
                  <a:lnTo>
                    <a:pt x="369" y="103"/>
                  </a:lnTo>
                  <a:lnTo>
                    <a:pt x="371" y="103"/>
                  </a:lnTo>
                  <a:lnTo>
                    <a:pt x="373" y="103"/>
                  </a:lnTo>
                  <a:lnTo>
                    <a:pt x="383" y="107"/>
                  </a:lnTo>
                  <a:lnTo>
                    <a:pt x="385" y="107"/>
                  </a:lnTo>
                  <a:lnTo>
                    <a:pt x="387" y="107"/>
                  </a:lnTo>
                  <a:lnTo>
                    <a:pt x="387" y="107"/>
                  </a:lnTo>
                  <a:lnTo>
                    <a:pt x="391" y="107"/>
                  </a:lnTo>
                  <a:lnTo>
                    <a:pt x="391" y="107"/>
                  </a:lnTo>
                  <a:lnTo>
                    <a:pt x="393" y="107"/>
                  </a:lnTo>
                  <a:lnTo>
                    <a:pt x="397" y="107"/>
                  </a:lnTo>
                  <a:lnTo>
                    <a:pt x="397" y="107"/>
                  </a:lnTo>
                  <a:lnTo>
                    <a:pt x="399" y="107"/>
                  </a:lnTo>
                  <a:lnTo>
                    <a:pt x="401" y="107"/>
                  </a:lnTo>
                  <a:lnTo>
                    <a:pt x="403" y="107"/>
                  </a:lnTo>
                  <a:lnTo>
                    <a:pt x="406" y="107"/>
                  </a:lnTo>
                  <a:lnTo>
                    <a:pt x="408" y="107"/>
                  </a:lnTo>
                  <a:lnTo>
                    <a:pt x="410" y="105"/>
                  </a:lnTo>
                  <a:lnTo>
                    <a:pt x="412" y="103"/>
                  </a:lnTo>
                  <a:lnTo>
                    <a:pt x="416" y="103"/>
                  </a:lnTo>
                  <a:lnTo>
                    <a:pt x="428" y="101"/>
                  </a:lnTo>
                  <a:lnTo>
                    <a:pt x="449" y="101"/>
                  </a:lnTo>
                  <a:lnTo>
                    <a:pt x="453" y="99"/>
                  </a:lnTo>
                  <a:lnTo>
                    <a:pt x="455" y="97"/>
                  </a:lnTo>
                  <a:lnTo>
                    <a:pt x="457" y="97"/>
                  </a:lnTo>
                  <a:lnTo>
                    <a:pt x="459" y="97"/>
                  </a:lnTo>
                  <a:lnTo>
                    <a:pt x="465" y="99"/>
                  </a:lnTo>
                  <a:lnTo>
                    <a:pt x="469" y="99"/>
                  </a:lnTo>
                  <a:lnTo>
                    <a:pt x="475" y="99"/>
                  </a:lnTo>
                  <a:lnTo>
                    <a:pt x="494" y="101"/>
                  </a:lnTo>
                  <a:lnTo>
                    <a:pt x="498" y="101"/>
                  </a:lnTo>
                  <a:lnTo>
                    <a:pt x="502" y="97"/>
                  </a:lnTo>
                  <a:lnTo>
                    <a:pt x="504" y="97"/>
                  </a:lnTo>
                  <a:lnTo>
                    <a:pt x="506" y="99"/>
                  </a:lnTo>
                  <a:lnTo>
                    <a:pt x="516" y="101"/>
                  </a:lnTo>
                  <a:lnTo>
                    <a:pt x="526" y="101"/>
                  </a:lnTo>
                  <a:lnTo>
                    <a:pt x="537" y="103"/>
                  </a:lnTo>
                  <a:lnTo>
                    <a:pt x="547" y="105"/>
                  </a:lnTo>
                  <a:lnTo>
                    <a:pt x="555" y="107"/>
                  </a:lnTo>
                  <a:lnTo>
                    <a:pt x="565" y="109"/>
                  </a:lnTo>
                  <a:lnTo>
                    <a:pt x="576" y="109"/>
                  </a:lnTo>
                  <a:lnTo>
                    <a:pt x="586" y="111"/>
                  </a:lnTo>
                  <a:lnTo>
                    <a:pt x="596" y="113"/>
                  </a:lnTo>
                  <a:lnTo>
                    <a:pt x="606" y="115"/>
                  </a:lnTo>
                  <a:lnTo>
                    <a:pt x="616" y="117"/>
                  </a:lnTo>
                  <a:lnTo>
                    <a:pt x="625" y="117"/>
                  </a:lnTo>
                  <a:lnTo>
                    <a:pt x="635" y="119"/>
                  </a:lnTo>
                  <a:lnTo>
                    <a:pt x="645" y="121"/>
                  </a:lnTo>
                  <a:lnTo>
                    <a:pt x="655" y="123"/>
                  </a:lnTo>
                  <a:lnTo>
                    <a:pt x="666" y="123"/>
                  </a:lnTo>
                  <a:lnTo>
                    <a:pt x="666" y="125"/>
                  </a:lnTo>
                  <a:lnTo>
                    <a:pt x="666" y="127"/>
                  </a:lnTo>
                  <a:lnTo>
                    <a:pt x="668" y="134"/>
                  </a:lnTo>
                  <a:lnTo>
                    <a:pt x="672" y="140"/>
                  </a:lnTo>
                  <a:lnTo>
                    <a:pt x="672" y="142"/>
                  </a:lnTo>
                  <a:lnTo>
                    <a:pt x="672" y="142"/>
                  </a:lnTo>
                  <a:lnTo>
                    <a:pt x="678" y="144"/>
                  </a:lnTo>
                  <a:lnTo>
                    <a:pt x="678" y="146"/>
                  </a:lnTo>
                  <a:lnTo>
                    <a:pt x="680" y="148"/>
                  </a:lnTo>
                  <a:lnTo>
                    <a:pt x="684" y="150"/>
                  </a:lnTo>
                  <a:lnTo>
                    <a:pt x="686" y="152"/>
                  </a:lnTo>
                  <a:lnTo>
                    <a:pt x="688" y="152"/>
                  </a:lnTo>
                  <a:lnTo>
                    <a:pt x="688" y="154"/>
                  </a:lnTo>
                  <a:lnTo>
                    <a:pt x="690" y="156"/>
                  </a:lnTo>
                  <a:lnTo>
                    <a:pt x="690" y="160"/>
                  </a:lnTo>
                  <a:lnTo>
                    <a:pt x="692" y="166"/>
                  </a:lnTo>
                  <a:lnTo>
                    <a:pt x="692" y="168"/>
                  </a:lnTo>
                  <a:lnTo>
                    <a:pt x="692" y="171"/>
                  </a:lnTo>
                  <a:lnTo>
                    <a:pt x="692" y="173"/>
                  </a:lnTo>
                  <a:lnTo>
                    <a:pt x="690" y="175"/>
                  </a:lnTo>
                  <a:lnTo>
                    <a:pt x="688" y="177"/>
                  </a:lnTo>
                  <a:lnTo>
                    <a:pt x="686" y="177"/>
                  </a:lnTo>
                  <a:lnTo>
                    <a:pt x="684" y="179"/>
                  </a:lnTo>
                  <a:lnTo>
                    <a:pt x="684" y="181"/>
                  </a:lnTo>
                  <a:lnTo>
                    <a:pt x="684" y="183"/>
                  </a:lnTo>
                  <a:lnTo>
                    <a:pt x="680" y="187"/>
                  </a:lnTo>
                  <a:lnTo>
                    <a:pt x="678" y="189"/>
                  </a:lnTo>
                  <a:lnTo>
                    <a:pt x="674" y="193"/>
                  </a:lnTo>
                  <a:lnTo>
                    <a:pt x="674" y="195"/>
                  </a:lnTo>
                  <a:lnTo>
                    <a:pt x="672" y="197"/>
                  </a:lnTo>
                  <a:lnTo>
                    <a:pt x="672" y="201"/>
                  </a:lnTo>
                  <a:lnTo>
                    <a:pt x="672" y="201"/>
                  </a:lnTo>
                  <a:lnTo>
                    <a:pt x="670" y="203"/>
                  </a:lnTo>
                  <a:lnTo>
                    <a:pt x="668" y="209"/>
                  </a:lnTo>
                  <a:lnTo>
                    <a:pt x="666" y="214"/>
                  </a:lnTo>
                  <a:lnTo>
                    <a:pt x="655" y="224"/>
                  </a:lnTo>
                  <a:lnTo>
                    <a:pt x="653" y="226"/>
                  </a:lnTo>
                  <a:lnTo>
                    <a:pt x="653" y="226"/>
                  </a:lnTo>
                  <a:lnTo>
                    <a:pt x="653" y="228"/>
                  </a:lnTo>
                  <a:lnTo>
                    <a:pt x="653" y="228"/>
                  </a:lnTo>
                  <a:lnTo>
                    <a:pt x="653" y="230"/>
                  </a:lnTo>
                  <a:lnTo>
                    <a:pt x="653" y="230"/>
                  </a:lnTo>
                  <a:lnTo>
                    <a:pt x="653" y="232"/>
                  </a:lnTo>
                  <a:lnTo>
                    <a:pt x="651" y="236"/>
                  </a:lnTo>
                  <a:lnTo>
                    <a:pt x="651" y="238"/>
                  </a:lnTo>
                  <a:lnTo>
                    <a:pt x="649" y="242"/>
                  </a:lnTo>
                  <a:lnTo>
                    <a:pt x="643" y="246"/>
                  </a:lnTo>
                  <a:lnTo>
                    <a:pt x="643" y="248"/>
                  </a:lnTo>
                  <a:lnTo>
                    <a:pt x="641" y="250"/>
                  </a:lnTo>
                  <a:lnTo>
                    <a:pt x="635" y="253"/>
                  </a:lnTo>
                  <a:lnTo>
                    <a:pt x="635" y="253"/>
                  </a:lnTo>
                  <a:lnTo>
                    <a:pt x="633" y="255"/>
                  </a:lnTo>
                  <a:lnTo>
                    <a:pt x="631" y="259"/>
                  </a:lnTo>
                  <a:lnTo>
                    <a:pt x="627" y="263"/>
                  </a:lnTo>
                  <a:lnTo>
                    <a:pt x="627" y="265"/>
                  </a:lnTo>
                  <a:lnTo>
                    <a:pt x="625" y="269"/>
                  </a:lnTo>
                  <a:lnTo>
                    <a:pt x="625" y="271"/>
                  </a:lnTo>
                  <a:lnTo>
                    <a:pt x="623" y="273"/>
                  </a:lnTo>
                  <a:lnTo>
                    <a:pt x="621" y="273"/>
                  </a:lnTo>
                  <a:lnTo>
                    <a:pt x="621" y="273"/>
                  </a:lnTo>
                  <a:lnTo>
                    <a:pt x="619" y="273"/>
                  </a:lnTo>
                  <a:lnTo>
                    <a:pt x="619" y="275"/>
                  </a:lnTo>
                  <a:lnTo>
                    <a:pt x="619" y="275"/>
                  </a:lnTo>
                  <a:lnTo>
                    <a:pt x="619" y="275"/>
                  </a:lnTo>
                  <a:lnTo>
                    <a:pt x="616" y="277"/>
                  </a:lnTo>
                  <a:lnTo>
                    <a:pt x="616" y="277"/>
                  </a:lnTo>
                  <a:lnTo>
                    <a:pt x="616" y="279"/>
                  </a:lnTo>
                  <a:lnTo>
                    <a:pt x="616" y="281"/>
                  </a:lnTo>
                  <a:lnTo>
                    <a:pt x="614" y="283"/>
                  </a:lnTo>
                  <a:lnTo>
                    <a:pt x="614" y="285"/>
                  </a:lnTo>
                  <a:lnTo>
                    <a:pt x="614" y="287"/>
                  </a:lnTo>
                  <a:lnTo>
                    <a:pt x="614" y="289"/>
                  </a:lnTo>
                  <a:lnTo>
                    <a:pt x="614" y="291"/>
                  </a:lnTo>
                  <a:lnTo>
                    <a:pt x="614" y="291"/>
                  </a:lnTo>
                  <a:lnTo>
                    <a:pt x="614" y="293"/>
                  </a:lnTo>
                  <a:lnTo>
                    <a:pt x="614" y="293"/>
                  </a:lnTo>
                  <a:lnTo>
                    <a:pt x="614" y="296"/>
                  </a:lnTo>
                  <a:lnTo>
                    <a:pt x="614" y="298"/>
                  </a:lnTo>
                  <a:lnTo>
                    <a:pt x="619" y="300"/>
                  </a:lnTo>
                  <a:lnTo>
                    <a:pt x="619" y="300"/>
                  </a:lnTo>
                  <a:lnTo>
                    <a:pt x="619" y="300"/>
                  </a:lnTo>
                  <a:lnTo>
                    <a:pt x="621" y="298"/>
                  </a:lnTo>
                  <a:lnTo>
                    <a:pt x="621" y="298"/>
                  </a:lnTo>
                  <a:lnTo>
                    <a:pt x="623" y="298"/>
                  </a:lnTo>
                  <a:lnTo>
                    <a:pt x="623" y="300"/>
                  </a:lnTo>
                  <a:lnTo>
                    <a:pt x="623" y="300"/>
                  </a:lnTo>
                  <a:lnTo>
                    <a:pt x="623" y="302"/>
                  </a:lnTo>
                  <a:lnTo>
                    <a:pt x="625" y="302"/>
                  </a:lnTo>
                  <a:lnTo>
                    <a:pt x="627" y="302"/>
                  </a:lnTo>
                  <a:lnTo>
                    <a:pt x="629" y="302"/>
                  </a:lnTo>
                  <a:lnTo>
                    <a:pt x="631" y="302"/>
                  </a:lnTo>
                  <a:lnTo>
                    <a:pt x="631" y="302"/>
                  </a:lnTo>
                  <a:lnTo>
                    <a:pt x="631" y="304"/>
                  </a:lnTo>
                  <a:lnTo>
                    <a:pt x="631" y="304"/>
                  </a:lnTo>
                  <a:lnTo>
                    <a:pt x="631" y="306"/>
                  </a:lnTo>
                  <a:lnTo>
                    <a:pt x="631" y="308"/>
                  </a:lnTo>
                  <a:lnTo>
                    <a:pt x="631" y="308"/>
                  </a:lnTo>
                  <a:lnTo>
                    <a:pt x="633" y="308"/>
                  </a:lnTo>
                  <a:lnTo>
                    <a:pt x="635" y="310"/>
                  </a:lnTo>
                  <a:lnTo>
                    <a:pt x="635" y="312"/>
                  </a:lnTo>
                  <a:lnTo>
                    <a:pt x="635" y="312"/>
                  </a:lnTo>
                  <a:lnTo>
                    <a:pt x="635" y="314"/>
                  </a:lnTo>
                  <a:lnTo>
                    <a:pt x="635" y="314"/>
                  </a:lnTo>
                  <a:lnTo>
                    <a:pt x="635" y="314"/>
                  </a:lnTo>
                  <a:lnTo>
                    <a:pt x="635" y="316"/>
                  </a:lnTo>
                  <a:lnTo>
                    <a:pt x="633" y="316"/>
                  </a:lnTo>
                  <a:lnTo>
                    <a:pt x="633" y="318"/>
                  </a:lnTo>
                  <a:lnTo>
                    <a:pt x="633" y="318"/>
                  </a:lnTo>
                  <a:lnTo>
                    <a:pt x="631" y="318"/>
                  </a:lnTo>
                  <a:lnTo>
                    <a:pt x="631" y="318"/>
                  </a:lnTo>
                  <a:lnTo>
                    <a:pt x="629" y="318"/>
                  </a:lnTo>
                  <a:lnTo>
                    <a:pt x="629" y="320"/>
                  </a:lnTo>
                  <a:lnTo>
                    <a:pt x="629" y="322"/>
                  </a:lnTo>
                  <a:lnTo>
                    <a:pt x="631" y="324"/>
                  </a:lnTo>
                  <a:lnTo>
                    <a:pt x="631" y="328"/>
                  </a:lnTo>
                  <a:lnTo>
                    <a:pt x="631" y="328"/>
                  </a:lnTo>
                  <a:lnTo>
                    <a:pt x="629" y="330"/>
                  </a:lnTo>
                  <a:lnTo>
                    <a:pt x="629" y="330"/>
                  </a:lnTo>
                  <a:lnTo>
                    <a:pt x="629" y="330"/>
                  </a:lnTo>
                  <a:lnTo>
                    <a:pt x="627" y="334"/>
                  </a:lnTo>
                  <a:lnTo>
                    <a:pt x="627" y="339"/>
                  </a:lnTo>
                  <a:lnTo>
                    <a:pt x="625" y="341"/>
                  </a:lnTo>
                  <a:lnTo>
                    <a:pt x="625" y="343"/>
                  </a:lnTo>
                  <a:lnTo>
                    <a:pt x="623" y="345"/>
                  </a:lnTo>
                  <a:lnTo>
                    <a:pt x="621" y="345"/>
                  </a:lnTo>
                  <a:lnTo>
                    <a:pt x="619" y="347"/>
                  </a:lnTo>
                  <a:lnTo>
                    <a:pt x="619" y="349"/>
                  </a:lnTo>
                  <a:lnTo>
                    <a:pt x="619" y="351"/>
                  </a:lnTo>
                  <a:lnTo>
                    <a:pt x="619" y="351"/>
                  </a:lnTo>
                  <a:lnTo>
                    <a:pt x="619" y="351"/>
                  </a:lnTo>
                  <a:lnTo>
                    <a:pt x="619" y="361"/>
                  </a:lnTo>
                  <a:lnTo>
                    <a:pt x="616" y="365"/>
                  </a:lnTo>
                  <a:lnTo>
                    <a:pt x="616" y="375"/>
                  </a:lnTo>
                  <a:lnTo>
                    <a:pt x="614" y="388"/>
                  </a:lnTo>
                  <a:lnTo>
                    <a:pt x="612" y="398"/>
                  </a:lnTo>
                  <a:lnTo>
                    <a:pt x="610" y="408"/>
                  </a:lnTo>
                  <a:lnTo>
                    <a:pt x="608" y="421"/>
                  </a:lnTo>
                  <a:lnTo>
                    <a:pt x="608" y="431"/>
                  </a:lnTo>
                  <a:lnTo>
                    <a:pt x="606" y="441"/>
                  </a:lnTo>
                  <a:lnTo>
                    <a:pt x="604" y="451"/>
                  </a:lnTo>
                  <a:lnTo>
                    <a:pt x="602" y="464"/>
                  </a:lnTo>
                  <a:lnTo>
                    <a:pt x="600" y="474"/>
                  </a:lnTo>
                  <a:lnTo>
                    <a:pt x="600" y="484"/>
                  </a:lnTo>
                  <a:lnTo>
                    <a:pt x="598" y="494"/>
                  </a:lnTo>
                  <a:lnTo>
                    <a:pt x="596" y="507"/>
                  </a:lnTo>
                  <a:lnTo>
                    <a:pt x="594" y="517"/>
                  </a:lnTo>
                  <a:lnTo>
                    <a:pt x="592" y="527"/>
                  </a:lnTo>
                  <a:lnTo>
                    <a:pt x="590" y="537"/>
                  </a:lnTo>
                  <a:lnTo>
                    <a:pt x="576" y="535"/>
                  </a:lnTo>
                  <a:lnTo>
                    <a:pt x="561" y="533"/>
                  </a:lnTo>
                  <a:lnTo>
                    <a:pt x="545" y="531"/>
                  </a:lnTo>
                  <a:lnTo>
                    <a:pt x="530" y="529"/>
                  </a:lnTo>
                  <a:lnTo>
                    <a:pt x="516" y="527"/>
                  </a:lnTo>
                  <a:lnTo>
                    <a:pt x="500" y="523"/>
                  </a:lnTo>
                  <a:lnTo>
                    <a:pt x="485" y="521"/>
                  </a:lnTo>
                  <a:lnTo>
                    <a:pt x="471" y="519"/>
                  </a:lnTo>
                  <a:lnTo>
                    <a:pt x="455" y="517"/>
                  </a:lnTo>
                  <a:lnTo>
                    <a:pt x="440" y="513"/>
                  </a:lnTo>
                  <a:lnTo>
                    <a:pt x="426" y="511"/>
                  </a:lnTo>
                  <a:lnTo>
                    <a:pt x="410" y="509"/>
                  </a:lnTo>
                  <a:lnTo>
                    <a:pt x="395" y="507"/>
                  </a:lnTo>
                  <a:lnTo>
                    <a:pt x="381" y="503"/>
                  </a:lnTo>
                  <a:lnTo>
                    <a:pt x="365" y="500"/>
                  </a:lnTo>
                  <a:lnTo>
                    <a:pt x="350" y="498"/>
                  </a:lnTo>
                  <a:lnTo>
                    <a:pt x="330" y="494"/>
                  </a:lnTo>
                  <a:lnTo>
                    <a:pt x="307" y="490"/>
                  </a:lnTo>
                  <a:lnTo>
                    <a:pt x="287" y="486"/>
                  </a:lnTo>
                  <a:lnTo>
                    <a:pt x="266" y="482"/>
                  </a:lnTo>
                  <a:lnTo>
                    <a:pt x="244" y="478"/>
                  </a:lnTo>
                  <a:lnTo>
                    <a:pt x="223" y="474"/>
                  </a:lnTo>
                  <a:lnTo>
                    <a:pt x="203" y="470"/>
                  </a:lnTo>
                  <a:lnTo>
                    <a:pt x="182" y="466"/>
                  </a:lnTo>
                  <a:lnTo>
                    <a:pt x="160" y="462"/>
                  </a:lnTo>
                  <a:lnTo>
                    <a:pt x="139" y="457"/>
                  </a:lnTo>
                  <a:lnTo>
                    <a:pt x="119" y="451"/>
                  </a:lnTo>
                  <a:lnTo>
                    <a:pt x="98" y="447"/>
                  </a:lnTo>
                  <a:lnTo>
                    <a:pt x="76" y="443"/>
                  </a:lnTo>
                  <a:lnTo>
                    <a:pt x="55" y="439"/>
                  </a:lnTo>
                  <a:lnTo>
                    <a:pt x="35" y="435"/>
                  </a:lnTo>
                  <a:lnTo>
                    <a:pt x="14" y="429"/>
                  </a:lnTo>
                  <a:lnTo>
                    <a:pt x="14" y="429"/>
                  </a:lnTo>
                  <a:lnTo>
                    <a:pt x="12" y="429"/>
                  </a:lnTo>
                  <a:lnTo>
                    <a:pt x="10" y="427"/>
                  </a:lnTo>
                  <a:lnTo>
                    <a:pt x="6" y="423"/>
                  </a:lnTo>
                  <a:lnTo>
                    <a:pt x="4" y="416"/>
                  </a:lnTo>
                  <a:lnTo>
                    <a:pt x="2" y="416"/>
                  </a:lnTo>
                  <a:lnTo>
                    <a:pt x="2" y="414"/>
                  </a:lnTo>
                  <a:lnTo>
                    <a:pt x="4" y="404"/>
                  </a:lnTo>
                  <a:lnTo>
                    <a:pt x="2" y="400"/>
                  </a:lnTo>
                  <a:lnTo>
                    <a:pt x="2" y="400"/>
                  </a:lnTo>
                  <a:lnTo>
                    <a:pt x="2" y="398"/>
                  </a:lnTo>
                  <a:lnTo>
                    <a:pt x="2" y="396"/>
                  </a:lnTo>
                  <a:lnTo>
                    <a:pt x="2" y="392"/>
                  </a:lnTo>
                  <a:lnTo>
                    <a:pt x="2" y="392"/>
                  </a:lnTo>
                  <a:lnTo>
                    <a:pt x="2" y="392"/>
                  </a:lnTo>
                  <a:lnTo>
                    <a:pt x="0" y="390"/>
                  </a:lnTo>
                  <a:lnTo>
                    <a:pt x="2" y="390"/>
                  </a:lnTo>
                  <a:lnTo>
                    <a:pt x="2" y="390"/>
                  </a:lnTo>
                  <a:lnTo>
                    <a:pt x="4" y="388"/>
                  </a:lnTo>
                  <a:lnTo>
                    <a:pt x="4" y="386"/>
                  </a:lnTo>
                  <a:lnTo>
                    <a:pt x="4" y="384"/>
                  </a:lnTo>
                  <a:lnTo>
                    <a:pt x="4" y="382"/>
                  </a:lnTo>
                  <a:lnTo>
                    <a:pt x="4" y="378"/>
                  </a:lnTo>
                  <a:lnTo>
                    <a:pt x="4" y="378"/>
                  </a:lnTo>
                  <a:lnTo>
                    <a:pt x="6" y="375"/>
                  </a:lnTo>
                  <a:lnTo>
                    <a:pt x="8" y="371"/>
                  </a:lnTo>
                  <a:lnTo>
                    <a:pt x="8" y="371"/>
                  </a:lnTo>
                  <a:lnTo>
                    <a:pt x="10" y="367"/>
                  </a:lnTo>
                  <a:lnTo>
                    <a:pt x="10" y="361"/>
                  </a:lnTo>
                  <a:lnTo>
                    <a:pt x="10" y="359"/>
                  </a:lnTo>
                  <a:lnTo>
                    <a:pt x="10" y="357"/>
                  </a:lnTo>
                  <a:lnTo>
                    <a:pt x="10" y="355"/>
                  </a:lnTo>
                  <a:lnTo>
                    <a:pt x="10" y="355"/>
                  </a:lnTo>
                  <a:lnTo>
                    <a:pt x="8" y="353"/>
                  </a:lnTo>
                  <a:lnTo>
                    <a:pt x="8" y="351"/>
                  </a:lnTo>
                  <a:lnTo>
                    <a:pt x="8" y="349"/>
                  </a:lnTo>
                  <a:lnTo>
                    <a:pt x="6" y="347"/>
                  </a:lnTo>
                  <a:lnTo>
                    <a:pt x="6" y="347"/>
                  </a:lnTo>
                  <a:lnTo>
                    <a:pt x="4" y="347"/>
                  </a:lnTo>
                  <a:lnTo>
                    <a:pt x="4" y="341"/>
                  </a:lnTo>
                  <a:lnTo>
                    <a:pt x="4" y="339"/>
                  </a:lnTo>
                  <a:lnTo>
                    <a:pt x="4" y="339"/>
                  </a:lnTo>
                  <a:lnTo>
                    <a:pt x="2" y="337"/>
                  </a:lnTo>
                  <a:lnTo>
                    <a:pt x="4" y="337"/>
                  </a:lnTo>
                  <a:lnTo>
                    <a:pt x="10" y="326"/>
                  </a:lnTo>
                  <a:lnTo>
                    <a:pt x="14" y="322"/>
                  </a:lnTo>
                  <a:lnTo>
                    <a:pt x="16" y="320"/>
                  </a:lnTo>
                  <a:lnTo>
                    <a:pt x="16" y="318"/>
                  </a:lnTo>
                  <a:lnTo>
                    <a:pt x="18" y="318"/>
                  </a:lnTo>
                  <a:lnTo>
                    <a:pt x="20" y="316"/>
                  </a:lnTo>
                  <a:lnTo>
                    <a:pt x="20" y="314"/>
                  </a:lnTo>
                  <a:lnTo>
                    <a:pt x="23" y="310"/>
                  </a:lnTo>
                  <a:lnTo>
                    <a:pt x="29" y="296"/>
                  </a:lnTo>
                  <a:lnTo>
                    <a:pt x="29" y="291"/>
                  </a:lnTo>
                  <a:lnTo>
                    <a:pt x="29" y="289"/>
                  </a:lnTo>
                  <a:lnTo>
                    <a:pt x="29" y="289"/>
                  </a:lnTo>
                  <a:lnTo>
                    <a:pt x="31" y="287"/>
                  </a:lnTo>
                  <a:lnTo>
                    <a:pt x="31" y="287"/>
                  </a:lnTo>
                  <a:lnTo>
                    <a:pt x="33" y="287"/>
                  </a:lnTo>
                  <a:lnTo>
                    <a:pt x="33" y="285"/>
                  </a:lnTo>
                  <a:lnTo>
                    <a:pt x="35" y="285"/>
                  </a:lnTo>
                  <a:lnTo>
                    <a:pt x="33" y="291"/>
                  </a:lnTo>
                  <a:lnTo>
                    <a:pt x="35" y="293"/>
                  </a:lnTo>
                  <a:lnTo>
                    <a:pt x="35" y="293"/>
                  </a:lnTo>
                  <a:lnTo>
                    <a:pt x="35" y="291"/>
                  </a:lnTo>
                  <a:lnTo>
                    <a:pt x="37" y="289"/>
                  </a:lnTo>
                  <a:lnTo>
                    <a:pt x="35" y="289"/>
                  </a:lnTo>
                  <a:lnTo>
                    <a:pt x="37" y="289"/>
                  </a:lnTo>
                  <a:lnTo>
                    <a:pt x="37" y="289"/>
                  </a:lnTo>
                  <a:lnTo>
                    <a:pt x="37" y="287"/>
                  </a:lnTo>
                  <a:lnTo>
                    <a:pt x="39" y="287"/>
                  </a:lnTo>
                  <a:lnTo>
                    <a:pt x="37" y="285"/>
                  </a:lnTo>
                  <a:lnTo>
                    <a:pt x="39" y="283"/>
                  </a:lnTo>
                  <a:lnTo>
                    <a:pt x="41" y="281"/>
                  </a:lnTo>
                  <a:lnTo>
                    <a:pt x="43" y="281"/>
                  </a:lnTo>
                  <a:lnTo>
                    <a:pt x="45" y="281"/>
                  </a:lnTo>
                  <a:lnTo>
                    <a:pt x="45" y="283"/>
                  </a:lnTo>
                  <a:lnTo>
                    <a:pt x="43" y="283"/>
                  </a:lnTo>
                  <a:lnTo>
                    <a:pt x="45" y="285"/>
                  </a:lnTo>
                  <a:lnTo>
                    <a:pt x="45" y="287"/>
                  </a:lnTo>
                  <a:lnTo>
                    <a:pt x="47" y="287"/>
                  </a:lnTo>
                  <a:lnTo>
                    <a:pt x="47" y="289"/>
                  </a:lnTo>
                  <a:lnTo>
                    <a:pt x="49" y="289"/>
                  </a:lnTo>
                  <a:lnTo>
                    <a:pt x="47" y="283"/>
                  </a:lnTo>
                  <a:lnTo>
                    <a:pt x="47" y="281"/>
                  </a:lnTo>
                  <a:lnTo>
                    <a:pt x="47" y="281"/>
                  </a:lnTo>
                  <a:lnTo>
                    <a:pt x="47" y="279"/>
                  </a:lnTo>
                  <a:lnTo>
                    <a:pt x="47" y="279"/>
                  </a:lnTo>
                  <a:lnTo>
                    <a:pt x="47" y="279"/>
                  </a:lnTo>
                  <a:lnTo>
                    <a:pt x="47" y="277"/>
                  </a:lnTo>
                  <a:lnTo>
                    <a:pt x="45" y="277"/>
                  </a:lnTo>
                  <a:lnTo>
                    <a:pt x="41" y="279"/>
                  </a:lnTo>
                  <a:lnTo>
                    <a:pt x="39" y="283"/>
                  </a:lnTo>
                  <a:lnTo>
                    <a:pt x="37" y="285"/>
                  </a:lnTo>
                  <a:lnTo>
                    <a:pt x="35" y="283"/>
                  </a:lnTo>
                  <a:lnTo>
                    <a:pt x="37" y="281"/>
                  </a:lnTo>
                  <a:lnTo>
                    <a:pt x="45" y="269"/>
                  </a:lnTo>
                  <a:lnTo>
                    <a:pt x="45" y="267"/>
                  </a:lnTo>
                  <a:lnTo>
                    <a:pt x="47" y="265"/>
                  </a:lnTo>
                  <a:lnTo>
                    <a:pt x="49" y="261"/>
                  </a:lnTo>
                  <a:lnTo>
                    <a:pt x="49" y="259"/>
                  </a:lnTo>
                  <a:lnTo>
                    <a:pt x="51" y="259"/>
                  </a:lnTo>
                  <a:lnTo>
                    <a:pt x="53" y="257"/>
                  </a:lnTo>
                  <a:lnTo>
                    <a:pt x="55" y="257"/>
                  </a:lnTo>
                  <a:lnTo>
                    <a:pt x="55" y="255"/>
                  </a:lnTo>
                  <a:lnTo>
                    <a:pt x="55" y="253"/>
                  </a:lnTo>
                  <a:lnTo>
                    <a:pt x="57" y="253"/>
                  </a:lnTo>
                  <a:lnTo>
                    <a:pt x="57" y="253"/>
                  </a:lnTo>
                  <a:lnTo>
                    <a:pt x="57" y="253"/>
                  </a:lnTo>
                  <a:lnTo>
                    <a:pt x="57" y="255"/>
                  </a:lnTo>
                  <a:lnTo>
                    <a:pt x="57" y="255"/>
                  </a:lnTo>
                  <a:lnTo>
                    <a:pt x="57" y="255"/>
                  </a:lnTo>
                  <a:lnTo>
                    <a:pt x="61" y="255"/>
                  </a:lnTo>
                  <a:lnTo>
                    <a:pt x="61" y="255"/>
                  </a:lnTo>
                  <a:lnTo>
                    <a:pt x="61" y="255"/>
                  </a:lnTo>
                  <a:lnTo>
                    <a:pt x="59" y="253"/>
                  </a:lnTo>
                  <a:lnTo>
                    <a:pt x="57" y="250"/>
                  </a:lnTo>
                  <a:lnTo>
                    <a:pt x="57" y="250"/>
                  </a:lnTo>
                  <a:lnTo>
                    <a:pt x="55" y="253"/>
                  </a:lnTo>
                  <a:lnTo>
                    <a:pt x="53" y="255"/>
                  </a:lnTo>
                  <a:lnTo>
                    <a:pt x="53" y="257"/>
                  </a:lnTo>
                  <a:lnTo>
                    <a:pt x="53" y="255"/>
                  </a:lnTo>
                  <a:lnTo>
                    <a:pt x="53" y="253"/>
                  </a:lnTo>
                  <a:lnTo>
                    <a:pt x="55" y="248"/>
                  </a:lnTo>
                  <a:lnTo>
                    <a:pt x="59" y="236"/>
                  </a:lnTo>
                  <a:lnTo>
                    <a:pt x="61" y="232"/>
                  </a:lnTo>
                  <a:lnTo>
                    <a:pt x="61" y="230"/>
                  </a:lnTo>
                  <a:lnTo>
                    <a:pt x="63" y="226"/>
                  </a:lnTo>
                  <a:lnTo>
                    <a:pt x="63" y="226"/>
                  </a:lnTo>
                  <a:lnTo>
                    <a:pt x="63" y="224"/>
                  </a:lnTo>
                  <a:lnTo>
                    <a:pt x="66" y="224"/>
                  </a:lnTo>
                  <a:lnTo>
                    <a:pt x="66" y="224"/>
                  </a:lnTo>
                  <a:lnTo>
                    <a:pt x="66" y="220"/>
                  </a:lnTo>
                  <a:lnTo>
                    <a:pt x="66" y="220"/>
                  </a:lnTo>
                  <a:lnTo>
                    <a:pt x="66" y="218"/>
                  </a:lnTo>
                  <a:lnTo>
                    <a:pt x="66" y="218"/>
                  </a:lnTo>
                  <a:lnTo>
                    <a:pt x="68" y="214"/>
                  </a:lnTo>
                  <a:lnTo>
                    <a:pt x="70" y="205"/>
                  </a:lnTo>
                  <a:lnTo>
                    <a:pt x="72" y="199"/>
                  </a:lnTo>
                  <a:lnTo>
                    <a:pt x="72" y="195"/>
                  </a:lnTo>
                  <a:lnTo>
                    <a:pt x="72" y="195"/>
                  </a:lnTo>
                  <a:lnTo>
                    <a:pt x="72" y="193"/>
                  </a:lnTo>
                  <a:lnTo>
                    <a:pt x="72" y="193"/>
                  </a:lnTo>
                  <a:lnTo>
                    <a:pt x="72" y="193"/>
                  </a:lnTo>
                  <a:lnTo>
                    <a:pt x="74" y="191"/>
                  </a:lnTo>
                  <a:lnTo>
                    <a:pt x="74" y="191"/>
                  </a:lnTo>
                  <a:lnTo>
                    <a:pt x="76" y="185"/>
                  </a:lnTo>
                  <a:lnTo>
                    <a:pt x="78" y="183"/>
                  </a:lnTo>
                  <a:lnTo>
                    <a:pt x="78" y="183"/>
                  </a:lnTo>
                  <a:lnTo>
                    <a:pt x="80" y="183"/>
                  </a:lnTo>
                  <a:lnTo>
                    <a:pt x="82" y="185"/>
                  </a:lnTo>
                  <a:lnTo>
                    <a:pt x="82" y="181"/>
                  </a:lnTo>
                  <a:lnTo>
                    <a:pt x="80" y="181"/>
                  </a:lnTo>
                  <a:lnTo>
                    <a:pt x="80" y="181"/>
                  </a:lnTo>
                  <a:lnTo>
                    <a:pt x="78" y="181"/>
                  </a:lnTo>
                  <a:lnTo>
                    <a:pt x="78" y="179"/>
                  </a:lnTo>
                  <a:lnTo>
                    <a:pt x="78" y="175"/>
                  </a:lnTo>
                  <a:lnTo>
                    <a:pt x="84" y="162"/>
                  </a:lnTo>
                  <a:lnTo>
                    <a:pt x="84" y="162"/>
                  </a:lnTo>
                  <a:lnTo>
                    <a:pt x="86" y="164"/>
                  </a:lnTo>
                  <a:lnTo>
                    <a:pt x="88" y="164"/>
                  </a:lnTo>
                  <a:lnTo>
                    <a:pt x="88" y="162"/>
                  </a:lnTo>
                  <a:lnTo>
                    <a:pt x="88" y="162"/>
                  </a:lnTo>
                  <a:lnTo>
                    <a:pt x="86" y="162"/>
                  </a:lnTo>
                  <a:lnTo>
                    <a:pt x="86" y="162"/>
                  </a:lnTo>
                  <a:lnTo>
                    <a:pt x="84" y="162"/>
                  </a:lnTo>
                  <a:lnTo>
                    <a:pt x="84" y="160"/>
                  </a:lnTo>
                  <a:lnTo>
                    <a:pt x="84" y="160"/>
                  </a:lnTo>
                  <a:lnTo>
                    <a:pt x="84" y="158"/>
                  </a:lnTo>
                  <a:lnTo>
                    <a:pt x="84" y="156"/>
                  </a:lnTo>
                  <a:lnTo>
                    <a:pt x="84" y="156"/>
                  </a:lnTo>
                  <a:lnTo>
                    <a:pt x="86" y="150"/>
                  </a:lnTo>
                  <a:lnTo>
                    <a:pt x="86" y="148"/>
                  </a:lnTo>
                  <a:lnTo>
                    <a:pt x="86" y="148"/>
                  </a:lnTo>
                  <a:lnTo>
                    <a:pt x="88" y="140"/>
                  </a:lnTo>
                  <a:lnTo>
                    <a:pt x="88" y="140"/>
                  </a:lnTo>
                  <a:lnTo>
                    <a:pt x="90" y="138"/>
                  </a:lnTo>
                  <a:lnTo>
                    <a:pt x="92" y="136"/>
                  </a:lnTo>
                  <a:lnTo>
                    <a:pt x="92" y="134"/>
                  </a:lnTo>
                  <a:lnTo>
                    <a:pt x="92" y="134"/>
                  </a:lnTo>
                  <a:lnTo>
                    <a:pt x="92" y="134"/>
                  </a:lnTo>
                  <a:lnTo>
                    <a:pt x="94" y="132"/>
                  </a:lnTo>
                  <a:lnTo>
                    <a:pt x="94" y="130"/>
                  </a:lnTo>
                  <a:lnTo>
                    <a:pt x="94" y="130"/>
                  </a:lnTo>
                  <a:lnTo>
                    <a:pt x="94" y="130"/>
                  </a:lnTo>
                  <a:lnTo>
                    <a:pt x="94" y="127"/>
                  </a:lnTo>
                  <a:lnTo>
                    <a:pt x="96" y="123"/>
                  </a:lnTo>
                  <a:lnTo>
                    <a:pt x="98" y="119"/>
                  </a:lnTo>
                  <a:lnTo>
                    <a:pt x="96" y="117"/>
                  </a:lnTo>
                  <a:lnTo>
                    <a:pt x="96" y="117"/>
                  </a:lnTo>
                  <a:lnTo>
                    <a:pt x="98" y="115"/>
                  </a:lnTo>
                  <a:lnTo>
                    <a:pt x="100" y="113"/>
                  </a:lnTo>
                  <a:lnTo>
                    <a:pt x="102" y="111"/>
                  </a:lnTo>
                  <a:lnTo>
                    <a:pt x="102" y="109"/>
                  </a:lnTo>
                  <a:lnTo>
                    <a:pt x="102" y="107"/>
                  </a:lnTo>
                  <a:lnTo>
                    <a:pt x="102" y="105"/>
                  </a:lnTo>
                  <a:lnTo>
                    <a:pt x="102" y="103"/>
                  </a:lnTo>
                  <a:lnTo>
                    <a:pt x="104" y="103"/>
                  </a:lnTo>
                  <a:lnTo>
                    <a:pt x="104" y="99"/>
                  </a:lnTo>
                  <a:lnTo>
                    <a:pt x="104" y="99"/>
                  </a:lnTo>
                  <a:lnTo>
                    <a:pt x="104" y="99"/>
                  </a:lnTo>
                  <a:lnTo>
                    <a:pt x="107" y="99"/>
                  </a:lnTo>
                  <a:lnTo>
                    <a:pt x="107" y="97"/>
                  </a:lnTo>
                  <a:lnTo>
                    <a:pt x="107" y="97"/>
                  </a:lnTo>
                  <a:lnTo>
                    <a:pt x="107" y="95"/>
                  </a:lnTo>
                  <a:lnTo>
                    <a:pt x="107" y="91"/>
                  </a:lnTo>
                  <a:lnTo>
                    <a:pt x="107" y="91"/>
                  </a:lnTo>
                  <a:lnTo>
                    <a:pt x="104" y="91"/>
                  </a:lnTo>
                  <a:lnTo>
                    <a:pt x="104" y="89"/>
                  </a:lnTo>
                  <a:lnTo>
                    <a:pt x="104" y="89"/>
                  </a:lnTo>
                  <a:lnTo>
                    <a:pt x="107" y="89"/>
                  </a:lnTo>
                  <a:lnTo>
                    <a:pt x="107" y="89"/>
                  </a:lnTo>
                  <a:lnTo>
                    <a:pt x="109" y="87"/>
                  </a:lnTo>
                  <a:lnTo>
                    <a:pt x="109" y="84"/>
                  </a:lnTo>
                  <a:lnTo>
                    <a:pt x="109" y="84"/>
                  </a:lnTo>
                  <a:lnTo>
                    <a:pt x="109" y="82"/>
                  </a:lnTo>
                  <a:lnTo>
                    <a:pt x="109" y="82"/>
                  </a:lnTo>
                  <a:lnTo>
                    <a:pt x="111" y="82"/>
                  </a:lnTo>
                  <a:lnTo>
                    <a:pt x="109" y="82"/>
                  </a:lnTo>
                  <a:lnTo>
                    <a:pt x="109" y="87"/>
                  </a:lnTo>
                  <a:lnTo>
                    <a:pt x="111" y="84"/>
                  </a:lnTo>
                  <a:lnTo>
                    <a:pt x="111" y="84"/>
                  </a:lnTo>
                  <a:lnTo>
                    <a:pt x="113" y="82"/>
                  </a:lnTo>
                  <a:lnTo>
                    <a:pt x="111" y="80"/>
                  </a:lnTo>
                  <a:lnTo>
                    <a:pt x="109" y="78"/>
                  </a:lnTo>
                  <a:lnTo>
                    <a:pt x="111" y="74"/>
                  </a:lnTo>
                  <a:lnTo>
                    <a:pt x="111" y="72"/>
                  </a:lnTo>
                  <a:lnTo>
                    <a:pt x="113" y="68"/>
                  </a:lnTo>
                  <a:lnTo>
                    <a:pt x="113" y="68"/>
                  </a:lnTo>
                  <a:lnTo>
                    <a:pt x="113" y="72"/>
                  </a:lnTo>
                  <a:lnTo>
                    <a:pt x="113" y="74"/>
                  </a:lnTo>
                  <a:lnTo>
                    <a:pt x="113" y="76"/>
                  </a:lnTo>
                  <a:lnTo>
                    <a:pt x="115" y="76"/>
                  </a:lnTo>
                  <a:lnTo>
                    <a:pt x="117" y="78"/>
                  </a:lnTo>
                  <a:lnTo>
                    <a:pt x="117" y="76"/>
                  </a:lnTo>
                  <a:lnTo>
                    <a:pt x="117" y="76"/>
                  </a:lnTo>
                  <a:lnTo>
                    <a:pt x="119" y="76"/>
                  </a:lnTo>
                  <a:lnTo>
                    <a:pt x="119" y="74"/>
                  </a:lnTo>
                  <a:lnTo>
                    <a:pt x="117" y="74"/>
                  </a:lnTo>
                  <a:lnTo>
                    <a:pt x="117" y="72"/>
                  </a:lnTo>
                  <a:lnTo>
                    <a:pt x="117" y="70"/>
                  </a:lnTo>
                  <a:lnTo>
                    <a:pt x="117" y="68"/>
                  </a:lnTo>
                  <a:lnTo>
                    <a:pt x="115" y="68"/>
                  </a:lnTo>
                  <a:lnTo>
                    <a:pt x="113" y="66"/>
                  </a:lnTo>
                  <a:lnTo>
                    <a:pt x="113" y="66"/>
                  </a:lnTo>
                  <a:lnTo>
                    <a:pt x="113" y="64"/>
                  </a:lnTo>
                  <a:lnTo>
                    <a:pt x="115" y="62"/>
                  </a:lnTo>
                  <a:lnTo>
                    <a:pt x="117" y="60"/>
                  </a:lnTo>
                  <a:lnTo>
                    <a:pt x="119" y="58"/>
                  </a:lnTo>
                  <a:lnTo>
                    <a:pt x="119" y="58"/>
                  </a:lnTo>
                  <a:lnTo>
                    <a:pt x="119" y="56"/>
                  </a:lnTo>
                  <a:lnTo>
                    <a:pt x="121" y="56"/>
                  </a:lnTo>
                  <a:lnTo>
                    <a:pt x="121" y="56"/>
                  </a:lnTo>
                  <a:lnTo>
                    <a:pt x="123" y="56"/>
                  </a:lnTo>
                  <a:lnTo>
                    <a:pt x="121" y="56"/>
                  </a:lnTo>
                  <a:lnTo>
                    <a:pt x="121" y="56"/>
                  </a:lnTo>
                  <a:lnTo>
                    <a:pt x="121" y="56"/>
                  </a:lnTo>
                  <a:lnTo>
                    <a:pt x="121" y="56"/>
                  </a:lnTo>
                  <a:lnTo>
                    <a:pt x="119" y="54"/>
                  </a:lnTo>
                  <a:lnTo>
                    <a:pt x="119" y="54"/>
                  </a:lnTo>
                  <a:lnTo>
                    <a:pt x="119" y="56"/>
                  </a:lnTo>
                  <a:lnTo>
                    <a:pt x="117" y="56"/>
                  </a:lnTo>
                  <a:lnTo>
                    <a:pt x="117" y="58"/>
                  </a:lnTo>
                  <a:lnTo>
                    <a:pt x="117" y="54"/>
                  </a:lnTo>
                  <a:lnTo>
                    <a:pt x="117" y="52"/>
                  </a:lnTo>
                  <a:lnTo>
                    <a:pt x="117" y="48"/>
                  </a:lnTo>
                  <a:lnTo>
                    <a:pt x="115" y="48"/>
                  </a:lnTo>
                  <a:lnTo>
                    <a:pt x="117" y="43"/>
                  </a:lnTo>
                  <a:lnTo>
                    <a:pt x="119" y="41"/>
                  </a:lnTo>
                  <a:lnTo>
                    <a:pt x="119" y="35"/>
                  </a:lnTo>
                  <a:lnTo>
                    <a:pt x="121" y="33"/>
                  </a:lnTo>
                  <a:lnTo>
                    <a:pt x="119" y="31"/>
                  </a:lnTo>
                  <a:lnTo>
                    <a:pt x="119" y="29"/>
                  </a:lnTo>
                  <a:lnTo>
                    <a:pt x="119" y="27"/>
                  </a:lnTo>
                  <a:lnTo>
                    <a:pt x="121" y="27"/>
                  </a:lnTo>
                  <a:lnTo>
                    <a:pt x="121" y="27"/>
                  </a:lnTo>
                  <a:lnTo>
                    <a:pt x="123" y="25"/>
                  </a:lnTo>
                  <a:lnTo>
                    <a:pt x="123" y="25"/>
                  </a:lnTo>
                  <a:lnTo>
                    <a:pt x="125" y="25"/>
                  </a:lnTo>
                  <a:lnTo>
                    <a:pt x="125" y="21"/>
                  </a:lnTo>
                  <a:lnTo>
                    <a:pt x="127" y="19"/>
                  </a:lnTo>
                  <a:lnTo>
                    <a:pt x="127" y="17"/>
                  </a:lnTo>
                  <a:lnTo>
                    <a:pt x="127" y="15"/>
                  </a:lnTo>
                  <a:lnTo>
                    <a:pt x="127" y="11"/>
                  </a:lnTo>
                  <a:lnTo>
                    <a:pt x="125" y="2"/>
                  </a:lnTo>
                  <a:lnTo>
                    <a:pt x="125" y="0"/>
                  </a:lnTo>
                  <a:lnTo>
                    <a:pt x="127" y="0"/>
                  </a:lnTo>
                  <a:lnTo>
                    <a:pt x="125" y="0"/>
                  </a:lnTo>
                  <a:lnTo>
                    <a:pt x="125" y="0"/>
                  </a:lnTo>
                  <a:lnTo>
                    <a:pt x="125" y="0"/>
                  </a:lnTo>
                  <a:lnTo>
                    <a:pt x="127" y="2"/>
                  </a:lnTo>
                  <a:lnTo>
                    <a:pt x="129" y="2"/>
                  </a:lnTo>
                  <a:lnTo>
                    <a:pt x="131" y="5"/>
                  </a:lnTo>
                  <a:lnTo>
                    <a:pt x="131" y="7"/>
                  </a:lnTo>
                  <a:lnTo>
                    <a:pt x="133" y="9"/>
                  </a:lnTo>
                  <a:lnTo>
                    <a:pt x="135" y="9"/>
                  </a:lnTo>
                  <a:lnTo>
                    <a:pt x="137" y="9"/>
                  </a:lnTo>
                  <a:lnTo>
                    <a:pt x="137" y="11"/>
                  </a:lnTo>
                  <a:lnTo>
                    <a:pt x="137" y="13"/>
                  </a:lnTo>
                  <a:lnTo>
                    <a:pt x="135" y="13"/>
                  </a:lnTo>
                  <a:lnTo>
                    <a:pt x="137" y="15"/>
                  </a:lnTo>
                  <a:lnTo>
                    <a:pt x="137" y="13"/>
                  </a:lnTo>
                  <a:lnTo>
                    <a:pt x="137" y="13"/>
                  </a:lnTo>
                  <a:lnTo>
                    <a:pt x="137" y="13"/>
                  </a:lnTo>
                  <a:lnTo>
                    <a:pt x="139" y="13"/>
                  </a:lnTo>
                  <a:lnTo>
                    <a:pt x="139" y="11"/>
                  </a:lnTo>
                  <a:lnTo>
                    <a:pt x="139" y="11"/>
                  </a:lnTo>
                  <a:lnTo>
                    <a:pt x="137" y="9"/>
                  </a:lnTo>
                  <a:lnTo>
                    <a:pt x="137" y="9"/>
                  </a:lnTo>
                  <a:lnTo>
                    <a:pt x="137" y="7"/>
                  </a:lnTo>
                  <a:lnTo>
                    <a:pt x="135" y="7"/>
                  </a:lnTo>
                  <a:lnTo>
                    <a:pt x="135" y="7"/>
                  </a:lnTo>
                  <a:lnTo>
                    <a:pt x="135" y="7"/>
                  </a:lnTo>
                  <a:lnTo>
                    <a:pt x="135" y="5"/>
                  </a:lnTo>
                  <a:lnTo>
                    <a:pt x="139" y="7"/>
                  </a:lnTo>
                  <a:lnTo>
                    <a:pt x="141" y="5"/>
                  </a:lnTo>
                  <a:lnTo>
                    <a:pt x="141" y="5"/>
                  </a:lnTo>
                  <a:lnTo>
                    <a:pt x="141" y="7"/>
                  </a:lnTo>
                  <a:lnTo>
                    <a:pt x="143" y="9"/>
                  </a:lnTo>
                  <a:lnTo>
                    <a:pt x="145" y="9"/>
                  </a:lnTo>
                  <a:lnTo>
                    <a:pt x="145" y="9"/>
                  </a:lnTo>
                  <a:lnTo>
                    <a:pt x="154" y="9"/>
                  </a:lnTo>
                  <a:lnTo>
                    <a:pt x="154" y="9"/>
                  </a:lnTo>
                  <a:lnTo>
                    <a:pt x="154" y="9"/>
                  </a:lnTo>
                  <a:lnTo>
                    <a:pt x="154" y="7"/>
                  </a:lnTo>
                  <a:lnTo>
                    <a:pt x="154" y="7"/>
                  </a:lnTo>
                  <a:lnTo>
                    <a:pt x="156" y="9"/>
                  </a:lnTo>
                  <a:lnTo>
                    <a:pt x="158" y="9"/>
                  </a:lnTo>
                  <a:lnTo>
                    <a:pt x="160" y="7"/>
                  </a:lnTo>
                  <a:lnTo>
                    <a:pt x="162" y="7"/>
                  </a:lnTo>
                  <a:lnTo>
                    <a:pt x="162" y="7"/>
                  </a:lnTo>
                  <a:lnTo>
                    <a:pt x="164" y="7"/>
                  </a:lnTo>
                  <a:lnTo>
                    <a:pt x="164" y="9"/>
                  </a:lnTo>
                  <a:lnTo>
                    <a:pt x="168" y="15"/>
                  </a:lnTo>
                  <a:lnTo>
                    <a:pt x="168" y="15"/>
                  </a:lnTo>
                  <a:lnTo>
                    <a:pt x="168" y="17"/>
                  </a:lnTo>
                  <a:lnTo>
                    <a:pt x="176" y="19"/>
                  </a:lnTo>
                  <a:lnTo>
                    <a:pt x="180" y="21"/>
                  </a:lnTo>
                  <a:lnTo>
                    <a:pt x="182" y="21"/>
                  </a:lnTo>
                  <a:lnTo>
                    <a:pt x="184" y="19"/>
                  </a:lnTo>
                  <a:lnTo>
                    <a:pt x="186" y="17"/>
                  </a:lnTo>
                  <a:lnTo>
                    <a:pt x="186" y="17"/>
                  </a:lnTo>
                  <a:close/>
                </a:path>
              </a:pathLst>
            </a:custGeom>
            <a:solidFill>
              <a:schemeClr val="bg1">
                <a:lumMod val="75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R</a:t>
              </a:r>
            </a:p>
          </p:txBody>
        </p:sp>
        <p:sp>
          <p:nvSpPr>
            <p:cNvPr id="79" name="Freeform 19">
              <a:extLst>
                <a:ext uri="{FF2B5EF4-FFF2-40B4-BE49-F238E27FC236}">
                  <a16:creationId xmlns:a16="http://schemas.microsoft.com/office/drawing/2014/main" id="{1BB8A1FB-F39C-46E1-97FE-6B1ADD72982C}"/>
                </a:ext>
              </a:extLst>
            </p:cNvPr>
            <p:cNvSpPr>
              <a:spLocks/>
            </p:cNvSpPr>
            <p:nvPr/>
          </p:nvSpPr>
          <p:spPr bwMode="auto">
            <a:xfrm>
              <a:off x="2466" y="1433"/>
              <a:ext cx="758" cy="360"/>
            </a:xfrm>
            <a:custGeom>
              <a:avLst/>
              <a:gdLst>
                <a:gd name="T0" fmla="*/ 750 w 758"/>
                <a:gd name="T1" fmla="*/ 157 h 360"/>
                <a:gd name="T2" fmla="*/ 758 w 758"/>
                <a:gd name="T3" fmla="*/ 336 h 360"/>
                <a:gd name="T4" fmla="*/ 750 w 758"/>
                <a:gd name="T5" fmla="*/ 356 h 360"/>
                <a:gd name="T6" fmla="*/ 740 w 758"/>
                <a:gd name="T7" fmla="*/ 354 h 360"/>
                <a:gd name="T8" fmla="*/ 731 w 758"/>
                <a:gd name="T9" fmla="*/ 350 h 360"/>
                <a:gd name="T10" fmla="*/ 715 w 758"/>
                <a:gd name="T11" fmla="*/ 342 h 360"/>
                <a:gd name="T12" fmla="*/ 707 w 758"/>
                <a:gd name="T13" fmla="*/ 338 h 360"/>
                <a:gd name="T14" fmla="*/ 690 w 758"/>
                <a:gd name="T15" fmla="*/ 329 h 360"/>
                <a:gd name="T16" fmla="*/ 684 w 758"/>
                <a:gd name="T17" fmla="*/ 336 h 360"/>
                <a:gd name="T18" fmla="*/ 680 w 758"/>
                <a:gd name="T19" fmla="*/ 340 h 360"/>
                <a:gd name="T20" fmla="*/ 668 w 758"/>
                <a:gd name="T21" fmla="*/ 338 h 360"/>
                <a:gd name="T22" fmla="*/ 664 w 758"/>
                <a:gd name="T23" fmla="*/ 338 h 360"/>
                <a:gd name="T24" fmla="*/ 656 w 758"/>
                <a:gd name="T25" fmla="*/ 332 h 360"/>
                <a:gd name="T26" fmla="*/ 647 w 758"/>
                <a:gd name="T27" fmla="*/ 338 h 360"/>
                <a:gd name="T28" fmla="*/ 641 w 758"/>
                <a:gd name="T29" fmla="*/ 342 h 360"/>
                <a:gd name="T30" fmla="*/ 629 w 758"/>
                <a:gd name="T31" fmla="*/ 340 h 360"/>
                <a:gd name="T32" fmla="*/ 621 w 758"/>
                <a:gd name="T33" fmla="*/ 344 h 360"/>
                <a:gd name="T34" fmla="*/ 607 w 758"/>
                <a:gd name="T35" fmla="*/ 350 h 360"/>
                <a:gd name="T36" fmla="*/ 596 w 758"/>
                <a:gd name="T37" fmla="*/ 358 h 360"/>
                <a:gd name="T38" fmla="*/ 576 w 758"/>
                <a:gd name="T39" fmla="*/ 350 h 360"/>
                <a:gd name="T40" fmla="*/ 568 w 758"/>
                <a:gd name="T41" fmla="*/ 346 h 360"/>
                <a:gd name="T42" fmla="*/ 566 w 758"/>
                <a:gd name="T43" fmla="*/ 338 h 360"/>
                <a:gd name="T44" fmla="*/ 561 w 758"/>
                <a:gd name="T45" fmla="*/ 344 h 360"/>
                <a:gd name="T46" fmla="*/ 555 w 758"/>
                <a:gd name="T47" fmla="*/ 346 h 360"/>
                <a:gd name="T48" fmla="*/ 543 w 758"/>
                <a:gd name="T49" fmla="*/ 342 h 360"/>
                <a:gd name="T50" fmla="*/ 539 w 758"/>
                <a:gd name="T51" fmla="*/ 336 h 360"/>
                <a:gd name="T52" fmla="*/ 533 w 758"/>
                <a:gd name="T53" fmla="*/ 344 h 360"/>
                <a:gd name="T54" fmla="*/ 527 w 758"/>
                <a:gd name="T55" fmla="*/ 350 h 360"/>
                <a:gd name="T56" fmla="*/ 516 w 758"/>
                <a:gd name="T57" fmla="*/ 356 h 360"/>
                <a:gd name="T58" fmla="*/ 514 w 758"/>
                <a:gd name="T59" fmla="*/ 342 h 360"/>
                <a:gd name="T60" fmla="*/ 508 w 758"/>
                <a:gd name="T61" fmla="*/ 346 h 360"/>
                <a:gd name="T62" fmla="*/ 500 w 758"/>
                <a:gd name="T63" fmla="*/ 348 h 360"/>
                <a:gd name="T64" fmla="*/ 490 w 758"/>
                <a:gd name="T65" fmla="*/ 344 h 360"/>
                <a:gd name="T66" fmla="*/ 473 w 758"/>
                <a:gd name="T67" fmla="*/ 332 h 360"/>
                <a:gd name="T68" fmla="*/ 447 w 758"/>
                <a:gd name="T69" fmla="*/ 344 h 360"/>
                <a:gd name="T70" fmla="*/ 447 w 758"/>
                <a:gd name="T71" fmla="*/ 334 h 360"/>
                <a:gd name="T72" fmla="*/ 434 w 758"/>
                <a:gd name="T73" fmla="*/ 321 h 360"/>
                <a:gd name="T74" fmla="*/ 408 w 758"/>
                <a:gd name="T75" fmla="*/ 319 h 360"/>
                <a:gd name="T76" fmla="*/ 391 w 758"/>
                <a:gd name="T77" fmla="*/ 319 h 360"/>
                <a:gd name="T78" fmla="*/ 377 w 758"/>
                <a:gd name="T79" fmla="*/ 317 h 360"/>
                <a:gd name="T80" fmla="*/ 348 w 758"/>
                <a:gd name="T81" fmla="*/ 311 h 360"/>
                <a:gd name="T82" fmla="*/ 334 w 758"/>
                <a:gd name="T83" fmla="*/ 299 h 360"/>
                <a:gd name="T84" fmla="*/ 326 w 758"/>
                <a:gd name="T85" fmla="*/ 288 h 360"/>
                <a:gd name="T86" fmla="*/ 318 w 758"/>
                <a:gd name="T87" fmla="*/ 284 h 360"/>
                <a:gd name="T88" fmla="*/ 303 w 758"/>
                <a:gd name="T89" fmla="*/ 288 h 360"/>
                <a:gd name="T90" fmla="*/ 291 w 758"/>
                <a:gd name="T91" fmla="*/ 291 h 360"/>
                <a:gd name="T92" fmla="*/ 262 w 758"/>
                <a:gd name="T93" fmla="*/ 272 h 360"/>
                <a:gd name="T94" fmla="*/ 262 w 758"/>
                <a:gd name="T95" fmla="*/ 192 h 360"/>
                <a:gd name="T96" fmla="*/ 262 w 758"/>
                <a:gd name="T97" fmla="*/ 94 h 360"/>
                <a:gd name="T98" fmla="*/ 234 w 758"/>
                <a:gd name="T99" fmla="*/ 65 h 360"/>
                <a:gd name="T100" fmla="*/ 60 w 758"/>
                <a:gd name="T101" fmla="*/ 63 h 360"/>
                <a:gd name="T102" fmla="*/ 2 w 758"/>
                <a:gd name="T103" fmla="*/ 20 h 360"/>
                <a:gd name="T104" fmla="*/ 78 w 758"/>
                <a:gd name="T105" fmla="*/ 10 h 360"/>
                <a:gd name="T106" fmla="*/ 228 w 758"/>
                <a:gd name="T107" fmla="*/ 10 h 360"/>
                <a:gd name="T108" fmla="*/ 389 w 758"/>
                <a:gd name="T109" fmla="*/ 10 h 360"/>
                <a:gd name="T110" fmla="*/ 549 w 758"/>
                <a:gd name="T111" fmla="*/ 6 h 360"/>
                <a:gd name="T112" fmla="*/ 709 w 758"/>
                <a:gd name="T113"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58" h="360">
                  <a:moveTo>
                    <a:pt x="731" y="53"/>
                  </a:moveTo>
                  <a:lnTo>
                    <a:pt x="736" y="67"/>
                  </a:lnTo>
                  <a:lnTo>
                    <a:pt x="738" y="84"/>
                  </a:lnTo>
                  <a:lnTo>
                    <a:pt x="740" y="98"/>
                  </a:lnTo>
                  <a:lnTo>
                    <a:pt x="744" y="112"/>
                  </a:lnTo>
                  <a:lnTo>
                    <a:pt x="746" y="127"/>
                  </a:lnTo>
                  <a:lnTo>
                    <a:pt x="748" y="143"/>
                  </a:lnTo>
                  <a:lnTo>
                    <a:pt x="750" y="157"/>
                  </a:lnTo>
                  <a:lnTo>
                    <a:pt x="754" y="172"/>
                  </a:lnTo>
                  <a:lnTo>
                    <a:pt x="754" y="196"/>
                  </a:lnTo>
                  <a:lnTo>
                    <a:pt x="754" y="219"/>
                  </a:lnTo>
                  <a:lnTo>
                    <a:pt x="756" y="241"/>
                  </a:lnTo>
                  <a:lnTo>
                    <a:pt x="756" y="266"/>
                  </a:lnTo>
                  <a:lnTo>
                    <a:pt x="756" y="288"/>
                  </a:lnTo>
                  <a:lnTo>
                    <a:pt x="758" y="313"/>
                  </a:lnTo>
                  <a:lnTo>
                    <a:pt x="758" y="336"/>
                  </a:lnTo>
                  <a:lnTo>
                    <a:pt x="758" y="360"/>
                  </a:lnTo>
                  <a:lnTo>
                    <a:pt x="758" y="360"/>
                  </a:lnTo>
                  <a:lnTo>
                    <a:pt x="756" y="360"/>
                  </a:lnTo>
                  <a:lnTo>
                    <a:pt x="754" y="358"/>
                  </a:lnTo>
                  <a:lnTo>
                    <a:pt x="754" y="360"/>
                  </a:lnTo>
                  <a:lnTo>
                    <a:pt x="750" y="358"/>
                  </a:lnTo>
                  <a:lnTo>
                    <a:pt x="750" y="358"/>
                  </a:lnTo>
                  <a:lnTo>
                    <a:pt x="750" y="356"/>
                  </a:lnTo>
                  <a:lnTo>
                    <a:pt x="750" y="356"/>
                  </a:lnTo>
                  <a:lnTo>
                    <a:pt x="748" y="356"/>
                  </a:lnTo>
                  <a:lnTo>
                    <a:pt x="746" y="356"/>
                  </a:lnTo>
                  <a:lnTo>
                    <a:pt x="744" y="356"/>
                  </a:lnTo>
                  <a:lnTo>
                    <a:pt x="744" y="356"/>
                  </a:lnTo>
                  <a:lnTo>
                    <a:pt x="742" y="356"/>
                  </a:lnTo>
                  <a:lnTo>
                    <a:pt x="742" y="354"/>
                  </a:lnTo>
                  <a:lnTo>
                    <a:pt x="740" y="354"/>
                  </a:lnTo>
                  <a:lnTo>
                    <a:pt x="740" y="356"/>
                  </a:lnTo>
                  <a:lnTo>
                    <a:pt x="740" y="356"/>
                  </a:lnTo>
                  <a:lnTo>
                    <a:pt x="738" y="356"/>
                  </a:lnTo>
                  <a:lnTo>
                    <a:pt x="738" y="354"/>
                  </a:lnTo>
                  <a:lnTo>
                    <a:pt x="736" y="354"/>
                  </a:lnTo>
                  <a:lnTo>
                    <a:pt x="733" y="352"/>
                  </a:lnTo>
                  <a:lnTo>
                    <a:pt x="733" y="350"/>
                  </a:lnTo>
                  <a:lnTo>
                    <a:pt x="731" y="350"/>
                  </a:lnTo>
                  <a:lnTo>
                    <a:pt x="729" y="350"/>
                  </a:lnTo>
                  <a:lnTo>
                    <a:pt x="723" y="350"/>
                  </a:lnTo>
                  <a:lnTo>
                    <a:pt x="719" y="346"/>
                  </a:lnTo>
                  <a:lnTo>
                    <a:pt x="719" y="344"/>
                  </a:lnTo>
                  <a:lnTo>
                    <a:pt x="717" y="344"/>
                  </a:lnTo>
                  <a:lnTo>
                    <a:pt x="717" y="342"/>
                  </a:lnTo>
                  <a:lnTo>
                    <a:pt x="717" y="342"/>
                  </a:lnTo>
                  <a:lnTo>
                    <a:pt x="715" y="342"/>
                  </a:lnTo>
                  <a:lnTo>
                    <a:pt x="715" y="340"/>
                  </a:lnTo>
                  <a:lnTo>
                    <a:pt x="715" y="340"/>
                  </a:lnTo>
                  <a:lnTo>
                    <a:pt x="715" y="340"/>
                  </a:lnTo>
                  <a:lnTo>
                    <a:pt x="713" y="340"/>
                  </a:lnTo>
                  <a:lnTo>
                    <a:pt x="713" y="338"/>
                  </a:lnTo>
                  <a:lnTo>
                    <a:pt x="711" y="338"/>
                  </a:lnTo>
                  <a:lnTo>
                    <a:pt x="709" y="338"/>
                  </a:lnTo>
                  <a:lnTo>
                    <a:pt x="707" y="338"/>
                  </a:lnTo>
                  <a:lnTo>
                    <a:pt x="705" y="334"/>
                  </a:lnTo>
                  <a:lnTo>
                    <a:pt x="703" y="334"/>
                  </a:lnTo>
                  <a:lnTo>
                    <a:pt x="701" y="334"/>
                  </a:lnTo>
                  <a:lnTo>
                    <a:pt x="699" y="332"/>
                  </a:lnTo>
                  <a:lnTo>
                    <a:pt x="699" y="332"/>
                  </a:lnTo>
                  <a:lnTo>
                    <a:pt x="699" y="332"/>
                  </a:lnTo>
                  <a:lnTo>
                    <a:pt x="697" y="329"/>
                  </a:lnTo>
                  <a:lnTo>
                    <a:pt x="690" y="329"/>
                  </a:lnTo>
                  <a:lnTo>
                    <a:pt x="690" y="329"/>
                  </a:lnTo>
                  <a:lnTo>
                    <a:pt x="688" y="329"/>
                  </a:lnTo>
                  <a:lnTo>
                    <a:pt x="688" y="332"/>
                  </a:lnTo>
                  <a:lnTo>
                    <a:pt x="688" y="334"/>
                  </a:lnTo>
                  <a:lnTo>
                    <a:pt x="686" y="336"/>
                  </a:lnTo>
                  <a:lnTo>
                    <a:pt x="686" y="334"/>
                  </a:lnTo>
                  <a:lnTo>
                    <a:pt x="686" y="336"/>
                  </a:lnTo>
                  <a:lnTo>
                    <a:pt x="684" y="336"/>
                  </a:lnTo>
                  <a:lnTo>
                    <a:pt x="684" y="336"/>
                  </a:lnTo>
                  <a:lnTo>
                    <a:pt x="684" y="338"/>
                  </a:lnTo>
                  <a:lnTo>
                    <a:pt x="682" y="336"/>
                  </a:lnTo>
                  <a:lnTo>
                    <a:pt x="682" y="336"/>
                  </a:lnTo>
                  <a:lnTo>
                    <a:pt x="682" y="338"/>
                  </a:lnTo>
                  <a:lnTo>
                    <a:pt x="682" y="338"/>
                  </a:lnTo>
                  <a:lnTo>
                    <a:pt x="680" y="338"/>
                  </a:lnTo>
                  <a:lnTo>
                    <a:pt x="680" y="340"/>
                  </a:lnTo>
                  <a:lnTo>
                    <a:pt x="680" y="340"/>
                  </a:lnTo>
                  <a:lnTo>
                    <a:pt x="680" y="340"/>
                  </a:lnTo>
                  <a:lnTo>
                    <a:pt x="672" y="340"/>
                  </a:lnTo>
                  <a:lnTo>
                    <a:pt x="672" y="340"/>
                  </a:lnTo>
                  <a:lnTo>
                    <a:pt x="670" y="340"/>
                  </a:lnTo>
                  <a:lnTo>
                    <a:pt x="670" y="338"/>
                  </a:lnTo>
                  <a:lnTo>
                    <a:pt x="670" y="338"/>
                  </a:lnTo>
                  <a:lnTo>
                    <a:pt x="668" y="338"/>
                  </a:lnTo>
                  <a:lnTo>
                    <a:pt x="668" y="338"/>
                  </a:lnTo>
                  <a:lnTo>
                    <a:pt x="668" y="340"/>
                  </a:lnTo>
                  <a:lnTo>
                    <a:pt x="668" y="340"/>
                  </a:lnTo>
                  <a:lnTo>
                    <a:pt x="666" y="338"/>
                  </a:lnTo>
                  <a:lnTo>
                    <a:pt x="666" y="338"/>
                  </a:lnTo>
                  <a:lnTo>
                    <a:pt x="666" y="338"/>
                  </a:lnTo>
                  <a:lnTo>
                    <a:pt x="666" y="338"/>
                  </a:lnTo>
                  <a:lnTo>
                    <a:pt x="664" y="338"/>
                  </a:lnTo>
                  <a:lnTo>
                    <a:pt x="662" y="338"/>
                  </a:lnTo>
                  <a:lnTo>
                    <a:pt x="664" y="336"/>
                  </a:lnTo>
                  <a:lnTo>
                    <a:pt x="662" y="334"/>
                  </a:lnTo>
                  <a:lnTo>
                    <a:pt x="662" y="334"/>
                  </a:lnTo>
                  <a:lnTo>
                    <a:pt x="660" y="332"/>
                  </a:lnTo>
                  <a:lnTo>
                    <a:pt x="658" y="332"/>
                  </a:lnTo>
                  <a:lnTo>
                    <a:pt x="658" y="332"/>
                  </a:lnTo>
                  <a:lnTo>
                    <a:pt x="656" y="332"/>
                  </a:lnTo>
                  <a:lnTo>
                    <a:pt x="656" y="334"/>
                  </a:lnTo>
                  <a:lnTo>
                    <a:pt x="656" y="334"/>
                  </a:lnTo>
                  <a:lnTo>
                    <a:pt x="654" y="334"/>
                  </a:lnTo>
                  <a:lnTo>
                    <a:pt x="654" y="334"/>
                  </a:lnTo>
                  <a:lnTo>
                    <a:pt x="652" y="336"/>
                  </a:lnTo>
                  <a:lnTo>
                    <a:pt x="650" y="336"/>
                  </a:lnTo>
                  <a:lnTo>
                    <a:pt x="650" y="336"/>
                  </a:lnTo>
                  <a:lnTo>
                    <a:pt x="647" y="338"/>
                  </a:lnTo>
                  <a:lnTo>
                    <a:pt x="647" y="338"/>
                  </a:lnTo>
                  <a:lnTo>
                    <a:pt x="647" y="338"/>
                  </a:lnTo>
                  <a:lnTo>
                    <a:pt x="645" y="338"/>
                  </a:lnTo>
                  <a:lnTo>
                    <a:pt x="643" y="338"/>
                  </a:lnTo>
                  <a:lnTo>
                    <a:pt x="641" y="338"/>
                  </a:lnTo>
                  <a:lnTo>
                    <a:pt x="641" y="342"/>
                  </a:lnTo>
                  <a:lnTo>
                    <a:pt x="641" y="342"/>
                  </a:lnTo>
                  <a:lnTo>
                    <a:pt x="641" y="342"/>
                  </a:lnTo>
                  <a:lnTo>
                    <a:pt x="639" y="342"/>
                  </a:lnTo>
                  <a:lnTo>
                    <a:pt x="639" y="342"/>
                  </a:lnTo>
                  <a:lnTo>
                    <a:pt x="639" y="342"/>
                  </a:lnTo>
                  <a:lnTo>
                    <a:pt x="639" y="342"/>
                  </a:lnTo>
                  <a:lnTo>
                    <a:pt x="637" y="342"/>
                  </a:lnTo>
                  <a:lnTo>
                    <a:pt x="635" y="344"/>
                  </a:lnTo>
                  <a:lnTo>
                    <a:pt x="635" y="342"/>
                  </a:lnTo>
                  <a:lnTo>
                    <a:pt x="629" y="340"/>
                  </a:lnTo>
                  <a:lnTo>
                    <a:pt x="629" y="338"/>
                  </a:lnTo>
                  <a:lnTo>
                    <a:pt x="627" y="338"/>
                  </a:lnTo>
                  <a:lnTo>
                    <a:pt x="627" y="340"/>
                  </a:lnTo>
                  <a:lnTo>
                    <a:pt x="625" y="340"/>
                  </a:lnTo>
                  <a:lnTo>
                    <a:pt x="625" y="342"/>
                  </a:lnTo>
                  <a:lnTo>
                    <a:pt x="625" y="342"/>
                  </a:lnTo>
                  <a:lnTo>
                    <a:pt x="623" y="342"/>
                  </a:lnTo>
                  <a:lnTo>
                    <a:pt x="621" y="344"/>
                  </a:lnTo>
                  <a:lnTo>
                    <a:pt x="619" y="344"/>
                  </a:lnTo>
                  <a:lnTo>
                    <a:pt x="617" y="344"/>
                  </a:lnTo>
                  <a:lnTo>
                    <a:pt x="613" y="344"/>
                  </a:lnTo>
                  <a:lnTo>
                    <a:pt x="611" y="346"/>
                  </a:lnTo>
                  <a:lnTo>
                    <a:pt x="611" y="346"/>
                  </a:lnTo>
                  <a:lnTo>
                    <a:pt x="609" y="346"/>
                  </a:lnTo>
                  <a:lnTo>
                    <a:pt x="609" y="348"/>
                  </a:lnTo>
                  <a:lnTo>
                    <a:pt x="607" y="350"/>
                  </a:lnTo>
                  <a:lnTo>
                    <a:pt x="607" y="352"/>
                  </a:lnTo>
                  <a:lnTo>
                    <a:pt x="604" y="354"/>
                  </a:lnTo>
                  <a:lnTo>
                    <a:pt x="602" y="354"/>
                  </a:lnTo>
                  <a:lnTo>
                    <a:pt x="598" y="354"/>
                  </a:lnTo>
                  <a:lnTo>
                    <a:pt x="596" y="354"/>
                  </a:lnTo>
                  <a:lnTo>
                    <a:pt x="596" y="354"/>
                  </a:lnTo>
                  <a:lnTo>
                    <a:pt x="596" y="356"/>
                  </a:lnTo>
                  <a:lnTo>
                    <a:pt x="596" y="358"/>
                  </a:lnTo>
                  <a:lnTo>
                    <a:pt x="592" y="360"/>
                  </a:lnTo>
                  <a:lnTo>
                    <a:pt x="590" y="358"/>
                  </a:lnTo>
                  <a:lnTo>
                    <a:pt x="588" y="354"/>
                  </a:lnTo>
                  <a:lnTo>
                    <a:pt x="586" y="352"/>
                  </a:lnTo>
                  <a:lnTo>
                    <a:pt x="584" y="352"/>
                  </a:lnTo>
                  <a:lnTo>
                    <a:pt x="578" y="352"/>
                  </a:lnTo>
                  <a:lnTo>
                    <a:pt x="578" y="352"/>
                  </a:lnTo>
                  <a:lnTo>
                    <a:pt x="576" y="350"/>
                  </a:lnTo>
                  <a:lnTo>
                    <a:pt x="576" y="350"/>
                  </a:lnTo>
                  <a:lnTo>
                    <a:pt x="576" y="348"/>
                  </a:lnTo>
                  <a:lnTo>
                    <a:pt x="576" y="348"/>
                  </a:lnTo>
                  <a:lnTo>
                    <a:pt x="574" y="348"/>
                  </a:lnTo>
                  <a:lnTo>
                    <a:pt x="574" y="348"/>
                  </a:lnTo>
                  <a:lnTo>
                    <a:pt x="570" y="346"/>
                  </a:lnTo>
                  <a:lnTo>
                    <a:pt x="570" y="346"/>
                  </a:lnTo>
                  <a:lnTo>
                    <a:pt x="568" y="346"/>
                  </a:lnTo>
                  <a:lnTo>
                    <a:pt x="568" y="344"/>
                  </a:lnTo>
                  <a:lnTo>
                    <a:pt x="568" y="344"/>
                  </a:lnTo>
                  <a:lnTo>
                    <a:pt x="568" y="344"/>
                  </a:lnTo>
                  <a:lnTo>
                    <a:pt x="568" y="342"/>
                  </a:lnTo>
                  <a:lnTo>
                    <a:pt x="570" y="342"/>
                  </a:lnTo>
                  <a:lnTo>
                    <a:pt x="570" y="340"/>
                  </a:lnTo>
                  <a:lnTo>
                    <a:pt x="568" y="340"/>
                  </a:lnTo>
                  <a:lnTo>
                    <a:pt x="566" y="338"/>
                  </a:lnTo>
                  <a:lnTo>
                    <a:pt x="563" y="338"/>
                  </a:lnTo>
                  <a:lnTo>
                    <a:pt x="563" y="338"/>
                  </a:lnTo>
                  <a:lnTo>
                    <a:pt x="563" y="338"/>
                  </a:lnTo>
                  <a:lnTo>
                    <a:pt x="563" y="340"/>
                  </a:lnTo>
                  <a:lnTo>
                    <a:pt x="561" y="340"/>
                  </a:lnTo>
                  <a:lnTo>
                    <a:pt x="561" y="344"/>
                  </a:lnTo>
                  <a:lnTo>
                    <a:pt x="561" y="344"/>
                  </a:lnTo>
                  <a:lnTo>
                    <a:pt x="561" y="344"/>
                  </a:lnTo>
                  <a:lnTo>
                    <a:pt x="559" y="344"/>
                  </a:lnTo>
                  <a:lnTo>
                    <a:pt x="559" y="346"/>
                  </a:lnTo>
                  <a:lnTo>
                    <a:pt x="559" y="346"/>
                  </a:lnTo>
                  <a:lnTo>
                    <a:pt x="557" y="346"/>
                  </a:lnTo>
                  <a:lnTo>
                    <a:pt x="557" y="346"/>
                  </a:lnTo>
                  <a:lnTo>
                    <a:pt x="555" y="346"/>
                  </a:lnTo>
                  <a:lnTo>
                    <a:pt x="555" y="346"/>
                  </a:lnTo>
                  <a:lnTo>
                    <a:pt x="555" y="346"/>
                  </a:lnTo>
                  <a:lnTo>
                    <a:pt x="551" y="344"/>
                  </a:lnTo>
                  <a:lnTo>
                    <a:pt x="551" y="344"/>
                  </a:lnTo>
                  <a:lnTo>
                    <a:pt x="551" y="344"/>
                  </a:lnTo>
                  <a:lnTo>
                    <a:pt x="547" y="344"/>
                  </a:lnTo>
                  <a:lnTo>
                    <a:pt x="547" y="344"/>
                  </a:lnTo>
                  <a:lnTo>
                    <a:pt x="545" y="344"/>
                  </a:lnTo>
                  <a:lnTo>
                    <a:pt x="545" y="344"/>
                  </a:lnTo>
                  <a:lnTo>
                    <a:pt x="543" y="342"/>
                  </a:lnTo>
                  <a:lnTo>
                    <a:pt x="543" y="342"/>
                  </a:lnTo>
                  <a:lnTo>
                    <a:pt x="543" y="340"/>
                  </a:lnTo>
                  <a:lnTo>
                    <a:pt x="543" y="338"/>
                  </a:lnTo>
                  <a:lnTo>
                    <a:pt x="541" y="336"/>
                  </a:lnTo>
                  <a:lnTo>
                    <a:pt x="541" y="336"/>
                  </a:lnTo>
                  <a:lnTo>
                    <a:pt x="541" y="336"/>
                  </a:lnTo>
                  <a:lnTo>
                    <a:pt x="539" y="336"/>
                  </a:lnTo>
                  <a:lnTo>
                    <a:pt x="539" y="336"/>
                  </a:lnTo>
                  <a:lnTo>
                    <a:pt x="539" y="336"/>
                  </a:lnTo>
                  <a:lnTo>
                    <a:pt x="535" y="336"/>
                  </a:lnTo>
                  <a:lnTo>
                    <a:pt x="535" y="336"/>
                  </a:lnTo>
                  <a:lnTo>
                    <a:pt x="535" y="336"/>
                  </a:lnTo>
                  <a:lnTo>
                    <a:pt x="533" y="336"/>
                  </a:lnTo>
                  <a:lnTo>
                    <a:pt x="533" y="338"/>
                  </a:lnTo>
                  <a:lnTo>
                    <a:pt x="533" y="340"/>
                  </a:lnTo>
                  <a:lnTo>
                    <a:pt x="533" y="344"/>
                  </a:lnTo>
                  <a:lnTo>
                    <a:pt x="531" y="346"/>
                  </a:lnTo>
                  <a:lnTo>
                    <a:pt x="529" y="346"/>
                  </a:lnTo>
                  <a:lnTo>
                    <a:pt x="525" y="346"/>
                  </a:lnTo>
                  <a:lnTo>
                    <a:pt x="525" y="348"/>
                  </a:lnTo>
                  <a:lnTo>
                    <a:pt x="527" y="348"/>
                  </a:lnTo>
                  <a:lnTo>
                    <a:pt x="527" y="348"/>
                  </a:lnTo>
                  <a:lnTo>
                    <a:pt x="527" y="350"/>
                  </a:lnTo>
                  <a:lnTo>
                    <a:pt x="527" y="350"/>
                  </a:lnTo>
                  <a:lnTo>
                    <a:pt x="525" y="352"/>
                  </a:lnTo>
                  <a:lnTo>
                    <a:pt x="525" y="352"/>
                  </a:lnTo>
                  <a:lnTo>
                    <a:pt x="525" y="356"/>
                  </a:lnTo>
                  <a:lnTo>
                    <a:pt x="525" y="358"/>
                  </a:lnTo>
                  <a:lnTo>
                    <a:pt x="523" y="360"/>
                  </a:lnTo>
                  <a:lnTo>
                    <a:pt x="520" y="360"/>
                  </a:lnTo>
                  <a:lnTo>
                    <a:pt x="516" y="358"/>
                  </a:lnTo>
                  <a:lnTo>
                    <a:pt x="516" y="356"/>
                  </a:lnTo>
                  <a:lnTo>
                    <a:pt x="514" y="354"/>
                  </a:lnTo>
                  <a:lnTo>
                    <a:pt x="514" y="352"/>
                  </a:lnTo>
                  <a:lnTo>
                    <a:pt x="514" y="350"/>
                  </a:lnTo>
                  <a:lnTo>
                    <a:pt x="516" y="346"/>
                  </a:lnTo>
                  <a:lnTo>
                    <a:pt x="516" y="344"/>
                  </a:lnTo>
                  <a:lnTo>
                    <a:pt x="516" y="344"/>
                  </a:lnTo>
                  <a:lnTo>
                    <a:pt x="514" y="342"/>
                  </a:lnTo>
                  <a:lnTo>
                    <a:pt x="514" y="342"/>
                  </a:lnTo>
                  <a:lnTo>
                    <a:pt x="512" y="340"/>
                  </a:lnTo>
                  <a:lnTo>
                    <a:pt x="512" y="340"/>
                  </a:lnTo>
                  <a:lnTo>
                    <a:pt x="512" y="342"/>
                  </a:lnTo>
                  <a:lnTo>
                    <a:pt x="510" y="342"/>
                  </a:lnTo>
                  <a:lnTo>
                    <a:pt x="510" y="342"/>
                  </a:lnTo>
                  <a:lnTo>
                    <a:pt x="510" y="344"/>
                  </a:lnTo>
                  <a:lnTo>
                    <a:pt x="508" y="346"/>
                  </a:lnTo>
                  <a:lnTo>
                    <a:pt x="508" y="346"/>
                  </a:lnTo>
                  <a:lnTo>
                    <a:pt x="506" y="344"/>
                  </a:lnTo>
                  <a:lnTo>
                    <a:pt x="504" y="344"/>
                  </a:lnTo>
                  <a:lnTo>
                    <a:pt x="504" y="346"/>
                  </a:lnTo>
                  <a:lnTo>
                    <a:pt x="502" y="346"/>
                  </a:lnTo>
                  <a:lnTo>
                    <a:pt x="502" y="346"/>
                  </a:lnTo>
                  <a:lnTo>
                    <a:pt x="502" y="346"/>
                  </a:lnTo>
                  <a:lnTo>
                    <a:pt x="502" y="348"/>
                  </a:lnTo>
                  <a:lnTo>
                    <a:pt x="500" y="348"/>
                  </a:lnTo>
                  <a:lnTo>
                    <a:pt x="500" y="348"/>
                  </a:lnTo>
                  <a:lnTo>
                    <a:pt x="500" y="350"/>
                  </a:lnTo>
                  <a:lnTo>
                    <a:pt x="498" y="350"/>
                  </a:lnTo>
                  <a:lnTo>
                    <a:pt x="494" y="350"/>
                  </a:lnTo>
                  <a:lnTo>
                    <a:pt x="492" y="350"/>
                  </a:lnTo>
                  <a:lnTo>
                    <a:pt x="492" y="346"/>
                  </a:lnTo>
                  <a:lnTo>
                    <a:pt x="490" y="344"/>
                  </a:lnTo>
                  <a:lnTo>
                    <a:pt x="490" y="344"/>
                  </a:lnTo>
                  <a:lnTo>
                    <a:pt x="488" y="342"/>
                  </a:lnTo>
                  <a:lnTo>
                    <a:pt x="486" y="342"/>
                  </a:lnTo>
                  <a:lnTo>
                    <a:pt x="482" y="342"/>
                  </a:lnTo>
                  <a:lnTo>
                    <a:pt x="480" y="342"/>
                  </a:lnTo>
                  <a:lnTo>
                    <a:pt x="480" y="340"/>
                  </a:lnTo>
                  <a:lnTo>
                    <a:pt x="480" y="336"/>
                  </a:lnTo>
                  <a:lnTo>
                    <a:pt x="477" y="334"/>
                  </a:lnTo>
                  <a:lnTo>
                    <a:pt x="473" y="332"/>
                  </a:lnTo>
                  <a:lnTo>
                    <a:pt x="471" y="334"/>
                  </a:lnTo>
                  <a:lnTo>
                    <a:pt x="467" y="336"/>
                  </a:lnTo>
                  <a:lnTo>
                    <a:pt x="461" y="344"/>
                  </a:lnTo>
                  <a:lnTo>
                    <a:pt x="457" y="346"/>
                  </a:lnTo>
                  <a:lnTo>
                    <a:pt x="453" y="346"/>
                  </a:lnTo>
                  <a:lnTo>
                    <a:pt x="449" y="346"/>
                  </a:lnTo>
                  <a:lnTo>
                    <a:pt x="447" y="344"/>
                  </a:lnTo>
                  <a:lnTo>
                    <a:pt x="447" y="344"/>
                  </a:lnTo>
                  <a:lnTo>
                    <a:pt x="447" y="342"/>
                  </a:lnTo>
                  <a:lnTo>
                    <a:pt x="447" y="342"/>
                  </a:lnTo>
                  <a:lnTo>
                    <a:pt x="447" y="340"/>
                  </a:lnTo>
                  <a:lnTo>
                    <a:pt x="447" y="338"/>
                  </a:lnTo>
                  <a:lnTo>
                    <a:pt x="447" y="338"/>
                  </a:lnTo>
                  <a:lnTo>
                    <a:pt x="447" y="336"/>
                  </a:lnTo>
                  <a:lnTo>
                    <a:pt x="447" y="336"/>
                  </a:lnTo>
                  <a:lnTo>
                    <a:pt x="447" y="334"/>
                  </a:lnTo>
                  <a:lnTo>
                    <a:pt x="447" y="334"/>
                  </a:lnTo>
                  <a:lnTo>
                    <a:pt x="445" y="334"/>
                  </a:lnTo>
                  <a:lnTo>
                    <a:pt x="443" y="332"/>
                  </a:lnTo>
                  <a:lnTo>
                    <a:pt x="439" y="332"/>
                  </a:lnTo>
                  <a:lnTo>
                    <a:pt x="434" y="329"/>
                  </a:lnTo>
                  <a:lnTo>
                    <a:pt x="434" y="325"/>
                  </a:lnTo>
                  <a:lnTo>
                    <a:pt x="432" y="323"/>
                  </a:lnTo>
                  <a:lnTo>
                    <a:pt x="434" y="321"/>
                  </a:lnTo>
                  <a:lnTo>
                    <a:pt x="434" y="317"/>
                  </a:lnTo>
                  <a:lnTo>
                    <a:pt x="432" y="317"/>
                  </a:lnTo>
                  <a:lnTo>
                    <a:pt x="430" y="317"/>
                  </a:lnTo>
                  <a:lnTo>
                    <a:pt x="426" y="317"/>
                  </a:lnTo>
                  <a:lnTo>
                    <a:pt x="422" y="319"/>
                  </a:lnTo>
                  <a:lnTo>
                    <a:pt x="412" y="317"/>
                  </a:lnTo>
                  <a:lnTo>
                    <a:pt x="410" y="317"/>
                  </a:lnTo>
                  <a:lnTo>
                    <a:pt x="408" y="319"/>
                  </a:lnTo>
                  <a:lnTo>
                    <a:pt x="406" y="321"/>
                  </a:lnTo>
                  <a:lnTo>
                    <a:pt x="406" y="323"/>
                  </a:lnTo>
                  <a:lnTo>
                    <a:pt x="404" y="323"/>
                  </a:lnTo>
                  <a:lnTo>
                    <a:pt x="402" y="325"/>
                  </a:lnTo>
                  <a:lnTo>
                    <a:pt x="398" y="325"/>
                  </a:lnTo>
                  <a:lnTo>
                    <a:pt x="398" y="323"/>
                  </a:lnTo>
                  <a:lnTo>
                    <a:pt x="394" y="321"/>
                  </a:lnTo>
                  <a:lnTo>
                    <a:pt x="391" y="319"/>
                  </a:lnTo>
                  <a:lnTo>
                    <a:pt x="391" y="319"/>
                  </a:lnTo>
                  <a:lnTo>
                    <a:pt x="389" y="317"/>
                  </a:lnTo>
                  <a:lnTo>
                    <a:pt x="389" y="315"/>
                  </a:lnTo>
                  <a:lnTo>
                    <a:pt x="387" y="315"/>
                  </a:lnTo>
                  <a:lnTo>
                    <a:pt x="385" y="315"/>
                  </a:lnTo>
                  <a:lnTo>
                    <a:pt x="383" y="315"/>
                  </a:lnTo>
                  <a:lnTo>
                    <a:pt x="377" y="319"/>
                  </a:lnTo>
                  <a:lnTo>
                    <a:pt x="377" y="317"/>
                  </a:lnTo>
                  <a:lnTo>
                    <a:pt x="365" y="315"/>
                  </a:lnTo>
                  <a:lnTo>
                    <a:pt x="363" y="315"/>
                  </a:lnTo>
                  <a:lnTo>
                    <a:pt x="357" y="311"/>
                  </a:lnTo>
                  <a:lnTo>
                    <a:pt x="355" y="311"/>
                  </a:lnTo>
                  <a:lnTo>
                    <a:pt x="353" y="311"/>
                  </a:lnTo>
                  <a:lnTo>
                    <a:pt x="353" y="311"/>
                  </a:lnTo>
                  <a:lnTo>
                    <a:pt x="351" y="311"/>
                  </a:lnTo>
                  <a:lnTo>
                    <a:pt x="348" y="311"/>
                  </a:lnTo>
                  <a:lnTo>
                    <a:pt x="344" y="311"/>
                  </a:lnTo>
                  <a:lnTo>
                    <a:pt x="342" y="309"/>
                  </a:lnTo>
                  <a:lnTo>
                    <a:pt x="338" y="311"/>
                  </a:lnTo>
                  <a:lnTo>
                    <a:pt x="336" y="309"/>
                  </a:lnTo>
                  <a:lnTo>
                    <a:pt x="334" y="309"/>
                  </a:lnTo>
                  <a:lnTo>
                    <a:pt x="334" y="307"/>
                  </a:lnTo>
                  <a:lnTo>
                    <a:pt x="334" y="301"/>
                  </a:lnTo>
                  <a:lnTo>
                    <a:pt x="334" y="299"/>
                  </a:lnTo>
                  <a:lnTo>
                    <a:pt x="334" y="299"/>
                  </a:lnTo>
                  <a:lnTo>
                    <a:pt x="334" y="297"/>
                  </a:lnTo>
                  <a:lnTo>
                    <a:pt x="330" y="295"/>
                  </a:lnTo>
                  <a:lnTo>
                    <a:pt x="330" y="293"/>
                  </a:lnTo>
                  <a:lnTo>
                    <a:pt x="330" y="291"/>
                  </a:lnTo>
                  <a:lnTo>
                    <a:pt x="328" y="288"/>
                  </a:lnTo>
                  <a:lnTo>
                    <a:pt x="326" y="288"/>
                  </a:lnTo>
                  <a:lnTo>
                    <a:pt x="326" y="288"/>
                  </a:lnTo>
                  <a:lnTo>
                    <a:pt x="324" y="288"/>
                  </a:lnTo>
                  <a:lnTo>
                    <a:pt x="324" y="288"/>
                  </a:lnTo>
                  <a:lnTo>
                    <a:pt x="322" y="286"/>
                  </a:lnTo>
                  <a:lnTo>
                    <a:pt x="322" y="286"/>
                  </a:lnTo>
                  <a:lnTo>
                    <a:pt x="322" y="286"/>
                  </a:lnTo>
                  <a:lnTo>
                    <a:pt x="322" y="284"/>
                  </a:lnTo>
                  <a:lnTo>
                    <a:pt x="320" y="284"/>
                  </a:lnTo>
                  <a:lnTo>
                    <a:pt x="318" y="284"/>
                  </a:lnTo>
                  <a:lnTo>
                    <a:pt x="318" y="284"/>
                  </a:lnTo>
                  <a:lnTo>
                    <a:pt x="318" y="291"/>
                  </a:lnTo>
                  <a:lnTo>
                    <a:pt x="316" y="293"/>
                  </a:lnTo>
                  <a:lnTo>
                    <a:pt x="316" y="293"/>
                  </a:lnTo>
                  <a:lnTo>
                    <a:pt x="314" y="293"/>
                  </a:lnTo>
                  <a:lnTo>
                    <a:pt x="312" y="293"/>
                  </a:lnTo>
                  <a:lnTo>
                    <a:pt x="307" y="291"/>
                  </a:lnTo>
                  <a:lnTo>
                    <a:pt x="303" y="288"/>
                  </a:lnTo>
                  <a:lnTo>
                    <a:pt x="303" y="288"/>
                  </a:lnTo>
                  <a:lnTo>
                    <a:pt x="301" y="291"/>
                  </a:lnTo>
                  <a:lnTo>
                    <a:pt x="301" y="291"/>
                  </a:lnTo>
                  <a:lnTo>
                    <a:pt x="299" y="293"/>
                  </a:lnTo>
                  <a:lnTo>
                    <a:pt x="299" y="293"/>
                  </a:lnTo>
                  <a:lnTo>
                    <a:pt x="293" y="293"/>
                  </a:lnTo>
                  <a:lnTo>
                    <a:pt x="291" y="291"/>
                  </a:lnTo>
                  <a:lnTo>
                    <a:pt x="291" y="291"/>
                  </a:lnTo>
                  <a:lnTo>
                    <a:pt x="289" y="286"/>
                  </a:lnTo>
                  <a:lnTo>
                    <a:pt x="273" y="272"/>
                  </a:lnTo>
                  <a:lnTo>
                    <a:pt x="273" y="272"/>
                  </a:lnTo>
                  <a:lnTo>
                    <a:pt x="271" y="272"/>
                  </a:lnTo>
                  <a:lnTo>
                    <a:pt x="271" y="272"/>
                  </a:lnTo>
                  <a:lnTo>
                    <a:pt x="269" y="270"/>
                  </a:lnTo>
                  <a:lnTo>
                    <a:pt x="264" y="272"/>
                  </a:lnTo>
                  <a:lnTo>
                    <a:pt x="262" y="272"/>
                  </a:lnTo>
                  <a:lnTo>
                    <a:pt x="262" y="270"/>
                  </a:lnTo>
                  <a:lnTo>
                    <a:pt x="262" y="266"/>
                  </a:lnTo>
                  <a:lnTo>
                    <a:pt x="262" y="254"/>
                  </a:lnTo>
                  <a:lnTo>
                    <a:pt x="262" y="241"/>
                  </a:lnTo>
                  <a:lnTo>
                    <a:pt x="262" y="229"/>
                  </a:lnTo>
                  <a:lnTo>
                    <a:pt x="262" y="217"/>
                  </a:lnTo>
                  <a:lnTo>
                    <a:pt x="262" y="204"/>
                  </a:lnTo>
                  <a:lnTo>
                    <a:pt x="262" y="192"/>
                  </a:lnTo>
                  <a:lnTo>
                    <a:pt x="262" y="180"/>
                  </a:lnTo>
                  <a:lnTo>
                    <a:pt x="262" y="168"/>
                  </a:lnTo>
                  <a:lnTo>
                    <a:pt x="262" y="155"/>
                  </a:lnTo>
                  <a:lnTo>
                    <a:pt x="262" y="143"/>
                  </a:lnTo>
                  <a:lnTo>
                    <a:pt x="262" y="131"/>
                  </a:lnTo>
                  <a:lnTo>
                    <a:pt x="262" y="118"/>
                  </a:lnTo>
                  <a:lnTo>
                    <a:pt x="262" y="106"/>
                  </a:lnTo>
                  <a:lnTo>
                    <a:pt x="262" y="94"/>
                  </a:lnTo>
                  <a:lnTo>
                    <a:pt x="262" y="82"/>
                  </a:lnTo>
                  <a:lnTo>
                    <a:pt x="262" y="69"/>
                  </a:lnTo>
                  <a:lnTo>
                    <a:pt x="262" y="65"/>
                  </a:lnTo>
                  <a:lnTo>
                    <a:pt x="262" y="65"/>
                  </a:lnTo>
                  <a:lnTo>
                    <a:pt x="256" y="65"/>
                  </a:lnTo>
                  <a:lnTo>
                    <a:pt x="254" y="65"/>
                  </a:lnTo>
                  <a:lnTo>
                    <a:pt x="246" y="65"/>
                  </a:lnTo>
                  <a:lnTo>
                    <a:pt x="234" y="65"/>
                  </a:lnTo>
                  <a:lnTo>
                    <a:pt x="217" y="65"/>
                  </a:lnTo>
                  <a:lnTo>
                    <a:pt x="197" y="65"/>
                  </a:lnTo>
                  <a:lnTo>
                    <a:pt x="176" y="63"/>
                  </a:lnTo>
                  <a:lnTo>
                    <a:pt x="154" y="63"/>
                  </a:lnTo>
                  <a:lnTo>
                    <a:pt x="129" y="63"/>
                  </a:lnTo>
                  <a:lnTo>
                    <a:pt x="105" y="63"/>
                  </a:lnTo>
                  <a:lnTo>
                    <a:pt x="82" y="63"/>
                  </a:lnTo>
                  <a:lnTo>
                    <a:pt x="60" y="63"/>
                  </a:lnTo>
                  <a:lnTo>
                    <a:pt x="41" y="61"/>
                  </a:lnTo>
                  <a:lnTo>
                    <a:pt x="25" y="61"/>
                  </a:lnTo>
                  <a:lnTo>
                    <a:pt x="13" y="61"/>
                  </a:lnTo>
                  <a:lnTo>
                    <a:pt x="4" y="61"/>
                  </a:lnTo>
                  <a:lnTo>
                    <a:pt x="0" y="61"/>
                  </a:lnTo>
                  <a:lnTo>
                    <a:pt x="2" y="47"/>
                  </a:lnTo>
                  <a:lnTo>
                    <a:pt x="2" y="34"/>
                  </a:lnTo>
                  <a:lnTo>
                    <a:pt x="2" y="20"/>
                  </a:lnTo>
                  <a:lnTo>
                    <a:pt x="2" y="8"/>
                  </a:lnTo>
                  <a:lnTo>
                    <a:pt x="13" y="8"/>
                  </a:lnTo>
                  <a:lnTo>
                    <a:pt x="25" y="8"/>
                  </a:lnTo>
                  <a:lnTo>
                    <a:pt x="35" y="8"/>
                  </a:lnTo>
                  <a:lnTo>
                    <a:pt x="45" y="8"/>
                  </a:lnTo>
                  <a:lnTo>
                    <a:pt x="56" y="8"/>
                  </a:lnTo>
                  <a:lnTo>
                    <a:pt x="68" y="8"/>
                  </a:lnTo>
                  <a:lnTo>
                    <a:pt x="78" y="10"/>
                  </a:lnTo>
                  <a:lnTo>
                    <a:pt x="88" y="10"/>
                  </a:lnTo>
                  <a:lnTo>
                    <a:pt x="109" y="10"/>
                  </a:lnTo>
                  <a:lnTo>
                    <a:pt x="129" y="10"/>
                  </a:lnTo>
                  <a:lnTo>
                    <a:pt x="148" y="10"/>
                  </a:lnTo>
                  <a:lnTo>
                    <a:pt x="168" y="10"/>
                  </a:lnTo>
                  <a:lnTo>
                    <a:pt x="189" y="10"/>
                  </a:lnTo>
                  <a:lnTo>
                    <a:pt x="209" y="10"/>
                  </a:lnTo>
                  <a:lnTo>
                    <a:pt x="228" y="10"/>
                  </a:lnTo>
                  <a:lnTo>
                    <a:pt x="248" y="10"/>
                  </a:lnTo>
                  <a:lnTo>
                    <a:pt x="269" y="10"/>
                  </a:lnTo>
                  <a:lnTo>
                    <a:pt x="289" y="10"/>
                  </a:lnTo>
                  <a:lnTo>
                    <a:pt x="310" y="10"/>
                  </a:lnTo>
                  <a:lnTo>
                    <a:pt x="328" y="10"/>
                  </a:lnTo>
                  <a:lnTo>
                    <a:pt x="348" y="10"/>
                  </a:lnTo>
                  <a:lnTo>
                    <a:pt x="369" y="10"/>
                  </a:lnTo>
                  <a:lnTo>
                    <a:pt x="389" y="10"/>
                  </a:lnTo>
                  <a:lnTo>
                    <a:pt x="410" y="10"/>
                  </a:lnTo>
                  <a:lnTo>
                    <a:pt x="428" y="10"/>
                  </a:lnTo>
                  <a:lnTo>
                    <a:pt x="449" y="10"/>
                  </a:lnTo>
                  <a:lnTo>
                    <a:pt x="469" y="8"/>
                  </a:lnTo>
                  <a:lnTo>
                    <a:pt x="490" y="8"/>
                  </a:lnTo>
                  <a:lnTo>
                    <a:pt x="508" y="8"/>
                  </a:lnTo>
                  <a:lnTo>
                    <a:pt x="529" y="8"/>
                  </a:lnTo>
                  <a:lnTo>
                    <a:pt x="549" y="6"/>
                  </a:lnTo>
                  <a:lnTo>
                    <a:pt x="570" y="6"/>
                  </a:lnTo>
                  <a:lnTo>
                    <a:pt x="590" y="6"/>
                  </a:lnTo>
                  <a:lnTo>
                    <a:pt x="609" y="4"/>
                  </a:lnTo>
                  <a:lnTo>
                    <a:pt x="629" y="4"/>
                  </a:lnTo>
                  <a:lnTo>
                    <a:pt x="650" y="4"/>
                  </a:lnTo>
                  <a:lnTo>
                    <a:pt x="670" y="2"/>
                  </a:lnTo>
                  <a:lnTo>
                    <a:pt x="688" y="2"/>
                  </a:lnTo>
                  <a:lnTo>
                    <a:pt x="709" y="0"/>
                  </a:lnTo>
                  <a:lnTo>
                    <a:pt x="729" y="0"/>
                  </a:lnTo>
                  <a:lnTo>
                    <a:pt x="729" y="12"/>
                  </a:lnTo>
                  <a:lnTo>
                    <a:pt x="731" y="26"/>
                  </a:lnTo>
                  <a:lnTo>
                    <a:pt x="731" y="41"/>
                  </a:lnTo>
                  <a:lnTo>
                    <a:pt x="731" y="53"/>
                  </a:lnTo>
                  <a:lnTo>
                    <a:pt x="731" y="53"/>
                  </a:lnTo>
                  <a:close/>
                </a:path>
              </a:pathLst>
            </a:custGeom>
            <a:solidFill>
              <a:schemeClr val="accent1">
                <a:lumMod val="60000"/>
                <a:lumOff val="40000"/>
              </a:schemeClr>
            </a:solidFill>
            <a:ln w="3175" cap="rnd">
              <a:solidFill>
                <a:schemeClr val="bg1"/>
              </a:solidFill>
              <a:prstDash val="solid"/>
              <a:round/>
              <a:headEnd/>
              <a:tailEnd/>
            </a:ln>
          </p:spPr>
          <p:txBody>
            <a:bodyPr vert="horz" wrap="square" lIns="38400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OK</a:t>
              </a:r>
            </a:p>
          </p:txBody>
        </p:sp>
        <p:sp>
          <p:nvSpPr>
            <p:cNvPr id="80" name="Freeform 20">
              <a:extLst>
                <a:ext uri="{FF2B5EF4-FFF2-40B4-BE49-F238E27FC236}">
                  <a16:creationId xmlns:a16="http://schemas.microsoft.com/office/drawing/2014/main" id="{A2ADA515-ACF4-E05C-88AD-F02265DA2861}"/>
                </a:ext>
              </a:extLst>
            </p:cNvPr>
            <p:cNvSpPr>
              <a:spLocks/>
            </p:cNvSpPr>
            <p:nvPr/>
          </p:nvSpPr>
          <p:spPr bwMode="auto">
            <a:xfrm>
              <a:off x="3975" y="771"/>
              <a:ext cx="366" cy="405"/>
            </a:xfrm>
            <a:custGeom>
              <a:avLst/>
              <a:gdLst>
                <a:gd name="T0" fmla="*/ 362 w 366"/>
                <a:gd name="T1" fmla="*/ 118 h 405"/>
                <a:gd name="T2" fmla="*/ 344 w 366"/>
                <a:gd name="T3" fmla="*/ 8 h 405"/>
                <a:gd name="T4" fmla="*/ 313 w 366"/>
                <a:gd name="T5" fmla="*/ 16 h 405"/>
                <a:gd name="T6" fmla="*/ 250 w 366"/>
                <a:gd name="T7" fmla="*/ 67 h 405"/>
                <a:gd name="T8" fmla="*/ 227 w 366"/>
                <a:gd name="T9" fmla="*/ 69 h 405"/>
                <a:gd name="T10" fmla="*/ 196 w 366"/>
                <a:gd name="T11" fmla="*/ 88 h 405"/>
                <a:gd name="T12" fmla="*/ 178 w 366"/>
                <a:gd name="T13" fmla="*/ 82 h 405"/>
                <a:gd name="T14" fmla="*/ 174 w 366"/>
                <a:gd name="T15" fmla="*/ 84 h 405"/>
                <a:gd name="T16" fmla="*/ 161 w 366"/>
                <a:gd name="T17" fmla="*/ 88 h 405"/>
                <a:gd name="T18" fmla="*/ 145 w 366"/>
                <a:gd name="T19" fmla="*/ 88 h 405"/>
                <a:gd name="T20" fmla="*/ 153 w 366"/>
                <a:gd name="T21" fmla="*/ 84 h 405"/>
                <a:gd name="T22" fmla="*/ 174 w 366"/>
                <a:gd name="T23" fmla="*/ 77 h 405"/>
                <a:gd name="T24" fmla="*/ 166 w 366"/>
                <a:gd name="T25" fmla="*/ 75 h 405"/>
                <a:gd name="T26" fmla="*/ 161 w 366"/>
                <a:gd name="T27" fmla="*/ 77 h 405"/>
                <a:gd name="T28" fmla="*/ 143 w 366"/>
                <a:gd name="T29" fmla="*/ 73 h 405"/>
                <a:gd name="T30" fmla="*/ 120 w 366"/>
                <a:gd name="T31" fmla="*/ 65 h 405"/>
                <a:gd name="T32" fmla="*/ 94 w 366"/>
                <a:gd name="T33" fmla="*/ 67 h 405"/>
                <a:gd name="T34" fmla="*/ 41 w 366"/>
                <a:gd name="T35" fmla="*/ 77 h 405"/>
                <a:gd name="T36" fmla="*/ 2 w 366"/>
                <a:gd name="T37" fmla="*/ 102 h 405"/>
                <a:gd name="T38" fmla="*/ 12 w 366"/>
                <a:gd name="T39" fmla="*/ 178 h 405"/>
                <a:gd name="T40" fmla="*/ 22 w 366"/>
                <a:gd name="T41" fmla="*/ 248 h 405"/>
                <a:gd name="T42" fmla="*/ 30 w 366"/>
                <a:gd name="T43" fmla="*/ 317 h 405"/>
                <a:gd name="T44" fmla="*/ 43 w 366"/>
                <a:gd name="T45" fmla="*/ 354 h 405"/>
                <a:gd name="T46" fmla="*/ 63 w 366"/>
                <a:gd name="T47" fmla="*/ 354 h 405"/>
                <a:gd name="T48" fmla="*/ 80 w 366"/>
                <a:gd name="T49" fmla="*/ 360 h 405"/>
                <a:gd name="T50" fmla="*/ 88 w 366"/>
                <a:gd name="T51" fmla="*/ 373 h 405"/>
                <a:gd name="T52" fmla="*/ 104 w 366"/>
                <a:gd name="T53" fmla="*/ 385 h 405"/>
                <a:gd name="T54" fmla="*/ 133 w 366"/>
                <a:gd name="T55" fmla="*/ 393 h 405"/>
                <a:gd name="T56" fmla="*/ 151 w 366"/>
                <a:gd name="T57" fmla="*/ 385 h 405"/>
                <a:gd name="T58" fmla="*/ 166 w 366"/>
                <a:gd name="T59" fmla="*/ 389 h 405"/>
                <a:gd name="T60" fmla="*/ 176 w 366"/>
                <a:gd name="T61" fmla="*/ 391 h 405"/>
                <a:gd name="T62" fmla="*/ 188 w 366"/>
                <a:gd name="T63" fmla="*/ 383 h 405"/>
                <a:gd name="T64" fmla="*/ 202 w 366"/>
                <a:gd name="T65" fmla="*/ 373 h 405"/>
                <a:gd name="T66" fmla="*/ 221 w 366"/>
                <a:gd name="T67" fmla="*/ 391 h 405"/>
                <a:gd name="T68" fmla="*/ 241 w 366"/>
                <a:gd name="T69" fmla="*/ 403 h 405"/>
                <a:gd name="T70" fmla="*/ 260 w 366"/>
                <a:gd name="T71" fmla="*/ 381 h 405"/>
                <a:gd name="T72" fmla="*/ 264 w 366"/>
                <a:gd name="T73" fmla="*/ 371 h 405"/>
                <a:gd name="T74" fmla="*/ 264 w 366"/>
                <a:gd name="T75" fmla="*/ 356 h 405"/>
                <a:gd name="T76" fmla="*/ 272 w 366"/>
                <a:gd name="T77" fmla="*/ 332 h 405"/>
                <a:gd name="T78" fmla="*/ 282 w 366"/>
                <a:gd name="T79" fmla="*/ 340 h 405"/>
                <a:gd name="T80" fmla="*/ 282 w 366"/>
                <a:gd name="T81" fmla="*/ 344 h 405"/>
                <a:gd name="T82" fmla="*/ 288 w 366"/>
                <a:gd name="T83" fmla="*/ 338 h 405"/>
                <a:gd name="T84" fmla="*/ 293 w 366"/>
                <a:gd name="T85" fmla="*/ 334 h 405"/>
                <a:gd name="T86" fmla="*/ 288 w 366"/>
                <a:gd name="T87" fmla="*/ 323 h 405"/>
                <a:gd name="T88" fmla="*/ 293 w 366"/>
                <a:gd name="T89" fmla="*/ 311 h 405"/>
                <a:gd name="T90" fmla="*/ 303 w 366"/>
                <a:gd name="T91" fmla="*/ 299 h 405"/>
                <a:gd name="T92" fmla="*/ 315 w 366"/>
                <a:gd name="T93" fmla="*/ 282 h 405"/>
                <a:gd name="T94" fmla="*/ 329 w 366"/>
                <a:gd name="T95" fmla="*/ 282 h 405"/>
                <a:gd name="T96" fmla="*/ 342 w 366"/>
                <a:gd name="T97" fmla="*/ 268 h 405"/>
                <a:gd name="T98" fmla="*/ 356 w 366"/>
                <a:gd name="T99" fmla="*/ 246 h 405"/>
                <a:gd name="T100" fmla="*/ 354 w 366"/>
                <a:gd name="T101" fmla="*/ 235 h 405"/>
                <a:gd name="T102" fmla="*/ 358 w 366"/>
                <a:gd name="T103" fmla="*/ 225 h 405"/>
                <a:gd name="T104" fmla="*/ 360 w 366"/>
                <a:gd name="T105" fmla="*/ 219 h 405"/>
                <a:gd name="T106" fmla="*/ 360 w 366"/>
                <a:gd name="T107" fmla="*/ 205 h 405"/>
                <a:gd name="T108" fmla="*/ 364 w 366"/>
                <a:gd name="T109" fmla="*/ 182 h 405"/>
                <a:gd name="T110" fmla="*/ 364 w 366"/>
                <a:gd name="T111" fmla="*/ 170 h 405"/>
                <a:gd name="T112" fmla="*/ 364 w 366"/>
                <a:gd name="T113" fmla="*/ 159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6" h="405">
                  <a:moveTo>
                    <a:pt x="358" y="145"/>
                  </a:moveTo>
                  <a:lnTo>
                    <a:pt x="358" y="143"/>
                  </a:lnTo>
                  <a:lnTo>
                    <a:pt x="362" y="143"/>
                  </a:lnTo>
                  <a:lnTo>
                    <a:pt x="362" y="143"/>
                  </a:lnTo>
                  <a:lnTo>
                    <a:pt x="366" y="141"/>
                  </a:lnTo>
                  <a:lnTo>
                    <a:pt x="366" y="139"/>
                  </a:lnTo>
                  <a:lnTo>
                    <a:pt x="364" y="129"/>
                  </a:lnTo>
                  <a:lnTo>
                    <a:pt x="362" y="118"/>
                  </a:lnTo>
                  <a:lnTo>
                    <a:pt x="362" y="106"/>
                  </a:lnTo>
                  <a:lnTo>
                    <a:pt x="360" y="96"/>
                  </a:lnTo>
                  <a:lnTo>
                    <a:pt x="358" y="86"/>
                  </a:lnTo>
                  <a:lnTo>
                    <a:pt x="356" y="73"/>
                  </a:lnTo>
                  <a:lnTo>
                    <a:pt x="354" y="63"/>
                  </a:lnTo>
                  <a:lnTo>
                    <a:pt x="352" y="51"/>
                  </a:lnTo>
                  <a:lnTo>
                    <a:pt x="348" y="30"/>
                  </a:lnTo>
                  <a:lnTo>
                    <a:pt x="344" y="8"/>
                  </a:lnTo>
                  <a:lnTo>
                    <a:pt x="342" y="0"/>
                  </a:lnTo>
                  <a:lnTo>
                    <a:pt x="323" y="10"/>
                  </a:lnTo>
                  <a:lnTo>
                    <a:pt x="319" y="12"/>
                  </a:lnTo>
                  <a:lnTo>
                    <a:pt x="317" y="14"/>
                  </a:lnTo>
                  <a:lnTo>
                    <a:pt x="315" y="14"/>
                  </a:lnTo>
                  <a:lnTo>
                    <a:pt x="315" y="14"/>
                  </a:lnTo>
                  <a:lnTo>
                    <a:pt x="315" y="16"/>
                  </a:lnTo>
                  <a:lnTo>
                    <a:pt x="313" y="16"/>
                  </a:lnTo>
                  <a:lnTo>
                    <a:pt x="311" y="18"/>
                  </a:lnTo>
                  <a:lnTo>
                    <a:pt x="309" y="20"/>
                  </a:lnTo>
                  <a:lnTo>
                    <a:pt x="305" y="22"/>
                  </a:lnTo>
                  <a:lnTo>
                    <a:pt x="280" y="39"/>
                  </a:lnTo>
                  <a:lnTo>
                    <a:pt x="258" y="63"/>
                  </a:lnTo>
                  <a:lnTo>
                    <a:pt x="254" y="65"/>
                  </a:lnTo>
                  <a:lnTo>
                    <a:pt x="252" y="67"/>
                  </a:lnTo>
                  <a:lnTo>
                    <a:pt x="250" y="67"/>
                  </a:lnTo>
                  <a:lnTo>
                    <a:pt x="247" y="67"/>
                  </a:lnTo>
                  <a:lnTo>
                    <a:pt x="247" y="67"/>
                  </a:lnTo>
                  <a:lnTo>
                    <a:pt x="245" y="67"/>
                  </a:lnTo>
                  <a:lnTo>
                    <a:pt x="243" y="69"/>
                  </a:lnTo>
                  <a:lnTo>
                    <a:pt x="243" y="69"/>
                  </a:lnTo>
                  <a:lnTo>
                    <a:pt x="241" y="69"/>
                  </a:lnTo>
                  <a:lnTo>
                    <a:pt x="231" y="69"/>
                  </a:lnTo>
                  <a:lnTo>
                    <a:pt x="227" y="69"/>
                  </a:lnTo>
                  <a:lnTo>
                    <a:pt x="217" y="75"/>
                  </a:lnTo>
                  <a:lnTo>
                    <a:pt x="211" y="80"/>
                  </a:lnTo>
                  <a:lnTo>
                    <a:pt x="209" y="82"/>
                  </a:lnTo>
                  <a:lnTo>
                    <a:pt x="202" y="82"/>
                  </a:lnTo>
                  <a:lnTo>
                    <a:pt x="200" y="84"/>
                  </a:lnTo>
                  <a:lnTo>
                    <a:pt x="200" y="84"/>
                  </a:lnTo>
                  <a:lnTo>
                    <a:pt x="196" y="88"/>
                  </a:lnTo>
                  <a:lnTo>
                    <a:pt x="196" y="88"/>
                  </a:lnTo>
                  <a:lnTo>
                    <a:pt x="192" y="88"/>
                  </a:lnTo>
                  <a:lnTo>
                    <a:pt x="188" y="88"/>
                  </a:lnTo>
                  <a:lnTo>
                    <a:pt x="182" y="84"/>
                  </a:lnTo>
                  <a:lnTo>
                    <a:pt x="180" y="84"/>
                  </a:lnTo>
                  <a:lnTo>
                    <a:pt x="180" y="84"/>
                  </a:lnTo>
                  <a:lnTo>
                    <a:pt x="178" y="84"/>
                  </a:lnTo>
                  <a:lnTo>
                    <a:pt x="178" y="82"/>
                  </a:lnTo>
                  <a:lnTo>
                    <a:pt x="178" y="82"/>
                  </a:lnTo>
                  <a:lnTo>
                    <a:pt x="176" y="80"/>
                  </a:lnTo>
                  <a:lnTo>
                    <a:pt x="176" y="80"/>
                  </a:lnTo>
                  <a:lnTo>
                    <a:pt x="178" y="82"/>
                  </a:lnTo>
                  <a:lnTo>
                    <a:pt x="180" y="86"/>
                  </a:lnTo>
                  <a:lnTo>
                    <a:pt x="182" y="86"/>
                  </a:lnTo>
                  <a:lnTo>
                    <a:pt x="178" y="84"/>
                  </a:lnTo>
                  <a:lnTo>
                    <a:pt x="176" y="84"/>
                  </a:lnTo>
                  <a:lnTo>
                    <a:pt x="174" y="84"/>
                  </a:lnTo>
                  <a:lnTo>
                    <a:pt x="174" y="84"/>
                  </a:lnTo>
                  <a:lnTo>
                    <a:pt x="172" y="84"/>
                  </a:lnTo>
                  <a:lnTo>
                    <a:pt x="172" y="84"/>
                  </a:lnTo>
                  <a:lnTo>
                    <a:pt x="170" y="86"/>
                  </a:lnTo>
                  <a:lnTo>
                    <a:pt x="170" y="84"/>
                  </a:lnTo>
                  <a:lnTo>
                    <a:pt x="168" y="84"/>
                  </a:lnTo>
                  <a:lnTo>
                    <a:pt x="164" y="86"/>
                  </a:lnTo>
                  <a:lnTo>
                    <a:pt x="161" y="88"/>
                  </a:lnTo>
                  <a:lnTo>
                    <a:pt x="157" y="90"/>
                  </a:lnTo>
                  <a:lnTo>
                    <a:pt x="153" y="88"/>
                  </a:lnTo>
                  <a:lnTo>
                    <a:pt x="153" y="90"/>
                  </a:lnTo>
                  <a:lnTo>
                    <a:pt x="153" y="90"/>
                  </a:lnTo>
                  <a:lnTo>
                    <a:pt x="151" y="90"/>
                  </a:lnTo>
                  <a:lnTo>
                    <a:pt x="151" y="88"/>
                  </a:lnTo>
                  <a:lnTo>
                    <a:pt x="151" y="88"/>
                  </a:lnTo>
                  <a:lnTo>
                    <a:pt x="145" y="88"/>
                  </a:lnTo>
                  <a:lnTo>
                    <a:pt x="147" y="88"/>
                  </a:lnTo>
                  <a:lnTo>
                    <a:pt x="149" y="88"/>
                  </a:lnTo>
                  <a:lnTo>
                    <a:pt x="151" y="86"/>
                  </a:lnTo>
                  <a:lnTo>
                    <a:pt x="151" y="88"/>
                  </a:lnTo>
                  <a:lnTo>
                    <a:pt x="153" y="86"/>
                  </a:lnTo>
                  <a:lnTo>
                    <a:pt x="153" y="86"/>
                  </a:lnTo>
                  <a:lnTo>
                    <a:pt x="153" y="84"/>
                  </a:lnTo>
                  <a:lnTo>
                    <a:pt x="153" y="84"/>
                  </a:lnTo>
                  <a:lnTo>
                    <a:pt x="155" y="84"/>
                  </a:lnTo>
                  <a:lnTo>
                    <a:pt x="157" y="84"/>
                  </a:lnTo>
                  <a:lnTo>
                    <a:pt x="159" y="82"/>
                  </a:lnTo>
                  <a:lnTo>
                    <a:pt x="161" y="82"/>
                  </a:lnTo>
                  <a:lnTo>
                    <a:pt x="164" y="82"/>
                  </a:lnTo>
                  <a:lnTo>
                    <a:pt x="166" y="80"/>
                  </a:lnTo>
                  <a:lnTo>
                    <a:pt x="168" y="80"/>
                  </a:lnTo>
                  <a:lnTo>
                    <a:pt x="174" y="77"/>
                  </a:lnTo>
                  <a:lnTo>
                    <a:pt x="174" y="77"/>
                  </a:lnTo>
                  <a:lnTo>
                    <a:pt x="172" y="75"/>
                  </a:lnTo>
                  <a:lnTo>
                    <a:pt x="172" y="75"/>
                  </a:lnTo>
                  <a:lnTo>
                    <a:pt x="168" y="75"/>
                  </a:lnTo>
                  <a:lnTo>
                    <a:pt x="168" y="75"/>
                  </a:lnTo>
                  <a:lnTo>
                    <a:pt x="166" y="77"/>
                  </a:lnTo>
                  <a:lnTo>
                    <a:pt x="166" y="75"/>
                  </a:lnTo>
                  <a:lnTo>
                    <a:pt x="166" y="75"/>
                  </a:lnTo>
                  <a:lnTo>
                    <a:pt x="166" y="75"/>
                  </a:lnTo>
                  <a:lnTo>
                    <a:pt x="164" y="73"/>
                  </a:lnTo>
                  <a:lnTo>
                    <a:pt x="161" y="73"/>
                  </a:lnTo>
                  <a:lnTo>
                    <a:pt x="161" y="71"/>
                  </a:lnTo>
                  <a:lnTo>
                    <a:pt x="161" y="73"/>
                  </a:lnTo>
                  <a:lnTo>
                    <a:pt x="161" y="73"/>
                  </a:lnTo>
                  <a:lnTo>
                    <a:pt x="161" y="75"/>
                  </a:lnTo>
                  <a:lnTo>
                    <a:pt x="161" y="77"/>
                  </a:lnTo>
                  <a:lnTo>
                    <a:pt x="159" y="77"/>
                  </a:lnTo>
                  <a:lnTo>
                    <a:pt x="159" y="80"/>
                  </a:lnTo>
                  <a:lnTo>
                    <a:pt x="155" y="80"/>
                  </a:lnTo>
                  <a:lnTo>
                    <a:pt x="153" y="80"/>
                  </a:lnTo>
                  <a:lnTo>
                    <a:pt x="151" y="80"/>
                  </a:lnTo>
                  <a:lnTo>
                    <a:pt x="149" y="80"/>
                  </a:lnTo>
                  <a:lnTo>
                    <a:pt x="147" y="77"/>
                  </a:lnTo>
                  <a:lnTo>
                    <a:pt x="143" y="73"/>
                  </a:lnTo>
                  <a:lnTo>
                    <a:pt x="139" y="73"/>
                  </a:lnTo>
                  <a:lnTo>
                    <a:pt x="137" y="73"/>
                  </a:lnTo>
                  <a:lnTo>
                    <a:pt x="135" y="73"/>
                  </a:lnTo>
                  <a:lnTo>
                    <a:pt x="129" y="71"/>
                  </a:lnTo>
                  <a:lnTo>
                    <a:pt x="127" y="69"/>
                  </a:lnTo>
                  <a:lnTo>
                    <a:pt x="123" y="67"/>
                  </a:lnTo>
                  <a:lnTo>
                    <a:pt x="120" y="65"/>
                  </a:lnTo>
                  <a:lnTo>
                    <a:pt x="120" y="65"/>
                  </a:lnTo>
                  <a:lnTo>
                    <a:pt x="118" y="67"/>
                  </a:lnTo>
                  <a:lnTo>
                    <a:pt x="116" y="67"/>
                  </a:lnTo>
                  <a:lnTo>
                    <a:pt x="114" y="67"/>
                  </a:lnTo>
                  <a:lnTo>
                    <a:pt x="108" y="67"/>
                  </a:lnTo>
                  <a:lnTo>
                    <a:pt x="108" y="65"/>
                  </a:lnTo>
                  <a:lnTo>
                    <a:pt x="108" y="65"/>
                  </a:lnTo>
                  <a:lnTo>
                    <a:pt x="102" y="65"/>
                  </a:lnTo>
                  <a:lnTo>
                    <a:pt x="94" y="67"/>
                  </a:lnTo>
                  <a:lnTo>
                    <a:pt x="88" y="69"/>
                  </a:lnTo>
                  <a:lnTo>
                    <a:pt x="82" y="69"/>
                  </a:lnTo>
                  <a:lnTo>
                    <a:pt x="75" y="71"/>
                  </a:lnTo>
                  <a:lnTo>
                    <a:pt x="67" y="71"/>
                  </a:lnTo>
                  <a:lnTo>
                    <a:pt x="61" y="73"/>
                  </a:lnTo>
                  <a:lnTo>
                    <a:pt x="55" y="75"/>
                  </a:lnTo>
                  <a:lnTo>
                    <a:pt x="47" y="75"/>
                  </a:lnTo>
                  <a:lnTo>
                    <a:pt x="41" y="77"/>
                  </a:lnTo>
                  <a:lnTo>
                    <a:pt x="34" y="77"/>
                  </a:lnTo>
                  <a:lnTo>
                    <a:pt x="28" y="80"/>
                  </a:lnTo>
                  <a:lnTo>
                    <a:pt x="20" y="82"/>
                  </a:lnTo>
                  <a:lnTo>
                    <a:pt x="14" y="82"/>
                  </a:lnTo>
                  <a:lnTo>
                    <a:pt x="8" y="84"/>
                  </a:lnTo>
                  <a:lnTo>
                    <a:pt x="0" y="84"/>
                  </a:lnTo>
                  <a:lnTo>
                    <a:pt x="2" y="92"/>
                  </a:lnTo>
                  <a:lnTo>
                    <a:pt x="2" y="102"/>
                  </a:lnTo>
                  <a:lnTo>
                    <a:pt x="6" y="118"/>
                  </a:lnTo>
                  <a:lnTo>
                    <a:pt x="6" y="127"/>
                  </a:lnTo>
                  <a:lnTo>
                    <a:pt x="8" y="135"/>
                  </a:lnTo>
                  <a:lnTo>
                    <a:pt x="8" y="145"/>
                  </a:lnTo>
                  <a:lnTo>
                    <a:pt x="10" y="153"/>
                  </a:lnTo>
                  <a:lnTo>
                    <a:pt x="10" y="162"/>
                  </a:lnTo>
                  <a:lnTo>
                    <a:pt x="12" y="170"/>
                  </a:lnTo>
                  <a:lnTo>
                    <a:pt x="12" y="178"/>
                  </a:lnTo>
                  <a:lnTo>
                    <a:pt x="14" y="188"/>
                  </a:lnTo>
                  <a:lnTo>
                    <a:pt x="14" y="196"/>
                  </a:lnTo>
                  <a:lnTo>
                    <a:pt x="16" y="205"/>
                  </a:lnTo>
                  <a:lnTo>
                    <a:pt x="18" y="213"/>
                  </a:lnTo>
                  <a:lnTo>
                    <a:pt x="18" y="221"/>
                  </a:lnTo>
                  <a:lnTo>
                    <a:pt x="20" y="231"/>
                  </a:lnTo>
                  <a:lnTo>
                    <a:pt x="20" y="239"/>
                  </a:lnTo>
                  <a:lnTo>
                    <a:pt x="22" y="248"/>
                  </a:lnTo>
                  <a:lnTo>
                    <a:pt x="22" y="256"/>
                  </a:lnTo>
                  <a:lnTo>
                    <a:pt x="24" y="264"/>
                  </a:lnTo>
                  <a:lnTo>
                    <a:pt x="24" y="274"/>
                  </a:lnTo>
                  <a:lnTo>
                    <a:pt x="26" y="282"/>
                  </a:lnTo>
                  <a:lnTo>
                    <a:pt x="26" y="291"/>
                  </a:lnTo>
                  <a:lnTo>
                    <a:pt x="28" y="299"/>
                  </a:lnTo>
                  <a:lnTo>
                    <a:pt x="28" y="307"/>
                  </a:lnTo>
                  <a:lnTo>
                    <a:pt x="30" y="317"/>
                  </a:lnTo>
                  <a:lnTo>
                    <a:pt x="32" y="325"/>
                  </a:lnTo>
                  <a:lnTo>
                    <a:pt x="32" y="334"/>
                  </a:lnTo>
                  <a:lnTo>
                    <a:pt x="34" y="342"/>
                  </a:lnTo>
                  <a:lnTo>
                    <a:pt x="34" y="350"/>
                  </a:lnTo>
                  <a:lnTo>
                    <a:pt x="37" y="360"/>
                  </a:lnTo>
                  <a:lnTo>
                    <a:pt x="41" y="356"/>
                  </a:lnTo>
                  <a:lnTo>
                    <a:pt x="41" y="354"/>
                  </a:lnTo>
                  <a:lnTo>
                    <a:pt x="43" y="354"/>
                  </a:lnTo>
                  <a:lnTo>
                    <a:pt x="43" y="354"/>
                  </a:lnTo>
                  <a:lnTo>
                    <a:pt x="45" y="354"/>
                  </a:lnTo>
                  <a:lnTo>
                    <a:pt x="45" y="354"/>
                  </a:lnTo>
                  <a:lnTo>
                    <a:pt x="47" y="356"/>
                  </a:lnTo>
                  <a:lnTo>
                    <a:pt x="47" y="356"/>
                  </a:lnTo>
                  <a:lnTo>
                    <a:pt x="53" y="360"/>
                  </a:lnTo>
                  <a:lnTo>
                    <a:pt x="55" y="360"/>
                  </a:lnTo>
                  <a:lnTo>
                    <a:pt x="63" y="354"/>
                  </a:lnTo>
                  <a:lnTo>
                    <a:pt x="65" y="354"/>
                  </a:lnTo>
                  <a:lnTo>
                    <a:pt x="67" y="354"/>
                  </a:lnTo>
                  <a:lnTo>
                    <a:pt x="69" y="356"/>
                  </a:lnTo>
                  <a:lnTo>
                    <a:pt x="71" y="358"/>
                  </a:lnTo>
                  <a:lnTo>
                    <a:pt x="71" y="358"/>
                  </a:lnTo>
                  <a:lnTo>
                    <a:pt x="73" y="358"/>
                  </a:lnTo>
                  <a:lnTo>
                    <a:pt x="75" y="360"/>
                  </a:lnTo>
                  <a:lnTo>
                    <a:pt x="80" y="360"/>
                  </a:lnTo>
                  <a:lnTo>
                    <a:pt x="82" y="362"/>
                  </a:lnTo>
                  <a:lnTo>
                    <a:pt x="82" y="364"/>
                  </a:lnTo>
                  <a:lnTo>
                    <a:pt x="82" y="366"/>
                  </a:lnTo>
                  <a:lnTo>
                    <a:pt x="84" y="366"/>
                  </a:lnTo>
                  <a:lnTo>
                    <a:pt x="84" y="368"/>
                  </a:lnTo>
                  <a:lnTo>
                    <a:pt x="86" y="371"/>
                  </a:lnTo>
                  <a:lnTo>
                    <a:pt x="86" y="371"/>
                  </a:lnTo>
                  <a:lnTo>
                    <a:pt x="88" y="373"/>
                  </a:lnTo>
                  <a:lnTo>
                    <a:pt x="88" y="373"/>
                  </a:lnTo>
                  <a:lnTo>
                    <a:pt x="90" y="375"/>
                  </a:lnTo>
                  <a:lnTo>
                    <a:pt x="90" y="377"/>
                  </a:lnTo>
                  <a:lnTo>
                    <a:pt x="90" y="379"/>
                  </a:lnTo>
                  <a:lnTo>
                    <a:pt x="92" y="381"/>
                  </a:lnTo>
                  <a:lnTo>
                    <a:pt x="94" y="383"/>
                  </a:lnTo>
                  <a:lnTo>
                    <a:pt x="102" y="385"/>
                  </a:lnTo>
                  <a:lnTo>
                    <a:pt x="104" y="385"/>
                  </a:lnTo>
                  <a:lnTo>
                    <a:pt x="112" y="383"/>
                  </a:lnTo>
                  <a:lnTo>
                    <a:pt x="114" y="383"/>
                  </a:lnTo>
                  <a:lnTo>
                    <a:pt x="118" y="383"/>
                  </a:lnTo>
                  <a:lnTo>
                    <a:pt x="123" y="383"/>
                  </a:lnTo>
                  <a:lnTo>
                    <a:pt x="123" y="385"/>
                  </a:lnTo>
                  <a:lnTo>
                    <a:pt x="125" y="387"/>
                  </a:lnTo>
                  <a:lnTo>
                    <a:pt x="127" y="389"/>
                  </a:lnTo>
                  <a:lnTo>
                    <a:pt x="133" y="393"/>
                  </a:lnTo>
                  <a:lnTo>
                    <a:pt x="137" y="395"/>
                  </a:lnTo>
                  <a:lnTo>
                    <a:pt x="141" y="395"/>
                  </a:lnTo>
                  <a:lnTo>
                    <a:pt x="141" y="395"/>
                  </a:lnTo>
                  <a:lnTo>
                    <a:pt x="143" y="393"/>
                  </a:lnTo>
                  <a:lnTo>
                    <a:pt x="143" y="391"/>
                  </a:lnTo>
                  <a:lnTo>
                    <a:pt x="143" y="389"/>
                  </a:lnTo>
                  <a:lnTo>
                    <a:pt x="145" y="389"/>
                  </a:lnTo>
                  <a:lnTo>
                    <a:pt x="151" y="385"/>
                  </a:lnTo>
                  <a:lnTo>
                    <a:pt x="151" y="385"/>
                  </a:lnTo>
                  <a:lnTo>
                    <a:pt x="153" y="385"/>
                  </a:lnTo>
                  <a:lnTo>
                    <a:pt x="155" y="387"/>
                  </a:lnTo>
                  <a:lnTo>
                    <a:pt x="157" y="387"/>
                  </a:lnTo>
                  <a:lnTo>
                    <a:pt x="157" y="387"/>
                  </a:lnTo>
                  <a:lnTo>
                    <a:pt x="161" y="387"/>
                  </a:lnTo>
                  <a:lnTo>
                    <a:pt x="161" y="387"/>
                  </a:lnTo>
                  <a:lnTo>
                    <a:pt x="166" y="389"/>
                  </a:lnTo>
                  <a:lnTo>
                    <a:pt x="166" y="389"/>
                  </a:lnTo>
                  <a:lnTo>
                    <a:pt x="168" y="389"/>
                  </a:lnTo>
                  <a:lnTo>
                    <a:pt x="170" y="393"/>
                  </a:lnTo>
                  <a:lnTo>
                    <a:pt x="170" y="393"/>
                  </a:lnTo>
                  <a:lnTo>
                    <a:pt x="172" y="393"/>
                  </a:lnTo>
                  <a:lnTo>
                    <a:pt x="174" y="393"/>
                  </a:lnTo>
                  <a:lnTo>
                    <a:pt x="176" y="391"/>
                  </a:lnTo>
                  <a:lnTo>
                    <a:pt x="176" y="391"/>
                  </a:lnTo>
                  <a:lnTo>
                    <a:pt x="178" y="389"/>
                  </a:lnTo>
                  <a:lnTo>
                    <a:pt x="182" y="391"/>
                  </a:lnTo>
                  <a:lnTo>
                    <a:pt x="184" y="389"/>
                  </a:lnTo>
                  <a:lnTo>
                    <a:pt x="186" y="389"/>
                  </a:lnTo>
                  <a:lnTo>
                    <a:pt x="186" y="387"/>
                  </a:lnTo>
                  <a:lnTo>
                    <a:pt x="186" y="385"/>
                  </a:lnTo>
                  <a:lnTo>
                    <a:pt x="186" y="385"/>
                  </a:lnTo>
                  <a:lnTo>
                    <a:pt x="188" y="383"/>
                  </a:lnTo>
                  <a:lnTo>
                    <a:pt x="190" y="383"/>
                  </a:lnTo>
                  <a:lnTo>
                    <a:pt x="190" y="381"/>
                  </a:lnTo>
                  <a:lnTo>
                    <a:pt x="192" y="379"/>
                  </a:lnTo>
                  <a:lnTo>
                    <a:pt x="192" y="379"/>
                  </a:lnTo>
                  <a:lnTo>
                    <a:pt x="194" y="377"/>
                  </a:lnTo>
                  <a:lnTo>
                    <a:pt x="196" y="377"/>
                  </a:lnTo>
                  <a:lnTo>
                    <a:pt x="200" y="373"/>
                  </a:lnTo>
                  <a:lnTo>
                    <a:pt x="202" y="373"/>
                  </a:lnTo>
                  <a:lnTo>
                    <a:pt x="204" y="373"/>
                  </a:lnTo>
                  <a:lnTo>
                    <a:pt x="204" y="375"/>
                  </a:lnTo>
                  <a:lnTo>
                    <a:pt x="204" y="377"/>
                  </a:lnTo>
                  <a:lnTo>
                    <a:pt x="207" y="379"/>
                  </a:lnTo>
                  <a:lnTo>
                    <a:pt x="209" y="385"/>
                  </a:lnTo>
                  <a:lnTo>
                    <a:pt x="213" y="389"/>
                  </a:lnTo>
                  <a:lnTo>
                    <a:pt x="217" y="391"/>
                  </a:lnTo>
                  <a:lnTo>
                    <a:pt x="221" y="391"/>
                  </a:lnTo>
                  <a:lnTo>
                    <a:pt x="223" y="393"/>
                  </a:lnTo>
                  <a:lnTo>
                    <a:pt x="231" y="397"/>
                  </a:lnTo>
                  <a:lnTo>
                    <a:pt x="231" y="399"/>
                  </a:lnTo>
                  <a:lnTo>
                    <a:pt x="233" y="403"/>
                  </a:lnTo>
                  <a:lnTo>
                    <a:pt x="235" y="403"/>
                  </a:lnTo>
                  <a:lnTo>
                    <a:pt x="235" y="403"/>
                  </a:lnTo>
                  <a:lnTo>
                    <a:pt x="237" y="405"/>
                  </a:lnTo>
                  <a:lnTo>
                    <a:pt x="241" y="403"/>
                  </a:lnTo>
                  <a:lnTo>
                    <a:pt x="247" y="399"/>
                  </a:lnTo>
                  <a:lnTo>
                    <a:pt x="254" y="399"/>
                  </a:lnTo>
                  <a:lnTo>
                    <a:pt x="256" y="397"/>
                  </a:lnTo>
                  <a:lnTo>
                    <a:pt x="258" y="395"/>
                  </a:lnTo>
                  <a:lnTo>
                    <a:pt x="258" y="393"/>
                  </a:lnTo>
                  <a:lnTo>
                    <a:pt x="258" y="383"/>
                  </a:lnTo>
                  <a:lnTo>
                    <a:pt x="258" y="381"/>
                  </a:lnTo>
                  <a:lnTo>
                    <a:pt x="260" y="381"/>
                  </a:lnTo>
                  <a:lnTo>
                    <a:pt x="264" y="381"/>
                  </a:lnTo>
                  <a:lnTo>
                    <a:pt x="266" y="379"/>
                  </a:lnTo>
                  <a:lnTo>
                    <a:pt x="266" y="377"/>
                  </a:lnTo>
                  <a:lnTo>
                    <a:pt x="266" y="377"/>
                  </a:lnTo>
                  <a:lnTo>
                    <a:pt x="266" y="375"/>
                  </a:lnTo>
                  <a:lnTo>
                    <a:pt x="266" y="375"/>
                  </a:lnTo>
                  <a:lnTo>
                    <a:pt x="264" y="373"/>
                  </a:lnTo>
                  <a:lnTo>
                    <a:pt x="264" y="371"/>
                  </a:lnTo>
                  <a:lnTo>
                    <a:pt x="264" y="368"/>
                  </a:lnTo>
                  <a:lnTo>
                    <a:pt x="264" y="366"/>
                  </a:lnTo>
                  <a:lnTo>
                    <a:pt x="262" y="364"/>
                  </a:lnTo>
                  <a:lnTo>
                    <a:pt x="262" y="364"/>
                  </a:lnTo>
                  <a:lnTo>
                    <a:pt x="260" y="362"/>
                  </a:lnTo>
                  <a:lnTo>
                    <a:pt x="260" y="360"/>
                  </a:lnTo>
                  <a:lnTo>
                    <a:pt x="262" y="358"/>
                  </a:lnTo>
                  <a:lnTo>
                    <a:pt x="264" y="356"/>
                  </a:lnTo>
                  <a:lnTo>
                    <a:pt x="264" y="354"/>
                  </a:lnTo>
                  <a:lnTo>
                    <a:pt x="264" y="352"/>
                  </a:lnTo>
                  <a:lnTo>
                    <a:pt x="264" y="350"/>
                  </a:lnTo>
                  <a:lnTo>
                    <a:pt x="264" y="346"/>
                  </a:lnTo>
                  <a:lnTo>
                    <a:pt x="266" y="344"/>
                  </a:lnTo>
                  <a:lnTo>
                    <a:pt x="268" y="338"/>
                  </a:lnTo>
                  <a:lnTo>
                    <a:pt x="270" y="334"/>
                  </a:lnTo>
                  <a:lnTo>
                    <a:pt x="272" y="332"/>
                  </a:lnTo>
                  <a:lnTo>
                    <a:pt x="274" y="332"/>
                  </a:lnTo>
                  <a:lnTo>
                    <a:pt x="276" y="332"/>
                  </a:lnTo>
                  <a:lnTo>
                    <a:pt x="276" y="334"/>
                  </a:lnTo>
                  <a:lnTo>
                    <a:pt x="280" y="334"/>
                  </a:lnTo>
                  <a:lnTo>
                    <a:pt x="280" y="336"/>
                  </a:lnTo>
                  <a:lnTo>
                    <a:pt x="282" y="338"/>
                  </a:lnTo>
                  <a:lnTo>
                    <a:pt x="282" y="338"/>
                  </a:lnTo>
                  <a:lnTo>
                    <a:pt x="282" y="340"/>
                  </a:lnTo>
                  <a:lnTo>
                    <a:pt x="284" y="340"/>
                  </a:lnTo>
                  <a:lnTo>
                    <a:pt x="284" y="340"/>
                  </a:lnTo>
                  <a:lnTo>
                    <a:pt x="284" y="340"/>
                  </a:lnTo>
                  <a:lnTo>
                    <a:pt x="282" y="342"/>
                  </a:lnTo>
                  <a:lnTo>
                    <a:pt x="282" y="342"/>
                  </a:lnTo>
                  <a:lnTo>
                    <a:pt x="282" y="342"/>
                  </a:lnTo>
                  <a:lnTo>
                    <a:pt x="282" y="344"/>
                  </a:lnTo>
                  <a:lnTo>
                    <a:pt x="282" y="344"/>
                  </a:lnTo>
                  <a:lnTo>
                    <a:pt x="282" y="344"/>
                  </a:lnTo>
                  <a:lnTo>
                    <a:pt x="282" y="346"/>
                  </a:lnTo>
                  <a:lnTo>
                    <a:pt x="284" y="346"/>
                  </a:lnTo>
                  <a:lnTo>
                    <a:pt x="286" y="344"/>
                  </a:lnTo>
                  <a:lnTo>
                    <a:pt x="288" y="342"/>
                  </a:lnTo>
                  <a:lnTo>
                    <a:pt x="288" y="342"/>
                  </a:lnTo>
                  <a:lnTo>
                    <a:pt x="288" y="338"/>
                  </a:lnTo>
                  <a:lnTo>
                    <a:pt x="288" y="338"/>
                  </a:lnTo>
                  <a:lnTo>
                    <a:pt x="290" y="336"/>
                  </a:lnTo>
                  <a:lnTo>
                    <a:pt x="290" y="336"/>
                  </a:lnTo>
                  <a:lnTo>
                    <a:pt x="293" y="338"/>
                  </a:lnTo>
                  <a:lnTo>
                    <a:pt x="293" y="338"/>
                  </a:lnTo>
                  <a:lnTo>
                    <a:pt x="295" y="338"/>
                  </a:lnTo>
                  <a:lnTo>
                    <a:pt x="295" y="336"/>
                  </a:lnTo>
                  <a:lnTo>
                    <a:pt x="295" y="336"/>
                  </a:lnTo>
                  <a:lnTo>
                    <a:pt x="293" y="334"/>
                  </a:lnTo>
                  <a:lnTo>
                    <a:pt x="293" y="330"/>
                  </a:lnTo>
                  <a:lnTo>
                    <a:pt x="293" y="328"/>
                  </a:lnTo>
                  <a:lnTo>
                    <a:pt x="290" y="328"/>
                  </a:lnTo>
                  <a:lnTo>
                    <a:pt x="290" y="328"/>
                  </a:lnTo>
                  <a:lnTo>
                    <a:pt x="290" y="325"/>
                  </a:lnTo>
                  <a:lnTo>
                    <a:pt x="288" y="325"/>
                  </a:lnTo>
                  <a:lnTo>
                    <a:pt x="288" y="325"/>
                  </a:lnTo>
                  <a:lnTo>
                    <a:pt x="288" y="323"/>
                  </a:lnTo>
                  <a:lnTo>
                    <a:pt x="288" y="323"/>
                  </a:lnTo>
                  <a:lnTo>
                    <a:pt x="288" y="323"/>
                  </a:lnTo>
                  <a:lnTo>
                    <a:pt x="293" y="321"/>
                  </a:lnTo>
                  <a:lnTo>
                    <a:pt x="293" y="319"/>
                  </a:lnTo>
                  <a:lnTo>
                    <a:pt x="293" y="317"/>
                  </a:lnTo>
                  <a:lnTo>
                    <a:pt x="293" y="313"/>
                  </a:lnTo>
                  <a:lnTo>
                    <a:pt x="293" y="311"/>
                  </a:lnTo>
                  <a:lnTo>
                    <a:pt x="293" y="311"/>
                  </a:lnTo>
                  <a:lnTo>
                    <a:pt x="295" y="305"/>
                  </a:lnTo>
                  <a:lnTo>
                    <a:pt x="297" y="301"/>
                  </a:lnTo>
                  <a:lnTo>
                    <a:pt x="297" y="301"/>
                  </a:lnTo>
                  <a:lnTo>
                    <a:pt x="299" y="301"/>
                  </a:lnTo>
                  <a:lnTo>
                    <a:pt x="301" y="299"/>
                  </a:lnTo>
                  <a:lnTo>
                    <a:pt x="303" y="299"/>
                  </a:lnTo>
                  <a:lnTo>
                    <a:pt x="303" y="299"/>
                  </a:lnTo>
                  <a:lnTo>
                    <a:pt x="303" y="299"/>
                  </a:lnTo>
                  <a:lnTo>
                    <a:pt x="303" y="299"/>
                  </a:lnTo>
                  <a:lnTo>
                    <a:pt x="305" y="299"/>
                  </a:lnTo>
                  <a:lnTo>
                    <a:pt x="305" y="297"/>
                  </a:lnTo>
                  <a:lnTo>
                    <a:pt x="305" y="293"/>
                  </a:lnTo>
                  <a:lnTo>
                    <a:pt x="305" y="291"/>
                  </a:lnTo>
                  <a:lnTo>
                    <a:pt x="311" y="284"/>
                  </a:lnTo>
                  <a:lnTo>
                    <a:pt x="311" y="284"/>
                  </a:lnTo>
                  <a:lnTo>
                    <a:pt x="315" y="282"/>
                  </a:lnTo>
                  <a:lnTo>
                    <a:pt x="317" y="284"/>
                  </a:lnTo>
                  <a:lnTo>
                    <a:pt x="317" y="287"/>
                  </a:lnTo>
                  <a:lnTo>
                    <a:pt x="319" y="287"/>
                  </a:lnTo>
                  <a:lnTo>
                    <a:pt x="321" y="289"/>
                  </a:lnTo>
                  <a:lnTo>
                    <a:pt x="323" y="289"/>
                  </a:lnTo>
                  <a:lnTo>
                    <a:pt x="325" y="284"/>
                  </a:lnTo>
                  <a:lnTo>
                    <a:pt x="327" y="284"/>
                  </a:lnTo>
                  <a:lnTo>
                    <a:pt x="329" y="282"/>
                  </a:lnTo>
                  <a:lnTo>
                    <a:pt x="329" y="282"/>
                  </a:lnTo>
                  <a:lnTo>
                    <a:pt x="331" y="280"/>
                  </a:lnTo>
                  <a:lnTo>
                    <a:pt x="333" y="280"/>
                  </a:lnTo>
                  <a:lnTo>
                    <a:pt x="336" y="276"/>
                  </a:lnTo>
                  <a:lnTo>
                    <a:pt x="336" y="276"/>
                  </a:lnTo>
                  <a:lnTo>
                    <a:pt x="340" y="274"/>
                  </a:lnTo>
                  <a:lnTo>
                    <a:pt x="340" y="272"/>
                  </a:lnTo>
                  <a:lnTo>
                    <a:pt x="342" y="268"/>
                  </a:lnTo>
                  <a:lnTo>
                    <a:pt x="344" y="264"/>
                  </a:lnTo>
                  <a:lnTo>
                    <a:pt x="352" y="256"/>
                  </a:lnTo>
                  <a:lnTo>
                    <a:pt x="356" y="252"/>
                  </a:lnTo>
                  <a:lnTo>
                    <a:pt x="356" y="252"/>
                  </a:lnTo>
                  <a:lnTo>
                    <a:pt x="358" y="248"/>
                  </a:lnTo>
                  <a:lnTo>
                    <a:pt x="358" y="248"/>
                  </a:lnTo>
                  <a:lnTo>
                    <a:pt x="356" y="246"/>
                  </a:lnTo>
                  <a:lnTo>
                    <a:pt x="356" y="246"/>
                  </a:lnTo>
                  <a:lnTo>
                    <a:pt x="356" y="246"/>
                  </a:lnTo>
                  <a:lnTo>
                    <a:pt x="358" y="243"/>
                  </a:lnTo>
                  <a:lnTo>
                    <a:pt x="358" y="241"/>
                  </a:lnTo>
                  <a:lnTo>
                    <a:pt x="358" y="239"/>
                  </a:lnTo>
                  <a:lnTo>
                    <a:pt x="356" y="239"/>
                  </a:lnTo>
                  <a:lnTo>
                    <a:pt x="356" y="237"/>
                  </a:lnTo>
                  <a:lnTo>
                    <a:pt x="354" y="237"/>
                  </a:lnTo>
                  <a:lnTo>
                    <a:pt x="354" y="235"/>
                  </a:lnTo>
                  <a:lnTo>
                    <a:pt x="356" y="235"/>
                  </a:lnTo>
                  <a:lnTo>
                    <a:pt x="356" y="233"/>
                  </a:lnTo>
                  <a:lnTo>
                    <a:pt x="356" y="231"/>
                  </a:lnTo>
                  <a:lnTo>
                    <a:pt x="356" y="229"/>
                  </a:lnTo>
                  <a:lnTo>
                    <a:pt x="358" y="229"/>
                  </a:lnTo>
                  <a:lnTo>
                    <a:pt x="358" y="227"/>
                  </a:lnTo>
                  <a:lnTo>
                    <a:pt x="358" y="225"/>
                  </a:lnTo>
                  <a:lnTo>
                    <a:pt x="358" y="225"/>
                  </a:lnTo>
                  <a:lnTo>
                    <a:pt x="358" y="223"/>
                  </a:lnTo>
                  <a:lnTo>
                    <a:pt x="358" y="223"/>
                  </a:lnTo>
                  <a:lnTo>
                    <a:pt x="358" y="221"/>
                  </a:lnTo>
                  <a:lnTo>
                    <a:pt x="358" y="219"/>
                  </a:lnTo>
                  <a:lnTo>
                    <a:pt x="358" y="219"/>
                  </a:lnTo>
                  <a:lnTo>
                    <a:pt x="360" y="221"/>
                  </a:lnTo>
                  <a:lnTo>
                    <a:pt x="360" y="219"/>
                  </a:lnTo>
                  <a:lnTo>
                    <a:pt x="360" y="219"/>
                  </a:lnTo>
                  <a:lnTo>
                    <a:pt x="360" y="217"/>
                  </a:lnTo>
                  <a:lnTo>
                    <a:pt x="360" y="217"/>
                  </a:lnTo>
                  <a:lnTo>
                    <a:pt x="360" y="217"/>
                  </a:lnTo>
                  <a:lnTo>
                    <a:pt x="360" y="215"/>
                  </a:lnTo>
                  <a:lnTo>
                    <a:pt x="360" y="213"/>
                  </a:lnTo>
                  <a:lnTo>
                    <a:pt x="360" y="211"/>
                  </a:lnTo>
                  <a:lnTo>
                    <a:pt x="360" y="209"/>
                  </a:lnTo>
                  <a:lnTo>
                    <a:pt x="360" y="205"/>
                  </a:lnTo>
                  <a:lnTo>
                    <a:pt x="360" y="202"/>
                  </a:lnTo>
                  <a:lnTo>
                    <a:pt x="360" y="200"/>
                  </a:lnTo>
                  <a:lnTo>
                    <a:pt x="362" y="196"/>
                  </a:lnTo>
                  <a:lnTo>
                    <a:pt x="362" y="194"/>
                  </a:lnTo>
                  <a:lnTo>
                    <a:pt x="362" y="190"/>
                  </a:lnTo>
                  <a:lnTo>
                    <a:pt x="362" y="188"/>
                  </a:lnTo>
                  <a:lnTo>
                    <a:pt x="362" y="182"/>
                  </a:lnTo>
                  <a:lnTo>
                    <a:pt x="364" y="182"/>
                  </a:lnTo>
                  <a:lnTo>
                    <a:pt x="366" y="180"/>
                  </a:lnTo>
                  <a:lnTo>
                    <a:pt x="366" y="180"/>
                  </a:lnTo>
                  <a:lnTo>
                    <a:pt x="366" y="176"/>
                  </a:lnTo>
                  <a:lnTo>
                    <a:pt x="366" y="176"/>
                  </a:lnTo>
                  <a:lnTo>
                    <a:pt x="366" y="174"/>
                  </a:lnTo>
                  <a:lnTo>
                    <a:pt x="364" y="172"/>
                  </a:lnTo>
                  <a:lnTo>
                    <a:pt x="364" y="170"/>
                  </a:lnTo>
                  <a:lnTo>
                    <a:pt x="364" y="170"/>
                  </a:lnTo>
                  <a:lnTo>
                    <a:pt x="364" y="170"/>
                  </a:lnTo>
                  <a:lnTo>
                    <a:pt x="364" y="170"/>
                  </a:lnTo>
                  <a:lnTo>
                    <a:pt x="364" y="168"/>
                  </a:lnTo>
                  <a:lnTo>
                    <a:pt x="364" y="168"/>
                  </a:lnTo>
                  <a:lnTo>
                    <a:pt x="362" y="168"/>
                  </a:lnTo>
                  <a:lnTo>
                    <a:pt x="362" y="166"/>
                  </a:lnTo>
                  <a:lnTo>
                    <a:pt x="364" y="162"/>
                  </a:lnTo>
                  <a:lnTo>
                    <a:pt x="364" y="159"/>
                  </a:lnTo>
                  <a:lnTo>
                    <a:pt x="362" y="157"/>
                  </a:lnTo>
                  <a:lnTo>
                    <a:pt x="362" y="155"/>
                  </a:lnTo>
                  <a:lnTo>
                    <a:pt x="360" y="153"/>
                  </a:lnTo>
                  <a:lnTo>
                    <a:pt x="356" y="149"/>
                  </a:lnTo>
                  <a:lnTo>
                    <a:pt x="356" y="147"/>
                  </a:lnTo>
                  <a:lnTo>
                    <a:pt x="356" y="145"/>
                  </a:lnTo>
                  <a:lnTo>
                    <a:pt x="358" y="145"/>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OH</a:t>
              </a:r>
            </a:p>
          </p:txBody>
        </p:sp>
        <p:sp>
          <p:nvSpPr>
            <p:cNvPr id="81" name="Freeform 21">
              <a:extLst>
                <a:ext uri="{FF2B5EF4-FFF2-40B4-BE49-F238E27FC236}">
                  <a16:creationId xmlns:a16="http://schemas.microsoft.com/office/drawing/2014/main" id="{2CEDEABB-2ECC-72A3-F4F7-4AC553CCCA52}"/>
                </a:ext>
              </a:extLst>
            </p:cNvPr>
            <p:cNvSpPr>
              <a:spLocks/>
            </p:cNvSpPr>
            <p:nvPr/>
          </p:nvSpPr>
          <p:spPr bwMode="auto">
            <a:xfrm>
              <a:off x="1043" y="762"/>
              <a:ext cx="539" cy="810"/>
            </a:xfrm>
            <a:custGeom>
              <a:avLst/>
              <a:gdLst>
                <a:gd name="T0" fmla="*/ 453 w 539"/>
                <a:gd name="T1" fmla="*/ 701 h 810"/>
                <a:gd name="T2" fmla="*/ 442 w 539"/>
                <a:gd name="T3" fmla="*/ 707 h 810"/>
                <a:gd name="T4" fmla="*/ 436 w 539"/>
                <a:gd name="T5" fmla="*/ 701 h 810"/>
                <a:gd name="T6" fmla="*/ 434 w 539"/>
                <a:gd name="T7" fmla="*/ 693 h 810"/>
                <a:gd name="T8" fmla="*/ 430 w 539"/>
                <a:gd name="T9" fmla="*/ 691 h 810"/>
                <a:gd name="T10" fmla="*/ 426 w 539"/>
                <a:gd name="T11" fmla="*/ 693 h 810"/>
                <a:gd name="T12" fmla="*/ 424 w 539"/>
                <a:gd name="T13" fmla="*/ 693 h 810"/>
                <a:gd name="T14" fmla="*/ 422 w 539"/>
                <a:gd name="T15" fmla="*/ 691 h 810"/>
                <a:gd name="T16" fmla="*/ 416 w 539"/>
                <a:gd name="T17" fmla="*/ 689 h 810"/>
                <a:gd name="T18" fmla="*/ 401 w 539"/>
                <a:gd name="T19" fmla="*/ 691 h 810"/>
                <a:gd name="T20" fmla="*/ 399 w 539"/>
                <a:gd name="T21" fmla="*/ 693 h 810"/>
                <a:gd name="T22" fmla="*/ 399 w 539"/>
                <a:gd name="T23" fmla="*/ 699 h 810"/>
                <a:gd name="T24" fmla="*/ 397 w 539"/>
                <a:gd name="T25" fmla="*/ 707 h 810"/>
                <a:gd name="T26" fmla="*/ 401 w 539"/>
                <a:gd name="T27" fmla="*/ 718 h 810"/>
                <a:gd name="T28" fmla="*/ 397 w 539"/>
                <a:gd name="T29" fmla="*/ 728 h 810"/>
                <a:gd name="T30" fmla="*/ 399 w 539"/>
                <a:gd name="T31" fmla="*/ 744 h 810"/>
                <a:gd name="T32" fmla="*/ 397 w 539"/>
                <a:gd name="T33" fmla="*/ 761 h 810"/>
                <a:gd name="T34" fmla="*/ 401 w 539"/>
                <a:gd name="T35" fmla="*/ 777 h 810"/>
                <a:gd name="T36" fmla="*/ 399 w 539"/>
                <a:gd name="T37" fmla="*/ 791 h 810"/>
                <a:gd name="T38" fmla="*/ 395 w 539"/>
                <a:gd name="T39" fmla="*/ 796 h 810"/>
                <a:gd name="T40" fmla="*/ 393 w 539"/>
                <a:gd name="T41" fmla="*/ 800 h 810"/>
                <a:gd name="T42" fmla="*/ 393 w 539"/>
                <a:gd name="T43" fmla="*/ 806 h 810"/>
                <a:gd name="T44" fmla="*/ 379 w 539"/>
                <a:gd name="T45" fmla="*/ 793 h 810"/>
                <a:gd name="T46" fmla="*/ 323 w 539"/>
                <a:gd name="T47" fmla="*/ 726 h 810"/>
                <a:gd name="T48" fmla="*/ 276 w 539"/>
                <a:gd name="T49" fmla="*/ 662 h 810"/>
                <a:gd name="T50" fmla="*/ 227 w 539"/>
                <a:gd name="T51" fmla="*/ 599 h 810"/>
                <a:gd name="T52" fmla="*/ 172 w 539"/>
                <a:gd name="T53" fmla="*/ 531 h 810"/>
                <a:gd name="T54" fmla="*/ 117 w 539"/>
                <a:gd name="T55" fmla="*/ 459 h 810"/>
                <a:gd name="T56" fmla="*/ 49 w 539"/>
                <a:gd name="T57" fmla="*/ 377 h 810"/>
                <a:gd name="T58" fmla="*/ 0 w 539"/>
                <a:gd name="T59" fmla="*/ 312 h 810"/>
                <a:gd name="T60" fmla="*/ 12 w 539"/>
                <a:gd name="T61" fmla="*/ 248 h 810"/>
                <a:gd name="T62" fmla="*/ 24 w 539"/>
                <a:gd name="T63" fmla="*/ 173 h 810"/>
                <a:gd name="T64" fmla="*/ 39 w 539"/>
                <a:gd name="T65" fmla="*/ 95 h 810"/>
                <a:gd name="T66" fmla="*/ 53 w 539"/>
                <a:gd name="T67" fmla="*/ 19 h 810"/>
                <a:gd name="T68" fmla="*/ 102 w 539"/>
                <a:gd name="T69" fmla="*/ 9 h 810"/>
                <a:gd name="T70" fmla="*/ 162 w 539"/>
                <a:gd name="T71" fmla="*/ 19 h 810"/>
                <a:gd name="T72" fmla="*/ 223 w 539"/>
                <a:gd name="T73" fmla="*/ 29 h 810"/>
                <a:gd name="T74" fmla="*/ 283 w 539"/>
                <a:gd name="T75" fmla="*/ 37 h 810"/>
                <a:gd name="T76" fmla="*/ 344 w 539"/>
                <a:gd name="T77" fmla="*/ 48 h 810"/>
                <a:gd name="T78" fmla="*/ 403 w 539"/>
                <a:gd name="T79" fmla="*/ 56 h 810"/>
                <a:gd name="T80" fmla="*/ 463 w 539"/>
                <a:gd name="T81" fmla="*/ 64 h 810"/>
                <a:gd name="T82" fmla="*/ 524 w 539"/>
                <a:gd name="T83" fmla="*/ 72 h 810"/>
                <a:gd name="T84" fmla="*/ 532 w 539"/>
                <a:gd name="T85" fmla="*/ 123 h 810"/>
                <a:gd name="T86" fmla="*/ 524 w 539"/>
                <a:gd name="T87" fmla="*/ 189 h 810"/>
                <a:gd name="T88" fmla="*/ 516 w 539"/>
                <a:gd name="T89" fmla="*/ 257 h 810"/>
                <a:gd name="T90" fmla="*/ 508 w 539"/>
                <a:gd name="T91" fmla="*/ 322 h 810"/>
                <a:gd name="T92" fmla="*/ 500 w 539"/>
                <a:gd name="T93" fmla="*/ 388 h 810"/>
                <a:gd name="T94" fmla="*/ 491 w 539"/>
                <a:gd name="T95" fmla="*/ 455 h 810"/>
                <a:gd name="T96" fmla="*/ 483 w 539"/>
                <a:gd name="T97" fmla="*/ 521 h 810"/>
                <a:gd name="T98" fmla="*/ 473 w 539"/>
                <a:gd name="T99" fmla="*/ 587 h 810"/>
                <a:gd name="T100" fmla="*/ 471 w 539"/>
                <a:gd name="T101" fmla="*/ 611 h 810"/>
                <a:gd name="T102" fmla="*/ 467 w 539"/>
                <a:gd name="T103" fmla="*/ 636 h 810"/>
                <a:gd name="T104" fmla="*/ 465 w 539"/>
                <a:gd name="T105" fmla="*/ 664 h 810"/>
                <a:gd name="T106" fmla="*/ 461 w 539"/>
                <a:gd name="T107" fmla="*/ 683 h 810"/>
                <a:gd name="T108" fmla="*/ 461 w 539"/>
                <a:gd name="T109" fmla="*/ 689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9" h="810">
                  <a:moveTo>
                    <a:pt x="459" y="691"/>
                  </a:moveTo>
                  <a:lnTo>
                    <a:pt x="457" y="693"/>
                  </a:lnTo>
                  <a:lnTo>
                    <a:pt x="455" y="697"/>
                  </a:lnTo>
                  <a:lnTo>
                    <a:pt x="453" y="701"/>
                  </a:lnTo>
                  <a:lnTo>
                    <a:pt x="450" y="705"/>
                  </a:lnTo>
                  <a:lnTo>
                    <a:pt x="448" y="707"/>
                  </a:lnTo>
                  <a:lnTo>
                    <a:pt x="444" y="707"/>
                  </a:lnTo>
                  <a:lnTo>
                    <a:pt x="442" y="707"/>
                  </a:lnTo>
                  <a:lnTo>
                    <a:pt x="440" y="705"/>
                  </a:lnTo>
                  <a:lnTo>
                    <a:pt x="438" y="703"/>
                  </a:lnTo>
                  <a:lnTo>
                    <a:pt x="438" y="701"/>
                  </a:lnTo>
                  <a:lnTo>
                    <a:pt x="436" y="701"/>
                  </a:lnTo>
                  <a:lnTo>
                    <a:pt x="436" y="695"/>
                  </a:lnTo>
                  <a:lnTo>
                    <a:pt x="434" y="695"/>
                  </a:lnTo>
                  <a:lnTo>
                    <a:pt x="434" y="693"/>
                  </a:lnTo>
                  <a:lnTo>
                    <a:pt x="434" y="693"/>
                  </a:lnTo>
                  <a:lnTo>
                    <a:pt x="432" y="693"/>
                  </a:lnTo>
                  <a:lnTo>
                    <a:pt x="432" y="691"/>
                  </a:lnTo>
                  <a:lnTo>
                    <a:pt x="432" y="691"/>
                  </a:lnTo>
                  <a:lnTo>
                    <a:pt x="430" y="691"/>
                  </a:lnTo>
                  <a:lnTo>
                    <a:pt x="430" y="691"/>
                  </a:lnTo>
                  <a:lnTo>
                    <a:pt x="430" y="691"/>
                  </a:lnTo>
                  <a:lnTo>
                    <a:pt x="430" y="691"/>
                  </a:lnTo>
                  <a:lnTo>
                    <a:pt x="426" y="693"/>
                  </a:lnTo>
                  <a:lnTo>
                    <a:pt x="426" y="693"/>
                  </a:lnTo>
                  <a:lnTo>
                    <a:pt x="426" y="693"/>
                  </a:lnTo>
                  <a:lnTo>
                    <a:pt x="424" y="693"/>
                  </a:lnTo>
                  <a:lnTo>
                    <a:pt x="424" y="693"/>
                  </a:lnTo>
                  <a:lnTo>
                    <a:pt x="424" y="693"/>
                  </a:lnTo>
                  <a:lnTo>
                    <a:pt x="422" y="691"/>
                  </a:lnTo>
                  <a:lnTo>
                    <a:pt x="422" y="691"/>
                  </a:lnTo>
                  <a:lnTo>
                    <a:pt x="422" y="691"/>
                  </a:lnTo>
                  <a:lnTo>
                    <a:pt x="422" y="691"/>
                  </a:lnTo>
                  <a:lnTo>
                    <a:pt x="416" y="689"/>
                  </a:lnTo>
                  <a:lnTo>
                    <a:pt x="416" y="689"/>
                  </a:lnTo>
                  <a:lnTo>
                    <a:pt x="416" y="689"/>
                  </a:lnTo>
                  <a:lnTo>
                    <a:pt x="414" y="689"/>
                  </a:lnTo>
                  <a:lnTo>
                    <a:pt x="407" y="689"/>
                  </a:lnTo>
                  <a:lnTo>
                    <a:pt x="405" y="691"/>
                  </a:lnTo>
                  <a:lnTo>
                    <a:pt x="401" y="691"/>
                  </a:lnTo>
                  <a:lnTo>
                    <a:pt x="401" y="691"/>
                  </a:lnTo>
                  <a:lnTo>
                    <a:pt x="401" y="693"/>
                  </a:lnTo>
                  <a:lnTo>
                    <a:pt x="401" y="693"/>
                  </a:lnTo>
                  <a:lnTo>
                    <a:pt x="399" y="693"/>
                  </a:lnTo>
                  <a:lnTo>
                    <a:pt x="399" y="695"/>
                  </a:lnTo>
                  <a:lnTo>
                    <a:pt x="399" y="695"/>
                  </a:lnTo>
                  <a:lnTo>
                    <a:pt x="399" y="697"/>
                  </a:lnTo>
                  <a:lnTo>
                    <a:pt x="399" y="699"/>
                  </a:lnTo>
                  <a:lnTo>
                    <a:pt x="399" y="701"/>
                  </a:lnTo>
                  <a:lnTo>
                    <a:pt x="397" y="701"/>
                  </a:lnTo>
                  <a:lnTo>
                    <a:pt x="397" y="705"/>
                  </a:lnTo>
                  <a:lnTo>
                    <a:pt x="397" y="707"/>
                  </a:lnTo>
                  <a:lnTo>
                    <a:pt x="399" y="709"/>
                  </a:lnTo>
                  <a:lnTo>
                    <a:pt x="401" y="716"/>
                  </a:lnTo>
                  <a:lnTo>
                    <a:pt x="401" y="716"/>
                  </a:lnTo>
                  <a:lnTo>
                    <a:pt x="401" y="718"/>
                  </a:lnTo>
                  <a:lnTo>
                    <a:pt x="401" y="718"/>
                  </a:lnTo>
                  <a:lnTo>
                    <a:pt x="399" y="722"/>
                  </a:lnTo>
                  <a:lnTo>
                    <a:pt x="399" y="722"/>
                  </a:lnTo>
                  <a:lnTo>
                    <a:pt x="397" y="728"/>
                  </a:lnTo>
                  <a:lnTo>
                    <a:pt x="397" y="732"/>
                  </a:lnTo>
                  <a:lnTo>
                    <a:pt x="397" y="734"/>
                  </a:lnTo>
                  <a:lnTo>
                    <a:pt x="399" y="742"/>
                  </a:lnTo>
                  <a:lnTo>
                    <a:pt x="399" y="744"/>
                  </a:lnTo>
                  <a:lnTo>
                    <a:pt x="399" y="746"/>
                  </a:lnTo>
                  <a:lnTo>
                    <a:pt x="399" y="750"/>
                  </a:lnTo>
                  <a:lnTo>
                    <a:pt x="397" y="757"/>
                  </a:lnTo>
                  <a:lnTo>
                    <a:pt x="397" y="761"/>
                  </a:lnTo>
                  <a:lnTo>
                    <a:pt x="399" y="765"/>
                  </a:lnTo>
                  <a:lnTo>
                    <a:pt x="401" y="771"/>
                  </a:lnTo>
                  <a:lnTo>
                    <a:pt x="401" y="773"/>
                  </a:lnTo>
                  <a:lnTo>
                    <a:pt x="401" y="777"/>
                  </a:lnTo>
                  <a:lnTo>
                    <a:pt x="399" y="779"/>
                  </a:lnTo>
                  <a:lnTo>
                    <a:pt x="401" y="785"/>
                  </a:lnTo>
                  <a:lnTo>
                    <a:pt x="401" y="789"/>
                  </a:lnTo>
                  <a:lnTo>
                    <a:pt x="399" y="791"/>
                  </a:lnTo>
                  <a:lnTo>
                    <a:pt x="399" y="796"/>
                  </a:lnTo>
                  <a:lnTo>
                    <a:pt x="399" y="796"/>
                  </a:lnTo>
                  <a:lnTo>
                    <a:pt x="397" y="796"/>
                  </a:lnTo>
                  <a:lnTo>
                    <a:pt x="395" y="796"/>
                  </a:lnTo>
                  <a:lnTo>
                    <a:pt x="395" y="796"/>
                  </a:lnTo>
                  <a:lnTo>
                    <a:pt x="393" y="796"/>
                  </a:lnTo>
                  <a:lnTo>
                    <a:pt x="393" y="798"/>
                  </a:lnTo>
                  <a:lnTo>
                    <a:pt x="393" y="800"/>
                  </a:lnTo>
                  <a:lnTo>
                    <a:pt x="395" y="802"/>
                  </a:lnTo>
                  <a:lnTo>
                    <a:pt x="395" y="802"/>
                  </a:lnTo>
                  <a:lnTo>
                    <a:pt x="395" y="804"/>
                  </a:lnTo>
                  <a:lnTo>
                    <a:pt x="393" y="806"/>
                  </a:lnTo>
                  <a:lnTo>
                    <a:pt x="393" y="810"/>
                  </a:lnTo>
                  <a:lnTo>
                    <a:pt x="393" y="810"/>
                  </a:lnTo>
                  <a:lnTo>
                    <a:pt x="393" y="810"/>
                  </a:lnTo>
                  <a:lnTo>
                    <a:pt x="379" y="793"/>
                  </a:lnTo>
                  <a:lnTo>
                    <a:pt x="364" y="775"/>
                  </a:lnTo>
                  <a:lnTo>
                    <a:pt x="350" y="759"/>
                  </a:lnTo>
                  <a:lnTo>
                    <a:pt x="336" y="740"/>
                  </a:lnTo>
                  <a:lnTo>
                    <a:pt x="323" y="726"/>
                  </a:lnTo>
                  <a:lnTo>
                    <a:pt x="311" y="709"/>
                  </a:lnTo>
                  <a:lnTo>
                    <a:pt x="299" y="695"/>
                  </a:lnTo>
                  <a:lnTo>
                    <a:pt x="287" y="679"/>
                  </a:lnTo>
                  <a:lnTo>
                    <a:pt x="276" y="662"/>
                  </a:lnTo>
                  <a:lnTo>
                    <a:pt x="264" y="648"/>
                  </a:lnTo>
                  <a:lnTo>
                    <a:pt x="252" y="632"/>
                  </a:lnTo>
                  <a:lnTo>
                    <a:pt x="240" y="617"/>
                  </a:lnTo>
                  <a:lnTo>
                    <a:pt x="227" y="599"/>
                  </a:lnTo>
                  <a:lnTo>
                    <a:pt x="213" y="582"/>
                  </a:lnTo>
                  <a:lnTo>
                    <a:pt x="199" y="566"/>
                  </a:lnTo>
                  <a:lnTo>
                    <a:pt x="186" y="548"/>
                  </a:lnTo>
                  <a:lnTo>
                    <a:pt x="172" y="531"/>
                  </a:lnTo>
                  <a:lnTo>
                    <a:pt x="160" y="515"/>
                  </a:lnTo>
                  <a:lnTo>
                    <a:pt x="145" y="496"/>
                  </a:lnTo>
                  <a:lnTo>
                    <a:pt x="133" y="480"/>
                  </a:lnTo>
                  <a:lnTo>
                    <a:pt x="117" y="459"/>
                  </a:lnTo>
                  <a:lnTo>
                    <a:pt x="100" y="439"/>
                  </a:lnTo>
                  <a:lnTo>
                    <a:pt x="82" y="418"/>
                  </a:lnTo>
                  <a:lnTo>
                    <a:pt x="65" y="398"/>
                  </a:lnTo>
                  <a:lnTo>
                    <a:pt x="49" y="377"/>
                  </a:lnTo>
                  <a:lnTo>
                    <a:pt x="33" y="355"/>
                  </a:lnTo>
                  <a:lnTo>
                    <a:pt x="16" y="334"/>
                  </a:lnTo>
                  <a:lnTo>
                    <a:pt x="0" y="314"/>
                  </a:lnTo>
                  <a:lnTo>
                    <a:pt x="0" y="312"/>
                  </a:lnTo>
                  <a:lnTo>
                    <a:pt x="0" y="308"/>
                  </a:lnTo>
                  <a:lnTo>
                    <a:pt x="4" y="287"/>
                  </a:lnTo>
                  <a:lnTo>
                    <a:pt x="8" y="269"/>
                  </a:lnTo>
                  <a:lnTo>
                    <a:pt x="12" y="248"/>
                  </a:lnTo>
                  <a:lnTo>
                    <a:pt x="14" y="230"/>
                  </a:lnTo>
                  <a:lnTo>
                    <a:pt x="18" y="211"/>
                  </a:lnTo>
                  <a:lnTo>
                    <a:pt x="22" y="191"/>
                  </a:lnTo>
                  <a:lnTo>
                    <a:pt x="24" y="173"/>
                  </a:lnTo>
                  <a:lnTo>
                    <a:pt x="29" y="152"/>
                  </a:lnTo>
                  <a:lnTo>
                    <a:pt x="33" y="134"/>
                  </a:lnTo>
                  <a:lnTo>
                    <a:pt x="37" y="115"/>
                  </a:lnTo>
                  <a:lnTo>
                    <a:pt x="39" y="95"/>
                  </a:lnTo>
                  <a:lnTo>
                    <a:pt x="43" y="76"/>
                  </a:lnTo>
                  <a:lnTo>
                    <a:pt x="47" y="58"/>
                  </a:lnTo>
                  <a:lnTo>
                    <a:pt x="49" y="37"/>
                  </a:lnTo>
                  <a:lnTo>
                    <a:pt x="53" y="19"/>
                  </a:lnTo>
                  <a:lnTo>
                    <a:pt x="57" y="0"/>
                  </a:lnTo>
                  <a:lnTo>
                    <a:pt x="72" y="2"/>
                  </a:lnTo>
                  <a:lnTo>
                    <a:pt x="88" y="5"/>
                  </a:lnTo>
                  <a:lnTo>
                    <a:pt x="102" y="9"/>
                  </a:lnTo>
                  <a:lnTo>
                    <a:pt x="117" y="11"/>
                  </a:lnTo>
                  <a:lnTo>
                    <a:pt x="133" y="13"/>
                  </a:lnTo>
                  <a:lnTo>
                    <a:pt x="147" y="15"/>
                  </a:lnTo>
                  <a:lnTo>
                    <a:pt x="162" y="19"/>
                  </a:lnTo>
                  <a:lnTo>
                    <a:pt x="178" y="21"/>
                  </a:lnTo>
                  <a:lnTo>
                    <a:pt x="192" y="23"/>
                  </a:lnTo>
                  <a:lnTo>
                    <a:pt x="207" y="25"/>
                  </a:lnTo>
                  <a:lnTo>
                    <a:pt x="223" y="29"/>
                  </a:lnTo>
                  <a:lnTo>
                    <a:pt x="237" y="31"/>
                  </a:lnTo>
                  <a:lnTo>
                    <a:pt x="252" y="33"/>
                  </a:lnTo>
                  <a:lnTo>
                    <a:pt x="268" y="35"/>
                  </a:lnTo>
                  <a:lnTo>
                    <a:pt x="283" y="37"/>
                  </a:lnTo>
                  <a:lnTo>
                    <a:pt x="297" y="39"/>
                  </a:lnTo>
                  <a:lnTo>
                    <a:pt x="313" y="43"/>
                  </a:lnTo>
                  <a:lnTo>
                    <a:pt x="328" y="46"/>
                  </a:lnTo>
                  <a:lnTo>
                    <a:pt x="344" y="48"/>
                  </a:lnTo>
                  <a:lnTo>
                    <a:pt x="358" y="50"/>
                  </a:lnTo>
                  <a:lnTo>
                    <a:pt x="373" y="52"/>
                  </a:lnTo>
                  <a:lnTo>
                    <a:pt x="389" y="54"/>
                  </a:lnTo>
                  <a:lnTo>
                    <a:pt x="403" y="56"/>
                  </a:lnTo>
                  <a:lnTo>
                    <a:pt x="418" y="58"/>
                  </a:lnTo>
                  <a:lnTo>
                    <a:pt x="434" y="60"/>
                  </a:lnTo>
                  <a:lnTo>
                    <a:pt x="448" y="62"/>
                  </a:lnTo>
                  <a:lnTo>
                    <a:pt x="463" y="64"/>
                  </a:lnTo>
                  <a:lnTo>
                    <a:pt x="479" y="66"/>
                  </a:lnTo>
                  <a:lnTo>
                    <a:pt x="493" y="68"/>
                  </a:lnTo>
                  <a:lnTo>
                    <a:pt x="508" y="70"/>
                  </a:lnTo>
                  <a:lnTo>
                    <a:pt x="524" y="72"/>
                  </a:lnTo>
                  <a:lnTo>
                    <a:pt x="539" y="74"/>
                  </a:lnTo>
                  <a:lnTo>
                    <a:pt x="536" y="91"/>
                  </a:lnTo>
                  <a:lnTo>
                    <a:pt x="534" y="107"/>
                  </a:lnTo>
                  <a:lnTo>
                    <a:pt x="532" y="123"/>
                  </a:lnTo>
                  <a:lnTo>
                    <a:pt x="530" y="140"/>
                  </a:lnTo>
                  <a:lnTo>
                    <a:pt x="528" y="156"/>
                  </a:lnTo>
                  <a:lnTo>
                    <a:pt x="526" y="173"/>
                  </a:lnTo>
                  <a:lnTo>
                    <a:pt x="524" y="189"/>
                  </a:lnTo>
                  <a:lnTo>
                    <a:pt x="522" y="205"/>
                  </a:lnTo>
                  <a:lnTo>
                    <a:pt x="520" y="222"/>
                  </a:lnTo>
                  <a:lnTo>
                    <a:pt x="518" y="238"/>
                  </a:lnTo>
                  <a:lnTo>
                    <a:pt x="516" y="257"/>
                  </a:lnTo>
                  <a:lnTo>
                    <a:pt x="514" y="273"/>
                  </a:lnTo>
                  <a:lnTo>
                    <a:pt x="512" y="289"/>
                  </a:lnTo>
                  <a:lnTo>
                    <a:pt x="510" y="306"/>
                  </a:lnTo>
                  <a:lnTo>
                    <a:pt x="508" y="322"/>
                  </a:lnTo>
                  <a:lnTo>
                    <a:pt x="506" y="339"/>
                  </a:lnTo>
                  <a:lnTo>
                    <a:pt x="504" y="355"/>
                  </a:lnTo>
                  <a:lnTo>
                    <a:pt x="502" y="371"/>
                  </a:lnTo>
                  <a:lnTo>
                    <a:pt x="500" y="388"/>
                  </a:lnTo>
                  <a:lnTo>
                    <a:pt x="498" y="404"/>
                  </a:lnTo>
                  <a:lnTo>
                    <a:pt x="496" y="421"/>
                  </a:lnTo>
                  <a:lnTo>
                    <a:pt x="493" y="437"/>
                  </a:lnTo>
                  <a:lnTo>
                    <a:pt x="491" y="455"/>
                  </a:lnTo>
                  <a:lnTo>
                    <a:pt x="489" y="472"/>
                  </a:lnTo>
                  <a:lnTo>
                    <a:pt x="487" y="488"/>
                  </a:lnTo>
                  <a:lnTo>
                    <a:pt x="485" y="505"/>
                  </a:lnTo>
                  <a:lnTo>
                    <a:pt x="483" y="521"/>
                  </a:lnTo>
                  <a:lnTo>
                    <a:pt x="479" y="537"/>
                  </a:lnTo>
                  <a:lnTo>
                    <a:pt x="477" y="554"/>
                  </a:lnTo>
                  <a:lnTo>
                    <a:pt x="475" y="570"/>
                  </a:lnTo>
                  <a:lnTo>
                    <a:pt x="473" y="587"/>
                  </a:lnTo>
                  <a:lnTo>
                    <a:pt x="471" y="605"/>
                  </a:lnTo>
                  <a:lnTo>
                    <a:pt x="471" y="605"/>
                  </a:lnTo>
                  <a:lnTo>
                    <a:pt x="471" y="607"/>
                  </a:lnTo>
                  <a:lnTo>
                    <a:pt x="471" y="611"/>
                  </a:lnTo>
                  <a:lnTo>
                    <a:pt x="471" y="617"/>
                  </a:lnTo>
                  <a:lnTo>
                    <a:pt x="469" y="623"/>
                  </a:lnTo>
                  <a:lnTo>
                    <a:pt x="469" y="630"/>
                  </a:lnTo>
                  <a:lnTo>
                    <a:pt x="467" y="636"/>
                  </a:lnTo>
                  <a:lnTo>
                    <a:pt x="467" y="644"/>
                  </a:lnTo>
                  <a:lnTo>
                    <a:pt x="465" y="650"/>
                  </a:lnTo>
                  <a:lnTo>
                    <a:pt x="465" y="658"/>
                  </a:lnTo>
                  <a:lnTo>
                    <a:pt x="465" y="664"/>
                  </a:lnTo>
                  <a:lnTo>
                    <a:pt x="463" y="671"/>
                  </a:lnTo>
                  <a:lnTo>
                    <a:pt x="463" y="677"/>
                  </a:lnTo>
                  <a:lnTo>
                    <a:pt x="463" y="681"/>
                  </a:lnTo>
                  <a:lnTo>
                    <a:pt x="461" y="683"/>
                  </a:lnTo>
                  <a:lnTo>
                    <a:pt x="461" y="683"/>
                  </a:lnTo>
                  <a:lnTo>
                    <a:pt x="461" y="687"/>
                  </a:lnTo>
                  <a:lnTo>
                    <a:pt x="461" y="689"/>
                  </a:lnTo>
                  <a:lnTo>
                    <a:pt x="461" y="689"/>
                  </a:lnTo>
                  <a:lnTo>
                    <a:pt x="459" y="691"/>
                  </a:lnTo>
                  <a:lnTo>
                    <a:pt x="459" y="691"/>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240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NV</a:t>
              </a:r>
            </a:p>
          </p:txBody>
        </p:sp>
        <p:sp>
          <p:nvSpPr>
            <p:cNvPr id="82" name="Freeform 22">
              <a:extLst>
                <a:ext uri="{FF2B5EF4-FFF2-40B4-BE49-F238E27FC236}">
                  <a16:creationId xmlns:a16="http://schemas.microsoft.com/office/drawing/2014/main" id="{187AD01E-316C-C0BF-0CEE-15B30F670272}"/>
                </a:ext>
              </a:extLst>
            </p:cNvPr>
            <p:cNvSpPr>
              <a:spLocks/>
            </p:cNvSpPr>
            <p:nvPr/>
          </p:nvSpPr>
          <p:spPr bwMode="auto">
            <a:xfrm>
              <a:off x="1895" y="1412"/>
              <a:ext cx="573" cy="615"/>
            </a:xfrm>
            <a:custGeom>
              <a:avLst/>
              <a:gdLst>
                <a:gd name="T0" fmla="*/ 229 w 573"/>
                <a:gd name="T1" fmla="*/ 578 h 615"/>
                <a:gd name="T2" fmla="*/ 215 w 573"/>
                <a:gd name="T3" fmla="*/ 576 h 615"/>
                <a:gd name="T4" fmla="*/ 201 w 573"/>
                <a:gd name="T5" fmla="*/ 576 h 615"/>
                <a:gd name="T6" fmla="*/ 186 w 573"/>
                <a:gd name="T7" fmla="*/ 574 h 615"/>
                <a:gd name="T8" fmla="*/ 172 w 573"/>
                <a:gd name="T9" fmla="*/ 574 h 615"/>
                <a:gd name="T10" fmla="*/ 158 w 573"/>
                <a:gd name="T11" fmla="*/ 572 h 615"/>
                <a:gd name="T12" fmla="*/ 145 w 573"/>
                <a:gd name="T13" fmla="*/ 572 h 615"/>
                <a:gd name="T14" fmla="*/ 131 w 573"/>
                <a:gd name="T15" fmla="*/ 570 h 615"/>
                <a:gd name="T16" fmla="*/ 117 w 573"/>
                <a:gd name="T17" fmla="*/ 570 h 615"/>
                <a:gd name="T18" fmla="*/ 102 w 573"/>
                <a:gd name="T19" fmla="*/ 568 h 615"/>
                <a:gd name="T20" fmla="*/ 88 w 573"/>
                <a:gd name="T21" fmla="*/ 568 h 615"/>
                <a:gd name="T22" fmla="*/ 80 w 573"/>
                <a:gd name="T23" fmla="*/ 568 h 615"/>
                <a:gd name="T24" fmla="*/ 80 w 573"/>
                <a:gd name="T25" fmla="*/ 572 h 615"/>
                <a:gd name="T26" fmla="*/ 80 w 573"/>
                <a:gd name="T27" fmla="*/ 578 h 615"/>
                <a:gd name="T28" fmla="*/ 80 w 573"/>
                <a:gd name="T29" fmla="*/ 582 h 615"/>
                <a:gd name="T30" fmla="*/ 80 w 573"/>
                <a:gd name="T31" fmla="*/ 586 h 615"/>
                <a:gd name="T32" fmla="*/ 78 w 573"/>
                <a:gd name="T33" fmla="*/ 590 h 615"/>
                <a:gd name="T34" fmla="*/ 78 w 573"/>
                <a:gd name="T35" fmla="*/ 596 h 615"/>
                <a:gd name="T36" fmla="*/ 78 w 573"/>
                <a:gd name="T37" fmla="*/ 600 h 615"/>
                <a:gd name="T38" fmla="*/ 78 w 573"/>
                <a:gd name="T39" fmla="*/ 605 h 615"/>
                <a:gd name="T40" fmla="*/ 78 w 573"/>
                <a:gd name="T41" fmla="*/ 609 h 615"/>
                <a:gd name="T42" fmla="*/ 78 w 573"/>
                <a:gd name="T43" fmla="*/ 613 h 615"/>
                <a:gd name="T44" fmla="*/ 65 w 573"/>
                <a:gd name="T45" fmla="*/ 615 h 615"/>
                <a:gd name="T46" fmla="*/ 41 w 573"/>
                <a:gd name="T47" fmla="*/ 613 h 615"/>
                <a:gd name="T48" fmla="*/ 18 w 573"/>
                <a:gd name="T49" fmla="*/ 611 h 615"/>
                <a:gd name="T50" fmla="*/ 0 w 573"/>
                <a:gd name="T51" fmla="*/ 609 h 615"/>
                <a:gd name="T52" fmla="*/ 0 w 573"/>
                <a:gd name="T53" fmla="*/ 609 h 615"/>
                <a:gd name="T54" fmla="*/ 0 w 573"/>
                <a:gd name="T55" fmla="*/ 609 h 615"/>
                <a:gd name="T56" fmla="*/ 0 w 573"/>
                <a:gd name="T57" fmla="*/ 609 h 615"/>
                <a:gd name="T58" fmla="*/ 0 w 573"/>
                <a:gd name="T59" fmla="*/ 609 h 615"/>
                <a:gd name="T60" fmla="*/ 0 w 573"/>
                <a:gd name="T61" fmla="*/ 609 h 615"/>
                <a:gd name="T62" fmla="*/ 8 w 573"/>
                <a:gd name="T63" fmla="*/ 512 h 615"/>
                <a:gd name="T64" fmla="*/ 18 w 573"/>
                <a:gd name="T65" fmla="*/ 400 h 615"/>
                <a:gd name="T66" fmla="*/ 26 w 573"/>
                <a:gd name="T67" fmla="*/ 285 h 615"/>
                <a:gd name="T68" fmla="*/ 37 w 573"/>
                <a:gd name="T69" fmla="*/ 170 h 615"/>
                <a:gd name="T70" fmla="*/ 45 w 573"/>
                <a:gd name="T71" fmla="*/ 57 h 615"/>
                <a:gd name="T72" fmla="*/ 100 w 573"/>
                <a:gd name="T73" fmla="*/ 4 h 615"/>
                <a:gd name="T74" fmla="*/ 196 w 573"/>
                <a:gd name="T75" fmla="*/ 10 h 615"/>
                <a:gd name="T76" fmla="*/ 295 w 573"/>
                <a:gd name="T77" fmla="*/ 16 h 615"/>
                <a:gd name="T78" fmla="*/ 393 w 573"/>
                <a:gd name="T79" fmla="*/ 21 h 615"/>
                <a:gd name="T80" fmla="*/ 491 w 573"/>
                <a:gd name="T81" fmla="*/ 25 h 615"/>
                <a:gd name="T82" fmla="*/ 573 w 573"/>
                <a:gd name="T83" fmla="*/ 41 h 615"/>
                <a:gd name="T84" fmla="*/ 569 w 573"/>
                <a:gd name="T85" fmla="*/ 86 h 615"/>
                <a:gd name="T86" fmla="*/ 565 w 573"/>
                <a:gd name="T87" fmla="*/ 176 h 615"/>
                <a:gd name="T88" fmla="*/ 563 w 573"/>
                <a:gd name="T89" fmla="*/ 266 h 615"/>
                <a:gd name="T90" fmla="*/ 559 w 573"/>
                <a:gd name="T91" fmla="*/ 357 h 615"/>
                <a:gd name="T92" fmla="*/ 557 w 573"/>
                <a:gd name="T93" fmla="*/ 447 h 615"/>
                <a:gd name="T94" fmla="*/ 555 w 573"/>
                <a:gd name="T95" fmla="*/ 537 h 615"/>
                <a:gd name="T96" fmla="*/ 471 w 573"/>
                <a:gd name="T97" fmla="*/ 564 h 615"/>
                <a:gd name="T98" fmla="*/ 350 w 573"/>
                <a:gd name="T99" fmla="*/ 560 h 615"/>
                <a:gd name="T100" fmla="*/ 227 w 573"/>
                <a:gd name="T101" fmla="*/ 553 h 615"/>
                <a:gd name="T102" fmla="*/ 227 w 573"/>
                <a:gd name="T103" fmla="*/ 564 h 615"/>
                <a:gd name="T104" fmla="*/ 231 w 573"/>
                <a:gd name="T105" fmla="*/ 57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3" h="615">
                  <a:moveTo>
                    <a:pt x="233" y="574"/>
                  </a:moveTo>
                  <a:lnTo>
                    <a:pt x="237" y="580"/>
                  </a:lnTo>
                  <a:lnTo>
                    <a:pt x="237" y="578"/>
                  </a:lnTo>
                  <a:lnTo>
                    <a:pt x="235" y="578"/>
                  </a:lnTo>
                  <a:lnTo>
                    <a:pt x="231" y="578"/>
                  </a:lnTo>
                  <a:lnTo>
                    <a:pt x="229" y="578"/>
                  </a:lnTo>
                  <a:lnTo>
                    <a:pt x="227" y="578"/>
                  </a:lnTo>
                  <a:lnTo>
                    <a:pt x="225" y="576"/>
                  </a:lnTo>
                  <a:lnTo>
                    <a:pt x="223" y="576"/>
                  </a:lnTo>
                  <a:lnTo>
                    <a:pt x="221" y="576"/>
                  </a:lnTo>
                  <a:lnTo>
                    <a:pt x="217" y="576"/>
                  </a:lnTo>
                  <a:lnTo>
                    <a:pt x="215" y="576"/>
                  </a:lnTo>
                  <a:lnTo>
                    <a:pt x="213" y="576"/>
                  </a:lnTo>
                  <a:lnTo>
                    <a:pt x="211" y="576"/>
                  </a:lnTo>
                  <a:lnTo>
                    <a:pt x="209" y="576"/>
                  </a:lnTo>
                  <a:lnTo>
                    <a:pt x="207" y="576"/>
                  </a:lnTo>
                  <a:lnTo>
                    <a:pt x="203" y="576"/>
                  </a:lnTo>
                  <a:lnTo>
                    <a:pt x="201" y="576"/>
                  </a:lnTo>
                  <a:lnTo>
                    <a:pt x="199" y="576"/>
                  </a:lnTo>
                  <a:lnTo>
                    <a:pt x="196" y="576"/>
                  </a:lnTo>
                  <a:lnTo>
                    <a:pt x="194" y="574"/>
                  </a:lnTo>
                  <a:lnTo>
                    <a:pt x="192" y="574"/>
                  </a:lnTo>
                  <a:lnTo>
                    <a:pt x="190" y="574"/>
                  </a:lnTo>
                  <a:lnTo>
                    <a:pt x="186" y="574"/>
                  </a:lnTo>
                  <a:lnTo>
                    <a:pt x="184" y="574"/>
                  </a:lnTo>
                  <a:lnTo>
                    <a:pt x="182" y="574"/>
                  </a:lnTo>
                  <a:lnTo>
                    <a:pt x="180" y="574"/>
                  </a:lnTo>
                  <a:lnTo>
                    <a:pt x="178" y="574"/>
                  </a:lnTo>
                  <a:lnTo>
                    <a:pt x="176" y="574"/>
                  </a:lnTo>
                  <a:lnTo>
                    <a:pt x="172" y="574"/>
                  </a:lnTo>
                  <a:lnTo>
                    <a:pt x="170" y="574"/>
                  </a:lnTo>
                  <a:lnTo>
                    <a:pt x="168" y="574"/>
                  </a:lnTo>
                  <a:lnTo>
                    <a:pt x="166" y="574"/>
                  </a:lnTo>
                  <a:lnTo>
                    <a:pt x="164" y="572"/>
                  </a:lnTo>
                  <a:lnTo>
                    <a:pt x="162" y="572"/>
                  </a:lnTo>
                  <a:lnTo>
                    <a:pt x="158" y="572"/>
                  </a:lnTo>
                  <a:lnTo>
                    <a:pt x="156" y="572"/>
                  </a:lnTo>
                  <a:lnTo>
                    <a:pt x="153" y="572"/>
                  </a:lnTo>
                  <a:lnTo>
                    <a:pt x="151" y="572"/>
                  </a:lnTo>
                  <a:lnTo>
                    <a:pt x="149" y="572"/>
                  </a:lnTo>
                  <a:lnTo>
                    <a:pt x="147" y="572"/>
                  </a:lnTo>
                  <a:lnTo>
                    <a:pt x="145" y="572"/>
                  </a:lnTo>
                  <a:lnTo>
                    <a:pt x="141" y="572"/>
                  </a:lnTo>
                  <a:lnTo>
                    <a:pt x="139" y="572"/>
                  </a:lnTo>
                  <a:lnTo>
                    <a:pt x="137" y="572"/>
                  </a:lnTo>
                  <a:lnTo>
                    <a:pt x="135" y="572"/>
                  </a:lnTo>
                  <a:lnTo>
                    <a:pt x="133" y="570"/>
                  </a:lnTo>
                  <a:lnTo>
                    <a:pt x="131" y="570"/>
                  </a:lnTo>
                  <a:lnTo>
                    <a:pt x="127" y="570"/>
                  </a:lnTo>
                  <a:lnTo>
                    <a:pt x="125" y="570"/>
                  </a:lnTo>
                  <a:lnTo>
                    <a:pt x="123" y="570"/>
                  </a:lnTo>
                  <a:lnTo>
                    <a:pt x="121" y="570"/>
                  </a:lnTo>
                  <a:lnTo>
                    <a:pt x="119" y="570"/>
                  </a:lnTo>
                  <a:lnTo>
                    <a:pt x="117" y="570"/>
                  </a:lnTo>
                  <a:lnTo>
                    <a:pt x="113" y="570"/>
                  </a:lnTo>
                  <a:lnTo>
                    <a:pt x="110" y="570"/>
                  </a:lnTo>
                  <a:lnTo>
                    <a:pt x="108" y="570"/>
                  </a:lnTo>
                  <a:lnTo>
                    <a:pt x="106" y="568"/>
                  </a:lnTo>
                  <a:lnTo>
                    <a:pt x="104" y="568"/>
                  </a:lnTo>
                  <a:lnTo>
                    <a:pt x="102" y="568"/>
                  </a:lnTo>
                  <a:lnTo>
                    <a:pt x="100" y="568"/>
                  </a:lnTo>
                  <a:lnTo>
                    <a:pt x="96" y="568"/>
                  </a:lnTo>
                  <a:lnTo>
                    <a:pt x="94" y="568"/>
                  </a:lnTo>
                  <a:lnTo>
                    <a:pt x="92" y="568"/>
                  </a:lnTo>
                  <a:lnTo>
                    <a:pt x="90" y="568"/>
                  </a:lnTo>
                  <a:lnTo>
                    <a:pt x="88" y="568"/>
                  </a:lnTo>
                  <a:lnTo>
                    <a:pt x="86" y="568"/>
                  </a:lnTo>
                  <a:lnTo>
                    <a:pt x="82" y="568"/>
                  </a:lnTo>
                  <a:lnTo>
                    <a:pt x="80" y="568"/>
                  </a:lnTo>
                  <a:lnTo>
                    <a:pt x="80" y="568"/>
                  </a:lnTo>
                  <a:lnTo>
                    <a:pt x="80" y="568"/>
                  </a:lnTo>
                  <a:lnTo>
                    <a:pt x="80" y="568"/>
                  </a:lnTo>
                  <a:lnTo>
                    <a:pt x="80" y="570"/>
                  </a:lnTo>
                  <a:lnTo>
                    <a:pt x="80" y="570"/>
                  </a:lnTo>
                  <a:lnTo>
                    <a:pt x="80" y="570"/>
                  </a:lnTo>
                  <a:lnTo>
                    <a:pt x="80" y="572"/>
                  </a:lnTo>
                  <a:lnTo>
                    <a:pt x="80" y="572"/>
                  </a:lnTo>
                  <a:lnTo>
                    <a:pt x="80" y="572"/>
                  </a:lnTo>
                  <a:lnTo>
                    <a:pt x="80" y="574"/>
                  </a:lnTo>
                  <a:lnTo>
                    <a:pt x="80" y="574"/>
                  </a:lnTo>
                  <a:lnTo>
                    <a:pt x="80" y="576"/>
                  </a:lnTo>
                  <a:lnTo>
                    <a:pt x="80" y="576"/>
                  </a:lnTo>
                  <a:lnTo>
                    <a:pt x="80" y="576"/>
                  </a:lnTo>
                  <a:lnTo>
                    <a:pt x="80" y="578"/>
                  </a:lnTo>
                  <a:lnTo>
                    <a:pt x="80" y="578"/>
                  </a:lnTo>
                  <a:lnTo>
                    <a:pt x="80" y="578"/>
                  </a:lnTo>
                  <a:lnTo>
                    <a:pt x="80" y="580"/>
                  </a:lnTo>
                  <a:lnTo>
                    <a:pt x="80" y="580"/>
                  </a:lnTo>
                  <a:lnTo>
                    <a:pt x="80" y="582"/>
                  </a:lnTo>
                  <a:lnTo>
                    <a:pt x="80" y="582"/>
                  </a:lnTo>
                  <a:lnTo>
                    <a:pt x="80" y="582"/>
                  </a:lnTo>
                  <a:lnTo>
                    <a:pt x="80" y="584"/>
                  </a:lnTo>
                  <a:lnTo>
                    <a:pt x="80" y="584"/>
                  </a:lnTo>
                  <a:lnTo>
                    <a:pt x="80" y="584"/>
                  </a:lnTo>
                  <a:lnTo>
                    <a:pt x="80" y="586"/>
                  </a:lnTo>
                  <a:lnTo>
                    <a:pt x="80" y="586"/>
                  </a:lnTo>
                  <a:lnTo>
                    <a:pt x="80" y="586"/>
                  </a:lnTo>
                  <a:lnTo>
                    <a:pt x="80" y="588"/>
                  </a:lnTo>
                  <a:lnTo>
                    <a:pt x="78" y="588"/>
                  </a:lnTo>
                  <a:lnTo>
                    <a:pt x="78" y="590"/>
                  </a:lnTo>
                  <a:lnTo>
                    <a:pt x="78" y="590"/>
                  </a:lnTo>
                  <a:lnTo>
                    <a:pt x="78" y="590"/>
                  </a:lnTo>
                  <a:lnTo>
                    <a:pt x="78" y="592"/>
                  </a:lnTo>
                  <a:lnTo>
                    <a:pt x="78" y="592"/>
                  </a:lnTo>
                  <a:lnTo>
                    <a:pt x="78" y="592"/>
                  </a:lnTo>
                  <a:lnTo>
                    <a:pt x="78" y="594"/>
                  </a:lnTo>
                  <a:lnTo>
                    <a:pt x="78" y="594"/>
                  </a:lnTo>
                  <a:lnTo>
                    <a:pt x="78" y="596"/>
                  </a:lnTo>
                  <a:lnTo>
                    <a:pt x="78" y="596"/>
                  </a:lnTo>
                  <a:lnTo>
                    <a:pt x="78" y="596"/>
                  </a:lnTo>
                  <a:lnTo>
                    <a:pt x="78" y="598"/>
                  </a:lnTo>
                  <a:lnTo>
                    <a:pt x="78" y="598"/>
                  </a:lnTo>
                  <a:lnTo>
                    <a:pt x="78" y="598"/>
                  </a:lnTo>
                  <a:lnTo>
                    <a:pt x="78" y="600"/>
                  </a:lnTo>
                  <a:lnTo>
                    <a:pt x="78" y="600"/>
                  </a:lnTo>
                  <a:lnTo>
                    <a:pt x="78" y="603"/>
                  </a:lnTo>
                  <a:lnTo>
                    <a:pt x="78" y="603"/>
                  </a:lnTo>
                  <a:lnTo>
                    <a:pt x="78" y="603"/>
                  </a:lnTo>
                  <a:lnTo>
                    <a:pt x="78" y="605"/>
                  </a:lnTo>
                  <a:lnTo>
                    <a:pt x="78" y="605"/>
                  </a:lnTo>
                  <a:lnTo>
                    <a:pt x="78" y="605"/>
                  </a:lnTo>
                  <a:lnTo>
                    <a:pt x="78" y="607"/>
                  </a:lnTo>
                  <a:lnTo>
                    <a:pt x="78" y="607"/>
                  </a:lnTo>
                  <a:lnTo>
                    <a:pt x="78" y="607"/>
                  </a:lnTo>
                  <a:lnTo>
                    <a:pt x="78" y="609"/>
                  </a:lnTo>
                  <a:lnTo>
                    <a:pt x="78" y="609"/>
                  </a:lnTo>
                  <a:lnTo>
                    <a:pt x="78" y="611"/>
                  </a:lnTo>
                  <a:lnTo>
                    <a:pt x="78" y="611"/>
                  </a:lnTo>
                  <a:lnTo>
                    <a:pt x="78" y="611"/>
                  </a:lnTo>
                  <a:lnTo>
                    <a:pt x="78" y="613"/>
                  </a:lnTo>
                  <a:lnTo>
                    <a:pt x="78" y="613"/>
                  </a:lnTo>
                  <a:lnTo>
                    <a:pt x="78" y="613"/>
                  </a:lnTo>
                  <a:lnTo>
                    <a:pt x="78" y="615"/>
                  </a:lnTo>
                  <a:lnTo>
                    <a:pt x="78" y="615"/>
                  </a:lnTo>
                  <a:lnTo>
                    <a:pt x="78" y="615"/>
                  </a:lnTo>
                  <a:lnTo>
                    <a:pt x="74" y="615"/>
                  </a:lnTo>
                  <a:lnTo>
                    <a:pt x="70" y="615"/>
                  </a:lnTo>
                  <a:lnTo>
                    <a:pt x="65" y="615"/>
                  </a:lnTo>
                  <a:lnTo>
                    <a:pt x="61" y="615"/>
                  </a:lnTo>
                  <a:lnTo>
                    <a:pt x="57" y="613"/>
                  </a:lnTo>
                  <a:lnTo>
                    <a:pt x="53" y="613"/>
                  </a:lnTo>
                  <a:lnTo>
                    <a:pt x="49" y="613"/>
                  </a:lnTo>
                  <a:lnTo>
                    <a:pt x="45" y="613"/>
                  </a:lnTo>
                  <a:lnTo>
                    <a:pt x="41" y="613"/>
                  </a:lnTo>
                  <a:lnTo>
                    <a:pt x="37" y="613"/>
                  </a:lnTo>
                  <a:lnTo>
                    <a:pt x="33" y="613"/>
                  </a:lnTo>
                  <a:lnTo>
                    <a:pt x="31" y="611"/>
                  </a:lnTo>
                  <a:lnTo>
                    <a:pt x="26" y="611"/>
                  </a:lnTo>
                  <a:lnTo>
                    <a:pt x="22" y="611"/>
                  </a:lnTo>
                  <a:lnTo>
                    <a:pt x="18" y="611"/>
                  </a:lnTo>
                  <a:lnTo>
                    <a:pt x="14" y="611"/>
                  </a:lnTo>
                  <a:lnTo>
                    <a:pt x="10" y="611"/>
                  </a:lnTo>
                  <a:lnTo>
                    <a:pt x="6" y="609"/>
                  </a:lnTo>
                  <a:lnTo>
                    <a:pt x="2"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0" y="609"/>
                  </a:lnTo>
                  <a:lnTo>
                    <a:pt x="2" y="590"/>
                  </a:lnTo>
                  <a:lnTo>
                    <a:pt x="4" y="570"/>
                  </a:lnTo>
                  <a:lnTo>
                    <a:pt x="6" y="551"/>
                  </a:lnTo>
                  <a:lnTo>
                    <a:pt x="6" y="533"/>
                  </a:lnTo>
                  <a:lnTo>
                    <a:pt x="8" y="512"/>
                  </a:lnTo>
                  <a:lnTo>
                    <a:pt x="10" y="494"/>
                  </a:lnTo>
                  <a:lnTo>
                    <a:pt x="12" y="475"/>
                  </a:lnTo>
                  <a:lnTo>
                    <a:pt x="12" y="457"/>
                  </a:lnTo>
                  <a:lnTo>
                    <a:pt x="14" y="437"/>
                  </a:lnTo>
                  <a:lnTo>
                    <a:pt x="16" y="418"/>
                  </a:lnTo>
                  <a:lnTo>
                    <a:pt x="18" y="400"/>
                  </a:lnTo>
                  <a:lnTo>
                    <a:pt x="18" y="379"/>
                  </a:lnTo>
                  <a:lnTo>
                    <a:pt x="20" y="361"/>
                  </a:lnTo>
                  <a:lnTo>
                    <a:pt x="22" y="342"/>
                  </a:lnTo>
                  <a:lnTo>
                    <a:pt x="24" y="324"/>
                  </a:lnTo>
                  <a:lnTo>
                    <a:pt x="24" y="303"/>
                  </a:lnTo>
                  <a:lnTo>
                    <a:pt x="26" y="285"/>
                  </a:lnTo>
                  <a:lnTo>
                    <a:pt x="29" y="266"/>
                  </a:lnTo>
                  <a:lnTo>
                    <a:pt x="31" y="246"/>
                  </a:lnTo>
                  <a:lnTo>
                    <a:pt x="31" y="228"/>
                  </a:lnTo>
                  <a:lnTo>
                    <a:pt x="33" y="209"/>
                  </a:lnTo>
                  <a:lnTo>
                    <a:pt x="35" y="191"/>
                  </a:lnTo>
                  <a:lnTo>
                    <a:pt x="37" y="170"/>
                  </a:lnTo>
                  <a:lnTo>
                    <a:pt x="39" y="152"/>
                  </a:lnTo>
                  <a:lnTo>
                    <a:pt x="39" y="133"/>
                  </a:lnTo>
                  <a:lnTo>
                    <a:pt x="41" y="113"/>
                  </a:lnTo>
                  <a:lnTo>
                    <a:pt x="43" y="94"/>
                  </a:lnTo>
                  <a:lnTo>
                    <a:pt x="45" y="76"/>
                  </a:lnTo>
                  <a:lnTo>
                    <a:pt x="45" y="57"/>
                  </a:lnTo>
                  <a:lnTo>
                    <a:pt x="47" y="37"/>
                  </a:lnTo>
                  <a:lnTo>
                    <a:pt x="49" y="18"/>
                  </a:lnTo>
                  <a:lnTo>
                    <a:pt x="51" y="0"/>
                  </a:lnTo>
                  <a:lnTo>
                    <a:pt x="67" y="0"/>
                  </a:lnTo>
                  <a:lnTo>
                    <a:pt x="84" y="2"/>
                  </a:lnTo>
                  <a:lnTo>
                    <a:pt x="100" y="4"/>
                  </a:lnTo>
                  <a:lnTo>
                    <a:pt x="117" y="4"/>
                  </a:lnTo>
                  <a:lnTo>
                    <a:pt x="131" y="6"/>
                  </a:lnTo>
                  <a:lnTo>
                    <a:pt x="147" y="6"/>
                  </a:lnTo>
                  <a:lnTo>
                    <a:pt x="164" y="8"/>
                  </a:lnTo>
                  <a:lnTo>
                    <a:pt x="180" y="10"/>
                  </a:lnTo>
                  <a:lnTo>
                    <a:pt x="196" y="10"/>
                  </a:lnTo>
                  <a:lnTo>
                    <a:pt x="213" y="12"/>
                  </a:lnTo>
                  <a:lnTo>
                    <a:pt x="229" y="12"/>
                  </a:lnTo>
                  <a:lnTo>
                    <a:pt x="246" y="14"/>
                  </a:lnTo>
                  <a:lnTo>
                    <a:pt x="262" y="14"/>
                  </a:lnTo>
                  <a:lnTo>
                    <a:pt x="278" y="16"/>
                  </a:lnTo>
                  <a:lnTo>
                    <a:pt x="295" y="16"/>
                  </a:lnTo>
                  <a:lnTo>
                    <a:pt x="311" y="16"/>
                  </a:lnTo>
                  <a:lnTo>
                    <a:pt x="328" y="18"/>
                  </a:lnTo>
                  <a:lnTo>
                    <a:pt x="344" y="18"/>
                  </a:lnTo>
                  <a:lnTo>
                    <a:pt x="360" y="21"/>
                  </a:lnTo>
                  <a:lnTo>
                    <a:pt x="377" y="21"/>
                  </a:lnTo>
                  <a:lnTo>
                    <a:pt x="393" y="21"/>
                  </a:lnTo>
                  <a:lnTo>
                    <a:pt x="409" y="23"/>
                  </a:lnTo>
                  <a:lnTo>
                    <a:pt x="426" y="23"/>
                  </a:lnTo>
                  <a:lnTo>
                    <a:pt x="442" y="23"/>
                  </a:lnTo>
                  <a:lnTo>
                    <a:pt x="459" y="25"/>
                  </a:lnTo>
                  <a:lnTo>
                    <a:pt x="475" y="25"/>
                  </a:lnTo>
                  <a:lnTo>
                    <a:pt x="491" y="25"/>
                  </a:lnTo>
                  <a:lnTo>
                    <a:pt x="508" y="27"/>
                  </a:lnTo>
                  <a:lnTo>
                    <a:pt x="524" y="27"/>
                  </a:lnTo>
                  <a:lnTo>
                    <a:pt x="541" y="27"/>
                  </a:lnTo>
                  <a:lnTo>
                    <a:pt x="557" y="27"/>
                  </a:lnTo>
                  <a:lnTo>
                    <a:pt x="573" y="29"/>
                  </a:lnTo>
                  <a:lnTo>
                    <a:pt x="573" y="41"/>
                  </a:lnTo>
                  <a:lnTo>
                    <a:pt x="573" y="55"/>
                  </a:lnTo>
                  <a:lnTo>
                    <a:pt x="573" y="68"/>
                  </a:lnTo>
                  <a:lnTo>
                    <a:pt x="571" y="82"/>
                  </a:lnTo>
                  <a:lnTo>
                    <a:pt x="569" y="82"/>
                  </a:lnTo>
                  <a:lnTo>
                    <a:pt x="569" y="84"/>
                  </a:lnTo>
                  <a:lnTo>
                    <a:pt x="569" y="86"/>
                  </a:lnTo>
                  <a:lnTo>
                    <a:pt x="567" y="103"/>
                  </a:lnTo>
                  <a:lnTo>
                    <a:pt x="567" y="117"/>
                  </a:lnTo>
                  <a:lnTo>
                    <a:pt x="567" y="131"/>
                  </a:lnTo>
                  <a:lnTo>
                    <a:pt x="567" y="148"/>
                  </a:lnTo>
                  <a:lnTo>
                    <a:pt x="565" y="162"/>
                  </a:lnTo>
                  <a:lnTo>
                    <a:pt x="565" y="176"/>
                  </a:lnTo>
                  <a:lnTo>
                    <a:pt x="565" y="193"/>
                  </a:lnTo>
                  <a:lnTo>
                    <a:pt x="565" y="207"/>
                  </a:lnTo>
                  <a:lnTo>
                    <a:pt x="565" y="221"/>
                  </a:lnTo>
                  <a:lnTo>
                    <a:pt x="563" y="238"/>
                  </a:lnTo>
                  <a:lnTo>
                    <a:pt x="563" y="252"/>
                  </a:lnTo>
                  <a:lnTo>
                    <a:pt x="563" y="266"/>
                  </a:lnTo>
                  <a:lnTo>
                    <a:pt x="563" y="281"/>
                  </a:lnTo>
                  <a:lnTo>
                    <a:pt x="561" y="297"/>
                  </a:lnTo>
                  <a:lnTo>
                    <a:pt x="561" y="312"/>
                  </a:lnTo>
                  <a:lnTo>
                    <a:pt x="561" y="326"/>
                  </a:lnTo>
                  <a:lnTo>
                    <a:pt x="561" y="342"/>
                  </a:lnTo>
                  <a:lnTo>
                    <a:pt x="559" y="357"/>
                  </a:lnTo>
                  <a:lnTo>
                    <a:pt x="559" y="371"/>
                  </a:lnTo>
                  <a:lnTo>
                    <a:pt x="559" y="387"/>
                  </a:lnTo>
                  <a:lnTo>
                    <a:pt x="559" y="402"/>
                  </a:lnTo>
                  <a:lnTo>
                    <a:pt x="557" y="416"/>
                  </a:lnTo>
                  <a:lnTo>
                    <a:pt x="557" y="432"/>
                  </a:lnTo>
                  <a:lnTo>
                    <a:pt x="557" y="447"/>
                  </a:lnTo>
                  <a:lnTo>
                    <a:pt x="557" y="461"/>
                  </a:lnTo>
                  <a:lnTo>
                    <a:pt x="557" y="478"/>
                  </a:lnTo>
                  <a:lnTo>
                    <a:pt x="555" y="492"/>
                  </a:lnTo>
                  <a:lnTo>
                    <a:pt x="555" y="506"/>
                  </a:lnTo>
                  <a:lnTo>
                    <a:pt x="555" y="523"/>
                  </a:lnTo>
                  <a:lnTo>
                    <a:pt x="555" y="537"/>
                  </a:lnTo>
                  <a:lnTo>
                    <a:pt x="553" y="551"/>
                  </a:lnTo>
                  <a:lnTo>
                    <a:pt x="553" y="568"/>
                  </a:lnTo>
                  <a:lnTo>
                    <a:pt x="532" y="566"/>
                  </a:lnTo>
                  <a:lnTo>
                    <a:pt x="512" y="566"/>
                  </a:lnTo>
                  <a:lnTo>
                    <a:pt x="491" y="566"/>
                  </a:lnTo>
                  <a:lnTo>
                    <a:pt x="471" y="564"/>
                  </a:lnTo>
                  <a:lnTo>
                    <a:pt x="452" y="564"/>
                  </a:lnTo>
                  <a:lnTo>
                    <a:pt x="432" y="564"/>
                  </a:lnTo>
                  <a:lnTo>
                    <a:pt x="412" y="562"/>
                  </a:lnTo>
                  <a:lnTo>
                    <a:pt x="391" y="562"/>
                  </a:lnTo>
                  <a:lnTo>
                    <a:pt x="371" y="560"/>
                  </a:lnTo>
                  <a:lnTo>
                    <a:pt x="350" y="560"/>
                  </a:lnTo>
                  <a:lnTo>
                    <a:pt x="330" y="557"/>
                  </a:lnTo>
                  <a:lnTo>
                    <a:pt x="309" y="557"/>
                  </a:lnTo>
                  <a:lnTo>
                    <a:pt x="289" y="555"/>
                  </a:lnTo>
                  <a:lnTo>
                    <a:pt x="268" y="555"/>
                  </a:lnTo>
                  <a:lnTo>
                    <a:pt x="248" y="553"/>
                  </a:lnTo>
                  <a:lnTo>
                    <a:pt x="227" y="553"/>
                  </a:lnTo>
                  <a:lnTo>
                    <a:pt x="225" y="553"/>
                  </a:lnTo>
                  <a:lnTo>
                    <a:pt x="223" y="553"/>
                  </a:lnTo>
                  <a:lnTo>
                    <a:pt x="223" y="553"/>
                  </a:lnTo>
                  <a:lnTo>
                    <a:pt x="225" y="557"/>
                  </a:lnTo>
                  <a:lnTo>
                    <a:pt x="225" y="560"/>
                  </a:lnTo>
                  <a:lnTo>
                    <a:pt x="227" y="564"/>
                  </a:lnTo>
                  <a:lnTo>
                    <a:pt x="227" y="566"/>
                  </a:lnTo>
                  <a:lnTo>
                    <a:pt x="229" y="568"/>
                  </a:lnTo>
                  <a:lnTo>
                    <a:pt x="227" y="570"/>
                  </a:lnTo>
                  <a:lnTo>
                    <a:pt x="229" y="570"/>
                  </a:lnTo>
                  <a:lnTo>
                    <a:pt x="229" y="572"/>
                  </a:lnTo>
                  <a:lnTo>
                    <a:pt x="231" y="572"/>
                  </a:lnTo>
                  <a:lnTo>
                    <a:pt x="231" y="572"/>
                  </a:lnTo>
                  <a:lnTo>
                    <a:pt x="231" y="572"/>
                  </a:lnTo>
                  <a:lnTo>
                    <a:pt x="233" y="574"/>
                  </a:lnTo>
                  <a:lnTo>
                    <a:pt x="233" y="574"/>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NM</a:t>
              </a:r>
            </a:p>
          </p:txBody>
        </p:sp>
        <p:sp>
          <p:nvSpPr>
            <p:cNvPr id="83" name="Freeform 23">
              <a:extLst>
                <a:ext uri="{FF2B5EF4-FFF2-40B4-BE49-F238E27FC236}">
                  <a16:creationId xmlns:a16="http://schemas.microsoft.com/office/drawing/2014/main" id="{C9897907-3682-A6F9-336E-F261A9A9C7DC}"/>
                </a:ext>
              </a:extLst>
            </p:cNvPr>
            <p:cNvSpPr>
              <a:spLocks noEditPoints="1"/>
            </p:cNvSpPr>
            <p:nvPr/>
          </p:nvSpPr>
          <p:spPr bwMode="auto">
            <a:xfrm>
              <a:off x="4368" y="340"/>
              <a:ext cx="662" cy="480"/>
            </a:xfrm>
            <a:custGeom>
              <a:avLst/>
              <a:gdLst>
                <a:gd name="T0" fmla="*/ 485 w 662"/>
                <a:gd name="T1" fmla="*/ 480 h 480"/>
                <a:gd name="T2" fmla="*/ 549 w 662"/>
                <a:gd name="T3" fmla="*/ 449 h 480"/>
                <a:gd name="T4" fmla="*/ 573 w 662"/>
                <a:gd name="T5" fmla="*/ 441 h 480"/>
                <a:gd name="T6" fmla="*/ 596 w 662"/>
                <a:gd name="T7" fmla="*/ 422 h 480"/>
                <a:gd name="T8" fmla="*/ 639 w 662"/>
                <a:gd name="T9" fmla="*/ 379 h 480"/>
                <a:gd name="T10" fmla="*/ 627 w 662"/>
                <a:gd name="T11" fmla="*/ 388 h 480"/>
                <a:gd name="T12" fmla="*/ 604 w 662"/>
                <a:gd name="T13" fmla="*/ 406 h 480"/>
                <a:gd name="T14" fmla="*/ 618 w 662"/>
                <a:gd name="T15" fmla="*/ 394 h 480"/>
                <a:gd name="T16" fmla="*/ 629 w 662"/>
                <a:gd name="T17" fmla="*/ 375 h 480"/>
                <a:gd name="T18" fmla="*/ 594 w 662"/>
                <a:gd name="T19" fmla="*/ 402 h 480"/>
                <a:gd name="T20" fmla="*/ 553 w 662"/>
                <a:gd name="T21" fmla="*/ 416 h 480"/>
                <a:gd name="T22" fmla="*/ 539 w 662"/>
                <a:gd name="T23" fmla="*/ 418 h 480"/>
                <a:gd name="T24" fmla="*/ 522 w 662"/>
                <a:gd name="T25" fmla="*/ 433 h 480"/>
                <a:gd name="T26" fmla="*/ 514 w 662"/>
                <a:gd name="T27" fmla="*/ 439 h 480"/>
                <a:gd name="T28" fmla="*/ 502 w 662"/>
                <a:gd name="T29" fmla="*/ 468 h 480"/>
                <a:gd name="T30" fmla="*/ 516 w 662"/>
                <a:gd name="T31" fmla="*/ 455 h 480"/>
                <a:gd name="T32" fmla="*/ 526 w 662"/>
                <a:gd name="T33" fmla="*/ 455 h 480"/>
                <a:gd name="T34" fmla="*/ 567 w 662"/>
                <a:gd name="T35" fmla="*/ 433 h 480"/>
                <a:gd name="T36" fmla="*/ 594 w 662"/>
                <a:gd name="T37" fmla="*/ 422 h 480"/>
                <a:gd name="T38" fmla="*/ 614 w 662"/>
                <a:gd name="T39" fmla="*/ 412 h 480"/>
                <a:gd name="T40" fmla="*/ 641 w 662"/>
                <a:gd name="T41" fmla="*/ 392 h 480"/>
                <a:gd name="T42" fmla="*/ 643 w 662"/>
                <a:gd name="T43" fmla="*/ 355 h 480"/>
                <a:gd name="T44" fmla="*/ 250 w 662"/>
                <a:gd name="T45" fmla="*/ 119 h 480"/>
                <a:gd name="T46" fmla="*/ 260 w 662"/>
                <a:gd name="T47" fmla="*/ 113 h 480"/>
                <a:gd name="T48" fmla="*/ 254 w 662"/>
                <a:gd name="T49" fmla="*/ 115 h 480"/>
                <a:gd name="T50" fmla="*/ 242 w 662"/>
                <a:gd name="T51" fmla="*/ 158 h 480"/>
                <a:gd name="T52" fmla="*/ 487 w 662"/>
                <a:gd name="T53" fmla="*/ 392 h 480"/>
                <a:gd name="T54" fmla="*/ 502 w 662"/>
                <a:gd name="T55" fmla="*/ 437 h 480"/>
                <a:gd name="T56" fmla="*/ 512 w 662"/>
                <a:gd name="T57" fmla="*/ 433 h 480"/>
                <a:gd name="T58" fmla="*/ 518 w 662"/>
                <a:gd name="T59" fmla="*/ 414 h 480"/>
                <a:gd name="T60" fmla="*/ 520 w 662"/>
                <a:gd name="T61" fmla="*/ 381 h 480"/>
                <a:gd name="T62" fmla="*/ 504 w 662"/>
                <a:gd name="T63" fmla="*/ 302 h 480"/>
                <a:gd name="T64" fmla="*/ 504 w 662"/>
                <a:gd name="T65" fmla="*/ 215 h 480"/>
                <a:gd name="T66" fmla="*/ 487 w 662"/>
                <a:gd name="T67" fmla="*/ 146 h 480"/>
                <a:gd name="T68" fmla="*/ 477 w 662"/>
                <a:gd name="T69" fmla="*/ 146 h 480"/>
                <a:gd name="T70" fmla="*/ 473 w 662"/>
                <a:gd name="T71" fmla="*/ 123 h 480"/>
                <a:gd name="T72" fmla="*/ 461 w 662"/>
                <a:gd name="T73" fmla="*/ 101 h 480"/>
                <a:gd name="T74" fmla="*/ 455 w 662"/>
                <a:gd name="T75" fmla="*/ 58 h 480"/>
                <a:gd name="T76" fmla="*/ 449 w 662"/>
                <a:gd name="T77" fmla="*/ 45 h 480"/>
                <a:gd name="T78" fmla="*/ 449 w 662"/>
                <a:gd name="T79" fmla="*/ 31 h 480"/>
                <a:gd name="T80" fmla="*/ 444 w 662"/>
                <a:gd name="T81" fmla="*/ 17 h 480"/>
                <a:gd name="T82" fmla="*/ 410 w 662"/>
                <a:gd name="T83" fmla="*/ 8 h 480"/>
                <a:gd name="T84" fmla="*/ 317 w 662"/>
                <a:gd name="T85" fmla="*/ 35 h 480"/>
                <a:gd name="T86" fmla="*/ 266 w 662"/>
                <a:gd name="T87" fmla="*/ 107 h 480"/>
                <a:gd name="T88" fmla="*/ 238 w 662"/>
                <a:gd name="T89" fmla="*/ 150 h 480"/>
                <a:gd name="T90" fmla="*/ 250 w 662"/>
                <a:gd name="T91" fmla="*/ 148 h 480"/>
                <a:gd name="T92" fmla="*/ 258 w 662"/>
                <a:gd name="T93" fmla="*/ 154 h 480"/>
                <a:gd name="T94" fmla="*/ 244 w 662"/>
                <a:gd name="T95" fmla="*/ 170 h 480"/>
                <a:gd name="T96" fmla="*/ 256 w 662"/>
                <a:gd name="T97" fmla="*/ 187 h 480"/>
                <a:gd name="T98" fmla="*/ 221 w 662"/>
                <a:gd name="T99" fmla="*/ 230 h 480"/>
                <a:gd name="T100" fmla="*/ 203 w 662"/>
                <a:gd name="T101" fmla="*/ 244 h 480"/>
                <a:gd name="T102" fmla="*/ 88 w 662"/>
                <a:gd name="T103" fmla="*/ 252 h 480"/>
                <a:gd name="T104" fmla="*/ 55 w 662"/>
                <a:gd name="T105" fmla="*/ 295 h 480"/>
                <a:gd name="T106" fmla="*/ 53 w 662"/>
                <a:gd name="T107" fmla="*/ 330 h 480"/>
                <a:gd name="T108" fmla="*/ 27 w 662"/>
                <a:gd name="T109" fmla="*/ 363 h 480"/>
                <a:gd name="T110" fmla="*/ 4 w 662"/>
                <a:gd name="T111" fmla="*/ 406 h 480"/>
                <a:gd name="T112" fmla="*/ 139 w 662"/>
                <a:gd name="T113" fmla="*/ 392 h 480"/>
                <a:gd name="T114" fmla="*/ 326 w 662"/>
                <a:gd name="T115" fmla="*/ 353 h 480"/>
                <a:gd name="T116" fmla="*/ 383 w 662"/>
                <a:gd name="T117" fmla="*/ 357 h 480"/>
                <a:gd name="T118" fmla="*/ 393 w 662"/>
                <a:gd name="T119" fmla="*/ 381 h 480"/>
                <a:gd name="T120" fmla="*/ 424 w 662"/>
                <a:gd name="T121" fmla="*/ 396 h 480"/>
                <a:gd name="T122" fmla="*/ 53 w 662"/>
                <a:gd name="T123" fmla="*/ 297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2" h="480">
                  <a:moveTo>
                    <a:pt x="494" y="461"/>
                  </a:moveTo>
                  <a:lnTo>
                    <a:pt x="494" y="461"/>
                  </a:lnTo>
                  <a:lnTo>
                    <a:pt x="492" y="463"/>
                  </a:lnTo>
                  <a:lnTo>
                    <a:pt x="492" y="463"/>
                  </a:lnTo>
                  <a:lnTo>
                    <a:pt x="489" y="463"/>
                  </a:lnTo>
                  <a:lnTo>
                    <a:pt x="487" y="463"/>
                  </a:lnTo>
                  <a:lnTo>
                    <a:pt x="487" y="463"/>
                  </a:lnTo>
                  <a:lnTo>
                    <a:pt x="485" y="465"/>
                  </a:lnTo>
                  <a:lnTo>
                    <a:pt x="487" y="468"/>
                  </a:lnTo>
                  <a:lnTo>
                    <a:pt x="487" y="472"/>
                  </a:lnTo>
                  <a:lnTo>
                    <a:pt x="487" y="472"/>
                  </a:lnTo>
                  <a:lnTo>
                    <a:pt x="485" y="474"/>
                  </a:lnTo>
                  <a:lnTo>
                    <a:pt x="485" y="474"/>
                  </a:lnTo>
                  <a:lnTo>
                    <a:pt x="485" y="474"/>
                  </a:lnTo>
                  <a:lnTo>
                    <a:pt x="485" y="476"/>
                  </a:lnTo>
                  <a:lnTo>
                    <a:pt x="485" y="476"/>
                  </a:lnTo>
                  <a:lnTo>
                    <a:pt x="485" y="480"/>
                  </a:lnTo>
                  <a:lnTo>
                    <a:pt x="494" y="472"/>
                  </a:lnTo>
                  <a:lnTo>
                    <a:pt x="498" y="468"/>
                  </a:lnTo>
                  <a:lnTo>
                    <a:pt x="496" y="461"/>
                  </a:lnTo>
                  <a:lnTo>
                    <a:pt x="494" y="461"/>
                  </a:lnTo>
                  <a:close/>
                  <a:moveTo>
                    <a:pt x="561" y="445"/>
                  </a:moveTo>
                  <a:lnTo>
                    <a:pt x="561" y="445"/>
                  </a:lnTo>
                  <a:lnTo>
                    <a:pt x="561" y="443"/>
                  </a:lnTo>
                  <a:lnTo>
                    <a:pt x="561" y="443"/>
                  </a:lnTo>
                  <a:lnTo>
                    <a:pt x="561" y="443"/>
                  </a:lnTo>
                  <a:lnTo>
                    <a:pt x="559" y="445"/>
                  </a:lnTo>
                  <a:lnTo>
                    <a:pt x="555" y="445"/>
                  </a:lnTo>
                  <a:lnTo>
                    <a:pt x="553" y="445"/>
                  </a:lnTo>
                  <a:lnTo>
                    <a:pt x="553" y="447"/>
                  </a:lnTo>
                  <a:lnTo>
                    <a:pt x="553" y="447"/>
                  </a:lnTo>
                  <a:lnTo>
                    <a:pt x="551" y="449"/>
                  </a:lnTo>
                  <a:lnTo>
                    <a:pt x="551" y="449"/>
                  </a:lnTo>
                  <a:lnTo>
                    <a:pt x="549" y="449"/>
                  </a:lnTo>
                  <a:lnTo>
                    <a:pt x="539" y="455"/>
                  </a:lnTo>
                  <a:lnTo>
                    <a:pt x="541" y="455"/>
                  </a:lnTo>
                  <a:lnTo>
                    <a:pt x="551" y="451"/>
                  </a:lnTo>
                  <a:lnTo>
                    <a:pt x="555" y="447"/>
                  </a:lnTo>
                  <a:lnTo>
                    <a:pt x="561" y="445"/>
                  </a:lnTo>
                  <a:lnTo>
                    <a:pt x="561" y="445"/>
                  </a:lnTo>
                  <a:close/>
                  <a:moveTo>
                    <a:pt x="596" y="422"/>
                  </a:moveTo>
                  <a:lnTo>
                    <a:pt x="592" y="427"/>
                  </a:lnTo>
                  <a:lnTo>
                    <a:pt x="588" y="429"/>
                  </a:lnTo>
                  <a:lnTo>
                    <a:pt x="588" y="429"/>
                  </a:lnTo>
                  <a:lnTo>
                    <a:pt x="586" y="431"/>
                  </a:lnTo>
                  <a:lnTo>
                    <a:pt x="584" y="431"/>
                  </a:lnTo>
                  <a:lnTo>
                    <a:pt x="582" y="433"/>
                  </a:lnTo>
                  <a:lnTo>
                    <a:pt x="582" y="433"/>
                  </a:lnTo>
                  <a:lnTo>
                    <a:pt x="580" y="435"/>
                  </a:lnTo>
                  <a:lnTo>
                    <a:pt x="578" y="437"/>
                  </a:lnTo>
                  <a:lnTo>
                    <a:pt x="573" y="441"/>
                  </a:lnTo>
                  <a:lnTo>
                    <a:pt x="565" y="443"/>
                  </a:lnTo>
                  <a:lnTo>
                    <a:pt x="563" y="445"/>
                  </a:lnTo>
                  <a:lnTo>
                    <a:pt x="561" y="447"/>
                  </a:lnTo>
                  <a:lnTo>
                    <a:pt x="559" y="447"/>
                  </a:lnTo>
                  <a:lnTo>
                    <a:pt x="559" y="447"/>
                  </a:lnTo>
                  <a:lnTo>
                    <a:pt x="563" y="447"/>
                  </a:lnTo>
                  <a:lnTo>
                    <a:pt x="569" y="443"/>
                  </a:lnTo>
                  <a:lnTo>
                    <a:pt x="578" y="437"/>
                  </a:lnTo>
                  <a:lnTo>
                    <a:pt x="580" y="437"/>
                  </a:lnTo>
                  <a:lnTo>
                    <a:pt x="582" y="435"/>
                  </a:lnTo>
                  <a:lnTo>
                    <a:pt x="586" y="431"/>
                  </a:lnTo>
                  <a:lnTo>
                    <a:pt x="592" y="427"/>
                  </a:lnTo>
                  <a:lnTo>
                    <a:pt x="594" y="427"/>
                  </a:lnTo>
                  <a:lnTo>
                    <a:pt x="594" y="424"/>
                  </a:lnTo>
                  <a:lnTo>
                    <a:pt x="598" y="422"/>
                  </a:lnTo>
                  <a:lnTo>
                    <a:pt x="598" y="422"/>
                  </a:lnTo>
                  <a:lnTo>
                    <a:pt x="596" y="422"/>
                  </a:lnTo>
                  <a:close/>
                  <a:moveTo>
                    <a:pt x="662" y="373"/>
                  </a:moveTo>
                  <a:lnTo>
                    <a:pt x="659" y="373"/>
                  </a:lnTo>
                  <a:lnTo>
                    <a:pt x="657" y="373"/>
                  </a:lnTo>
                  <a:lnTo>
                    <a:pt x="657" y="375"/>
                  </a:lnTo>
                  <a:lnTo>
                    <a:pt x="657" y="375"/>
                  </a:lnTo>
                  <a:lnTo>
                    <a:pt x="655" y="375"/>
                  </a:lnTo>
                  <a:lnTo>
                    <a:pt x="655" y="375"/>
                  </a:lnTo>
                  <a:lnTo>
                    <a:pt x="653" y="375"/>
                  </a:lnTo>
                  <a:lnTo>
                    <a:pt x="653" y="377"/>
                  </a:lnTo>
                  <a:lnTo>
                    <a:pt x="651" y="377"/>
                  </a:lnTo>
                  <a:lnTo>
                    <a:pt x="651" y="379"/>
                  </a:lnTo>
                  <a:lnTo>
                    <a:pt x="649" y="381"/>
                  </a:lnTo>
                  <a:lnTo>
                    <a:pt x="645" y="383"/>
                  </a:lnTo>
                  <a:lnTo>
                    <a:pt x="645" y="386"/>
                  </a:lnTo>
                  <a:lnTo>
                    <a:pt x="643" y="383"/>
                  </a:lnTo>
                  <a:lnTo>
                    <a:pt x="643" y="383"/>
                  </a:lnTo>
                  <a:lnTo>
                    <a:pt x="639" y="379"/>
                  </a:lnTo>
                  <a:lnTo>
                    <a:pt x="637" y="379"/>
                  </a:lnTo>
                  <a:lnTo>
                    <a:pt x="637" y="381"/>
                  </a:lnTo>
                  <a:lnTo>
                    <a:pt x="637" y="383"/>
                  </a:lnTo>
                  <a:lnTo>
                    <a:pt x="637" y="386"/>
                  </a:lnTo>
                  <a:lnTo>
                    <a:pt x="633" y="383"/>
                  </a:lnTo>
                  <a:lnTo>
                    <a:pt x="633" y="383"/>
                  </a:lnTo>
                  <a:lnTo>
                    <a:pt x="633" y="383"/>
                  </a:lnTo>
                  <a:lnTo>
                    <a:pt x="633" y="386"/>
                  </a:lnTo>
                  <a:lnTo>
                    <a:pt x="633" y="386"/>
                  </a:lnTo>
                  <a:lnTo>
                    <a:pt x="631" y="386"/>
                  </a:lnTo>
                  <a:lnTo>
                    <a:pt x="629" y="388"/>
                  </a:lnTo>
                  <a:lnTo>
                    <a:pt x="629" y="388"/>
                  </a:lnTo>
                  <a:lnTo>
                    <a:pt x="627" y="388"/>
                  </a:lnTo>
                  <a:lnTo>
                    <a:pt x="627" y="386"/>
                  </a:lnTo>
                  <a:lnTo>
                    <a:pt x="627" y="386"/>
                  </a:lnTo>
                  <a:lnTo>
                    <a:pt x="625" y="386"/>
                  </a:lnTo>
                  <a:lnTo>
                    <a:pt x="627" y="388"/>
                  </a:lnTo>
                  <a:lnTo>
                    <a:pt x="625" y="390"/>
                  </a:lnTo>
                  <a:lnTo>
                    <a:pt x="623" y="392"/>
                  </a:lnTo>
                  <a:lnTo>
                    <a:pt x="621" y="396"/>
                  </a:lnTo>
                  <a:lnTo>
                    <a:pt x="618" y="398"/>
                  </a:lnTo>
                  <a:lnTo>
                    <a:pt x="618" y="400"/>
                  </a:lnTo>
                  <a:lnTo>
                    <a:pt x="621" y="400"/>
                  </a:lnTo>
                  <a:lnTo>
                    <a:pt x="618" y="402"/>
                  </a:lnTo>
                  <a:lnTo>
                    <a:pt x="616" y="402"/>
                  </a:lnTo>
                  <a:lnTo>
                    <a:pt x="614" y="404"/>
                  </a:lnTo>
                  <a:lnTo>
                    <a:pt x="614" y="404"/>
                  </a:lnTo>
                  <a:lnTo>
                    <a:pt x="612" y="404"/>
                  </a:lnTo>
                  <a:lnTo>
                    <a:pt x="610" y="404"/>
                  </a:lnTo>
                  <a:lnTo>
                    <a:pt x="608" y="406"/>
                  </a:lnTo>
                  <a:lnTo>
                    <a:pt x="608" y="404"/>
                  </a:lnTo>
                  <a:lnTo>
                    <a:pt x="606" y="404"/>
                  </a:lnTo>
                  <a:lnTo>
                    <a:pt x="606" y="404"/>
                  </a:lnTo>
                  <a:lnTo>
                    <a:pt x="604" y="406"/>
                  </a:lnTo>
                  <a:lnTo>
                    <a:pt x="606" y="404"/>
                  </a:lnTo>
                  <a:lnTo>
                    <a:pt x="606" y="402"/>
                  </a:lnTo>
                  <a:lnTo>
                    <a:pt x="608" y="400"/>
                  </a:lnTo>
                  <a:lnTo>
                    <a:pt x="610" y="400"/>
                  </a:lnTo>
                  <a:lnTo>
                    <a:pt x="610" y="398"/>
                  </a:lnTo>
                  <a:lnTo>
                    <a:pt x="610" y="396"/>
                  </a:lnTo>
                  <a:lnTo>
                    <a:pt x="610" y="396"/>
                  </a:lnTo>
                  <a:lnTo>
                    <a:pt x="612" y="396"/>
                  </a:lnTo>
                  <a:lnTo>
                    <a:pt x="612" y="394"/>
                  </a:lnTo>
                  <a:lnTo>
                    <a:pt x="612" y="394"/>
                  </a:lnTo>
                  <a:lnTo>
                    <a:pt x="612" y="394"/>
                  </a:lnTo>
                  <a:lnTo>
                    <a:pt x="614" y="394"/>
                  </a:lnTo>
                  <a:lnTo>
                    <a:pt x="614" y="392"/>
                  </a:lnTo>
                  <a:lnTo>
                    <a:pt x="616" y="392"/>
                  </a:lnTo>
                  <a:lnTo>
                    <a:pt x="616" y="392"/>
                  </a:lnTo>
                  <a:lnTo>
                    <a:pt x="616" y="394"/>
                  </a:lnTo>
                  <a:lnTo>
                    <a:pt x="618" y="394"/>
                  </a:lnTo>
                  <a:lnTo>
                    <a:pt x="618" y="392"/>
                  </a:lnTo>
                  <a:lnTo>
                    <a:pt x="618" y="392"/>
                  </a:lnTo>
                  <a:lnTo>
                    <a:pt x="616" y="390"/>
                  </a:lnTo>
                  <a:lnTo>
                    <a:pt x="616" y="390"/>
                  </a:lnTo>
                  <a:lnTo>
                    <a:pt x="618" y="388"/>
                  </a:lnTo>
                  <a:lnTo>
                    <a:pt x="618" y="388"/>
                  </a:lnTo>
                  <a:lnTo>
                    <a:pt x="621" y="388"/>
                  </a:lnTo>
                  <a:lnTo>
                    <a:pt x="621" y="386"/>
                  </a:lnTo>
                  <a:lnTo>
                    <a:pt x="621" y="386"/>
                  </a:lnTo>
                  <a:lnTo>
                    <a:pt x="618" y="386"/>
                  </a:lnTo>
                  <a:lnTo>
                    <a:pt x="618" y="386"/>
                  </a:lnTo>
                  <a:lnTo>
                    <a:pt x="618" y="386"/>
                  </a:lnTo>
                  <a:lnTo>
                    <a:pt x="623" y="377"/>
                  </a:lnTo>
                  <a:lnTo>
                    <a:pt x="625" y="375"/>
                  </a:lnTo>
                  <a:lnTo>
                    <a:pt x="627" y="377"/>
                  </a:lnTo>
                  <a:lnTo>
                    <a:pt x="627" y="377"/>
                  </a:lnTo>
                  <a:lnTo>
                    <a:pt x="629" y="375"/>
                  </a:lnTo>
                  <a:lnTo>
                    <a:pt x="629" y="373"/>
                  </a:lnTo>
                  <a:lnTo>
                    <a:pt x="629" y="373"/>
                  </a:lnTo>
                  <a:lnTo>
                    <a:pt x="629" y="371"/>
                  </a:lnTo>
                  <a:lnTo>
                    <a:pt x="629" y="371"/>
                  </a:lnTo>
                  <a:lnTo>
                    <a:pt x="627" y="371"/>
                  </a:lnTo>
                  <a:lnTo>
                    <a:pt x="625" y="371"/>
                  </a:lnTo>
                  <a:lnTo>
                    <a:pt x="623" y="375"/>
                  </a:lnTo>
                  <a:lnTo>
                    <a:pt x="621" y="377"/>
                  </a:lnTo>
                  <a:lnTo>
                    <a:pt x="618" y="379"/>
                  </a:lnTo>
                  <a:lnTo>
                    <a:pt x="618" y="381"/>
                  </a:lnTo>
                  <a:lnTo>
                    <a:pt x="614" y="383"/>
                  </a:lnTo>
                  <a:lnTo>
                    <a:pt x="614" y="383"/>
                  </a:lnTo>
                  <a:lnTo>
                    <a:pt x="612" y="388"/>
                  </a:lnTo>
                  <a:lnTo>
                    <a:pt x="608" y="390"/>
                  </a:lnTo>
                  <a:lnTo>
                    <a:pt x="604" y="396"/>
                  </a:lnTo>
                  <a:lnTo>
                    <a:pt x="602" y="398"/>
                  </a:lnTo>
                  <a:lnTo>
                    <a:pt x="594" y="402"/>
                  </a:lnTo>
                  <a:lnTo>
                    <a:pt x="580" y="404"/>
                  </a:lnTo>
                  <a:lnTo>
                    <a:pt x="567" y="408"/>
                  </a:lnTo>
                  <a:lnTo>
                    <a:pt x="567" y="408"/>
                  </a:lnTo>
                  <a:lnTo>
                    <a:pt x="567" y="410"/>
                  </a:lnTo>
                  <a:lnTo>
                    <a:pt x="567" y="410"/>
                  </a:lnTo>
                  <a:lnTo>
                    <a:pt x="565" y="410"/>
                  </a:lnTo>
                  <a:lnTo>
                    <a:pt x="565" y="408"/>
                  </a:lnTo>
                  <a:lnTo>
                    <a:pt x="563" y="408"/>
                  </a:lnTo>
                  <a:lnTo>
                    <a:pt x="563" y="408"/>
                  </a:lnTo>
                  <a:lnTo>
                    <a:pt x="561" y="410"/>
                  </a:lnTo>
                  <a:lnTo>
                    <a:pt x="561" y="412"/>
                  </a:lnTo>
                  <a:lnTo>
                    <a:pt x="561" y="414"/>
                  </a:lnTo>
                  <a:lnTo>
                    <a:pt x="561" y="414"/>
                  </a:lnTo>
                  <a:lnTo>
                    <a:pt x="557" y="416"/>
                  </a:lnTo>
                  <a:lnTo>
                    <a:pt x="555" y="418"/>
                  </a:lnTo>
                  <a:lnTo>
                    <a:pt x="555" y="416"/>
                  </a:lnTo>
                  <a:lnTo>
                    <a:pt x="553" y="416"/>
                  </a:lnTo>
                  <a:lnTo>
                    <a:pt x="553" y="416"/>
                  </a:lnTo>
                  <a:lnTo>
                    <a:pt x="551" y="416"/>
                  </a:lnTo>
                  <a:lnTo>
                    <a:pt x="543" y="416"/>
                  </a:lnTo>
                  <a:lnTo>
                    <a:pt x="541" y="416"/>
                  </a:lnTo>
                  <a:lnTo>
                    <a:pt x="541" y="418"/>
                  </a:lnTo>
                  <a:lnTo>
                    <a:pt x="543" y="418"/>
                  </a:lnTo>
                  <a:lnTo>
                    <a:pt x="545" y="418"/>
                  </a:lnTo>
                  <a:lnTo>
                    <a:pt x="545" y="418"/>
                  </a:lnTo>
                  <a:lnTo>
                    <a:pt x="547" y="418"/>
                  </a:lnTo>
                  <a:lnTo>
                    <a:pt x="547" y="420"/>
                  </a:lnTo>
                  <a:lnTo>
                    <a:pt x="545" y="420"/>
                  </a:lnTo>
                  <a:lnTo>
                    <a:pt x="545" y="420"/>
                  </a:lnTo>
                  <a:lnTo>
                    <a:pt x="543" y="420"/>
                  </a:lnTo>
                  <a:lnTo>
                    <a:pt x="541" y="422"/>
                  </a:lnTo>
                  <a:lnTo>
                    <a:pt x="541" y="420"/>
                  </a:lnTo>
                  <a:lnTo>
                    <a:pt x="539" y="420"/>
                  </a:lnTo>
                  <a:lnTo>
                    <a:pt x="539" y="418"/>
                  </a:lnTo>
                  <a:lnTo>
                    <a:pt x="539" y="418"/>
                  </a:lnTo>
                  <a:lnTo>
                    <a:pt x="537" y="418"/>
                  </a:lnTo>
                  <a:lnTo>
                    <a:pt x="535" y="420"/>
                  </a:lnTo>
                  <a:lnTo>
                    <a:pt x="537" y="420"/>
                  </a:lnTo>
                  <a:lnTo>
                    <a:pt x="537" y="422"/>
                  </a:lnTo>
                  <a:lnTo>
                    <a:pt x="539" y="422"/>
                  </a:lnTo>
                  <a:lnTo>
                    <a:pt x="537" y="424"/>
                  </a:lnTo>
                  <a:lnTo>
                    <a:pt x="535" y="424"/>
                  </a:lnTo>
                  <a:lnTo>
                    <a:pt x="535" y="424"/>
                  </a:lnTo>
                  <a:lnTo>
                    <a:pt x="535" y="422"/>
                  </a:lnTo>
                  <a:lnTo>
                    <a:pt x="535" y="422"/>
                  </a:lnTo>
                  <a:lnTo>
                    <a:pt x="530" y="422"/>
                  </a:lnTo>
                  <a:lnTo>
                    <a:pt x="524" y="424"/>
                  </a:lnTo>
                  <a:lnTo>
                    <a:pt x="522" y="429"/>
                  </a:lnTo>
                  <a:lnTo>
                    <a:pt x="526" y="435"/>
                  </a:lnTo>
                  <a:lnTo>
                    <a:pt x="524" y="435"/>
                  </a:lnTo>
                  <a:lnTo>
                    <a:pt x="522" y="433"/>
                  </a:lnTo>
                  <a:lnTo>
                    <a:pt x="520" y="431"/>
                  </a:lnTo>
                  <a:lnTo>
                    <a:pt x="518" y="431"/>
                  </a:lnTo>
                  <a:lnTo>
                    <a:pt x="518" y="431"/>
                  </a:lnTo>
                  <a:lnTo>
                    <a:pt x="518" y="433"/>
                  </a:lnTo>
                  <a:lnTo>
                    <a:pt x="518" y="435"/>
                  </a:lnTo>
                  <a:lnTo>
                    <a:pt x="520" y="435"/>
                  </a:lnTo>
                  <a:lnTo>
                    <a:pt x="520" y="435"/>
                  </a:lnTo>
                  <a:lnTo>
                    <a:pt x="520" y="437"/>
                  </a:lnTo>
                  <a:lnTo>
                    <a:pt x="520" y="437"/>
                  </a:lnTo>
                  <a:lnTo>
                    <a:pt x="520" y="437"/>
                  </a:lnTo>
                  <a:lnTo>
                    <a:pt x="518" y="437"/>
                  </a:lnTo>
                  <a:lnTo>
                    <a:pt x="518" y="435"/>
                  </a:lnTo>
                  <a:lnTo>
                    <a:pt x="516" y="435"/>
                  </a:lnTo>
                  <a:lnTo>
                    <a:pt x="516" y="437"/>
                  </a:lnTo>
                  <a:lnTo>
                    <a:pt x="516" y="439"/>
                  </a:lnTo>
                  <a:lnTo>
                    <a:pt x="516" y="441"/>
                  </a:lnTo>
                  <a:lnTo>
                    <a:pt x="514" y="439"/>
                  </a:lnTo>
                  <a:lnTo>
                    <a:pt x="512" y="439"/>
                  </a:lnTo>
                  <a:lnTo>
                    <a:pt x="510" y="441"/>
                  </a:lnTo>
                  <a:lnTo>
                    <a:pt x="510" y="443"/>
                  </a:lnTo>
                  <a:lnTo>
                    <a:pt x="506" y="443"/>
                  </a:lnTo>
                  <a:lnTo>
                    <a:pt x="504" y="445"/>
                  </a:lnTo>
                  <a:lnTo>
                    <a:pt x="502" y="453"/>
                  </a:lnTo>
                  <a:lnTo>
                    <a:pt x="502" y="453"/>
                  </a:lnTo>
                  <a:lnTo>
                    <a:pt x="500" y="453"/>
                  </a:lnTo>
                  <a:lnTo>
                    <a:pt x="500" y="455"/>
                  </a:lnTo>
                  <a:lnTo>
                    <a:pt x="500" y="455"/>
                  </a:lnTo>
                  <a:lnTo>
                    <a:pt x="500" y="455"/>
                  </a:lnTo>
                  <a:lnTo>
                    <a:pt x="500" y="455"/>
                  </a:lnTo>
                  <a:lnTo>
                    <a:pt x="498" y="459"/>
                  </a:lnTo>
                  <a:lnTo>
                    <a:pt x="498" y="459"/>
                  </a:lnTo>
                  <a:lnTo>
                    <a:pt x="500" y="463"/>
                  </a:lnTo>
                  <a:lnTo>
                    <a:pt x="502" y="465"/>
                  </a:lnTo>
                  <a:lnTo>
                    <a:pt x="502" y="468"/>
                  </a:lnTo>
                  <a:lnTo>
                    <a:pt x="504" y="465"/>
                  </a:lnTo>
                  <a:lnTo>
                    <a:pt x="508" y="465"/>
                  </a:lnTo>
                  <a:lnTo>
                    <a:pt x="508" y="463"/>
                  </a:lnTo>
                  <a:lnTo>
                    <a:pt x="508" y="463"/>
                  </a:lnTo>
                  <a:lnTo>
                    <a:pt x="510" y="463"/>
                  </a:lnTo>
                  <a:lnTo>
                    <a:pt x="510" y="463"/>
                  </a:lnTo>
                  <a:lnTo>
                    <a:pt x="510" y="463"/>
                  </a:lnTo>
                  <a:lnTo>
                    <a:pt x="512" y="463"/>
                  </a:lnTo>
                  <a:lnTo>
                    <a:pt x="512" y="461"/>
                  </a:lnTo>
                  <a:lnTo>
                    <a:pt x="510" y="459"/>
                  </a:lnTo>
                  <a:lnTo>
                    <a:pt x="510" y="459"/>
                  </a:lnTo>
                  <a:lnTo>
                    <a:pt x="510" y="459"/>
                  </a:lnTo>
                  <a:lnTo>
                    <a:pt x="510" y="459"/>
                  </a:lnTo>
                  <a:lnTo>
                    <a:pt x="512" y="457"/>
                  </a:lnTo>
                  <a:lnTo>
                    <a:pt x="512" y="455"/>
                  </a:lnTo>
                  <a:lnTo>
                    <a:pt x="514" y="455"/>
                  </a:lnTo>
                  <a:lnTo>
                    <a:pt x="516" y="455"/>
                  </a:lnTo>
                  <a:lnTo>
                    <a:pt x="518" y="455"/>
                  </a:lnTo>
                  <a:lnTo>
                    <a:pt x="520" y="455"/>
                  </a:lnTo>
                  <a:lnTo>
                    <a:pt x="520" y="457"/>
                  </a:lnTo>
                  <a:lnTo>
                    <a:pt x="520" y="457"/>
                  </a:lnTo>
                  <a:lnTo>
                    <a:pt x="520" y="457"/>
                  </a:lnTo>
                  <a:lnTo>
                    <a:pt x="520" y="457"/>
                  </a:lnTo>
                  <a:lnTo>
                    <a:pt x="520" y="459"/>
                  </a:lnTo>
                  <a:lnTo>
                    <a:pt x="510" y="465"/>
                  </a:lnTo>
                  <a:lnTo>
                    <a:pt x="508" y="468"/>
                  </a:lnTo>
                  <a:lnTo>
                    <a:pt x="512" y="468"/>
                  </a:lnTo>
                  <a:lnTo>
                    <a:pt x="522" y="459"/>
                  </a:lnTo>
                  <a:lnTo>
                    <a:pt x="537" y="457"/>
                  </a:lnTo>
                  <a:lnTo>
                    <a:pt x="537" y="455"/>
                  </a:lnTo>
                  <a:lnTo>
                    <a:pt x="535" y="455"/>
                  </a:lnTo>
                  <a:lnTo>
                    <a:pt x="528" y="459"/>
                  </a:lnTo>
                  <a:lnTo>
                    <a:pt x="526" y="457"/>
                  </a:lnTo>
                  <a:lnTo>
                    <a:pt x="526" y="455"/>
                  </a:lnTo>
                  <a:lnTo>
                    <a:pt x="528" y="455"/>
                  </a:lnTo>
                  <a:lnTo>
                    <a:pt x="532" y="453"/>
                  </a:lnTo>
                  <a:lnTo>
                    <a:pt x="541" y="449"/>
                  </a:lnTo>
                  <a:lnTo>
                    <a:pt x="549" y="447"/>
                  </a:lnTo>
                  <a:lnTo>
                    <a:pt x="551" y="445"/>
                  </a:lnTo>
                  <a:lnTo>
                    <a:pt x="553" y="443"/>
                  </a:lnTo>
                  <a:lnTo>
                    <a:pt x="559" y="441"/>
                  </a:lnTo>
                  <a:lnTo>
                    <a:pt x="559" y="439"/>
                  </a:lnTo>
                  <a:lnTo>
                    <a:pt x="559" y="439"/>
                  </a:lnTo>
                  <a:lnTo>
                    <a:pt x="561" y="437"/>
                  </a:lnTo>
                  <a:lnTo>
                    <a:pt x="561" y="437"/>
                  </a:lnTo>
                  <a:lnTo>
                    <a:pt x="565" y="437"/>
                  </a:lnTo>
                  <a:lnTo>
                    <a:pt x="567" y="437"/>
                  </a:lnTo>
                  <a:lnTo>
                    <a:pt x="569" y="437"/>
                  </a:lnTo>
                  <a:lnTo>
                    <a:pt x="569" y="435"/>
                  </a:lnTo>
                  <a:lnTo>
                    <a:pt x="567" y="435"/>
                  </a:lnTo>
                  <a:lnTo>
                    <a:pt x="567" y="433"/>
                  </a:lnTo>
                  <a:lnTo>
                    <a:pt x="569" y="433"/>
                  </a:lnTo>
                  <a:lnTo>
                    <a:pt x="569" y="433"/>
                  </a:lnTo>
                  <a:lnTo>
                    <a:pt x="571" y="433"/>
                  </a:lnTo>
                  <a:lnTo>
                    <a:pt x="571" y="433"/>
                  </a:lnTo>
                  <a:lnTo>
                    <a:pt x="573" y="433"/>
                  </a:lnTo>
                  <a:lnTo>
                    <a:pt x="575" y="431"/>
                  </a:lnTo>
                  <a:lnTo>
                    <a:pt x="578" y="431"/>
                  </a:lnTo>
                  <a:lnTo>
                    <a:pt x="578" y="429"/>
                  </a:lnTo>
                  <a:lnTo>
                    <a:pt x="584" y="429"/>
                  </a:lnTo>
                  <a:lnTo>
                    <a:pt x="586" y="427"/>
                  </a:lnTo>
                  <a:lnTo>
                    <a:pt x="586" y="424"/>
                  </a:lnTo>
                  <a:lnTo>
                    <a:pt x="588" y="424"/>
                  </a:lnTo>
                  <a:lnTo>
                    <a:pt x="590" y="424"/>
                  </a:lnTo>
                  <a:lnTo>
                    <a:pt x="590" y="424"/>
                  </a:lnTo>
                  <a:lnTo>
                    <a:pt x="592" y="424"/>
                  </a:lnTo>
                  <a:lnTo>
                    <a:pt x="594" y="422"/>
                  </a:lnTo>
                  <a:lnTo>
                    <a:pt x="594" y="422"/>
                  </a:lnTo>
                  <a:lnTo>
                    <a:pt x="592" y="420"/>
                  </a:lnTo>
                  <a:lnTo>
                    <a:pt x="594" y="420"/>
                  </a:lnTo>
                  <a:lnTo>
                    <a:pt x="604" y="416"/>
                  </a:lnTo>
                  <a:lnTo>
                    <a:pt x="606" y="416"/>
                  </a:lnTo>
                  <a:lnTo>
                    <a:pt x="604" y="416"/>
                  </a:lnTo>
                  <a:lnTo>
                    <a:pt x="604" y="418"/>
                  </a:lnTo>
                  <a:lnTo>
                    <a:pt x="600" y="420"/>
                  </a:lnTo>
                  <a:lnTo>
                    <a:pt x="600" y="420"/>
                  </a:lnTo>
                  <a:lnTo>
                    <a:pt x="600" y="420"/>
                  </a:lnTo>
                  <a:lnTo>
                    <a:pt x="600" y="420"/>
                  </a:lnTo>
                  <a:lnTo>
                    <a:pt x="600" y="422"/>
                  </a:lnTo>
                  <a:lnTo>
                    <a:pt x="600" y="420"/>
                  </a:lnTo>
                  <a:lnTo>
                    <a:pt x="600" y="420"/>
                  </a:lnTo>
                  <a:lnTo>
                    <a:pt x="600" y="420"/>
                  </a:lnTo>
                  <a:lnTo>
                    <a:pt x="602" y="420"/>
                  </a:lnTo>
                  <a:lnTo>
                    <a:pt x="610" y="414"/>
                  </a:lnTo>
                  <a:lnTo>
                    <a:pt x="614" y="412"/>
                  </a:lnTo>
                  <a:lnTo>
                    <a:pt x="616" y="410"/>
                  </a:lnTo>
                  <a:lnTo>
                    <a:pt x="618" y="408"/>
                  </a:lnTo>
                  <a:lnTo>
                    <a:pt x="616" y="408"/>
                  </a:lnTo>
                  <a:lnTo>
                    <a:pt x="616" y="406"/>
                  </a:lnTo>
                  <a:lnTo>
                    <a:pt x="616" y="406"/>
                  </a:lnTo>
                  <a:lnTo>
                    <a:pt x="616" y="404"/>
                  </a:lnTo>
                  <a:lnTo>
                    <a:pt x="616" y="404"/>
                  </a:lnTo>
                  <a:lnTo>
                    <a:pt x="618" y="404"/>
                  </a:lnTo>
                  <a:lnTo>
                    <a:pt x="621" y="404"/>
                  </a:lnTo>
                  <a:lnTo>
                    <a:pt x="621" y="406"/>
                  </a:lnTo>
                  <a:lnTo>
                    <a:pt x="621" y="408"/>
                  </a:lnTo>
                  <a:lnTo>
                    <a:pt x="621" y="406"/>
                  </a:lnTo>
                  <a:lnTo>
                    <a:pt x="625" y="404"/>
                  </a:lnTo>
                  <a:lnTo>
                    <a:pt x="627" y="404"/>
                  </a:lnTo>
                  <a:lnTo>
                    <a:pt x="631" y="400"/>
                  </a:lnTo>
                  <a:lnTo>
                    <a:pt x="637" y="394"/>
                  </a:lnTo>
                  <a:lnTo>
                    <a:pt x="641" y="392"/>
                  </a:lnTo>
                  <a:lnTo>
                    <a:pt x="647" y="386"/>
                  </a:lnTo>
                  <a:lnTo>
                    <a:pt x="651" y="383"/>
                  </a:lnTo>
                  <a:lnTo>
                    <a:pt x="659" y="375"/>
                  </a:lnTo>
                  <a:lnTo>
                    <a:pt x="662" y="375"/>
                  </a:lnTo>
                  <a:lnTo>
                    <a:pt x="662" y="373"/>
                  </a:lnTo>
                  <a:lnTo>
                    <a:pt x="662" y="373"/>
                  </a:lnTo>
                  <a:lnTo>
                    <a:pt x="662" y="373"/>
                  </a:lnTo>
                  <a:close/>
                  <a:moveTo>
                    <a:pt x="645" y="357"/>
                  </a:moveTo>
                  <a:lnTo>
                    <a:pt x="645" y="357"/>
                  </a:lnTo>
                  <a:lnTo>
                    <a:pt x="647" y="355"/>
                  </a:lnTo>
                  <a:lnTo>
                    <a:pt x="647" y="353"/>
                  </a:lnTo>
                  <a:lnTo>
                    <a:pt x="649" y="353"/>
                  </a:lnTo>
                  <a:lnTo>
                    <a:pt x="649" y="353"/>
                  </a:lnTo>
                  <a:lnTo>
                    <a:pt x="649" y="353"/>
                  </a:lnTo>
                  <a:lnTo>
                    <a:pt x="649" y="351"/>
                  </a:lnTo>
                  <a:lnTo>
                    <a:pt x="643" y="355"/>
                  </a:lnTo>
                  <a:lnTo>
                    <a:pt x="643" y="355"/>
                  </a:lnTo>
                  <a:lnTo>
                    <a:pt x="643" y="357"/>
                  </a:lnTo>
                  <a:lnTo>
                    <a:pt x="643" y="357"/>
                  </a:lnTo>
                  <a:lnTo>
                    <a:pt x="645" y="357"/>
                  </a:lnTo>
                  <a:close/>
                  <a:moveTo>
                    <a:pt x="465" y="78"/>
                  </a:moveTo>
                  <a:lnTo>
                    <a:pt x="465" y="78"/>
                  </a:lnTo>
                  <a:lnTo>
                    <a:pt x="465" y="78"/>
                  </a:lnTo>
                  <a:lnTo>
                    <a:pt x="465" y="78"/>
                  </a:lnTo>
                  <a:close/>
                  <a:moveTo>
                    <a:pt x="244" y="125"/>
                  </a:moveTo>
                  <a:lnTo>
                    <a:pt x="246" y="125"/>
                  </a:lnTo>
                  <a:lnTo>
                    <a:pt x="246" y="125"/>
                  </a:lnTo>
                  <a:lnTo>
                    <a:pt x="250" y="123"/>
                  </a:lnTo>
                  <a:lnTo>
                    <a:pt x="250" y="121"/>
                  </a:lnTo>
                  <a:lnTo>
                    <a:pt x="250" y="121"/>
                  </a:lnTo>
                  <a:lnTo>
                    <a:pt x="250" y="119"/>
                  </a:lnTo>
                  <a:lnTo>
                    <a:pt x="250" y="119"/>
                  </a:lnTo>
                  <a:lnTo>
                    <a:pt x="250" y="119"/>
                  </a:lnTo>
                  <a:lnTo>
                    <a:pt x="250" y="119"/>
                  </a:lnTo>
                  <a:lnTo>
                    <a:pt x="248" y="121"/>
                  </a:lnTo>
                  <a:lnTo>
                    <a:pt x="248" y="121"/>
                  </a:lnTo>
                  <a:lnTo>
                    <a:pt x="246" y="121"/>
                  </a:lnTo>
                  <a:lnTo>
                    <a:pt x="244" y="123"/>
                  </a:lnTo>
                  <a:lnTo>
                    <a:pt x="244" y="123"/>
                  </a:lnTo>
                  <a:lnTo>
                    <a:pt x="244" y="123"/>
                  </a:lnTo>
                  <a:lnTo>
                    <a:pt x="244" y="125"/>
                  </a:lnTo>
                  <a:lnTo>
                    <a:pt x="244" y="125"/>
                  </a:lnTo>
                  <a:close/>
                  <a:moveTo>
                    <a:pt x="252" y="117"/>
                  </a:moveTo>
                  <a:lnTo>
                    <a:pt x="252" y="119"/>
                  </a:lnTo>
                  <a:lnTo>
                    <a:pt x="252" y="119"/>
                  </a:lnTo>
                  <a:lnTo>
                    <a:pt x="254" y="121"/>
                  </a:lnTo>
                  <a:lnTo>
                    <a:pt x="254" y="119"/>
                  </a:lnTo>
                  <a:lnTo>
                    <a:pt x="256" y="117"/>
                  </a:lnTo>
                  <a:lnTo>
                    <a:pt x="258" y="117"/>
                  </a:lnTo>
                  <a:lnTo>
                    <a:pt x="258" y="115"/>
                  </a:lnTo>
                  <a:lnTo>
                    <a:pt x="260" y="113"/>
                  </a:lnTo>
                  <a:lnTo>
                    <a:pt x="260" y="111"/>
                  </a:lnTo>
                  <a:lnTo>
                    <a:pt x="260" y="111"/>
                  </a:lnTo>
                  <a:lnTo>
                    <a:pt x="260" y="111"/>
                  </a:lnTo>
                  <a:lnTo>
                    <a:pt x="260" y="109"/>
                  </a:lnTo>
                  <a:lnTo>
                    <a:pt x="260" y="111"/>
                  </a:lnTo>
                  <a:lnTo>
                    <a:pt x="258" y="111"/>
                  </a:lnTo>
                  <a:lnTo>
                    <a:pt x="258" y="113"/>
                  </a:lnTo>
                  <a:lnTo>
                    <a:pt x="258" y="111"/>
                  </a:lnTo>
                  <a:lnTo>
                    <a:pt x="256" y="113"/>
                  </a:lnTo>
                  <a:lnTo>
                    <a:pt x="256" y="115"/>
                  </a:lnTo>
                  <a:lnTo>
                    <a:pt x="254" y="115"/>
                  </a:lnTo>
                  <a:lnTo>
                    <a:pt x="254" y="115"/>
                  </a:lnTo>
                  <a:lnTo>
                    <a:pt x="254" y="115"/>
                  </a:lnTo>
                  <a:lnTo>
                    <a:pt x="254" y="115"/>
                  </a:lnTo>
                  <a:lnTo>
                    <a:pt x="254" y="115"/>
                  </a:lnTo>
                  <a:lnTo>
                    <a:pt x="254" y="115"/>
                  </a:lnTo>
                  <a:lnTo>
                    <a:pt x="254" y="115"/>
                  </a:lnTo>
                  <a:lnTo>
                    <a:pt x="252" y="115"/>
                  </a:lnTo>
                  <a:lnTo>
                    <a:pt x="252" y="117"/>
                  </a:lnTo>
                  <a:lnTo>
                    <a:pt x="252" y="115"/>
                  </a:lnTo>
                  <a:lnTo>
                    <a:pt x="252" y="117"/>
                  </a:lnTo>
                  <a:lnTo>
                    <a:pt x="252" y="117"/>
                  </a:lnTo>
                  <a:lnTo>
                    <a:pt x="250" y="117"/>
                  </a:lnTo>
                  <a:lnTo>
                    <a:pt x="252" y="117"/>
                  </a:lnTo>
                  <a:lnTo>
                    <a:pt x="252" y="117"/>
                  </a:lnTo>
                  <a:close/>
                  <a:moveTo>
                    <a:pt x="244" y="154"/>
                  </a:moveTo>
                  <a:lnTo>
                    <a:pt x="246" y="152"/>
                  </a:lnTo>
                  <a:lnTo>
                    <a:pt x="246" y="150"/>
                  </a:lnTo>
                  <a:lnTo>
                    <a:pt x="244" y="150"/>
                  </a:lnTo>
                  <a:lnTo>
                    <a:pt x="244" y="150"/>
                  </a:lnTo>
                  <a:lnTo>
                    <a:pt x="242" y="152"/>
                  </a:lnTo>
                  <a:lnTo>
                    <a:pt x="242" y="154"/>
                  </a:lnTo>
                  <a:lnTo>
                    <a:pt x="240" y="154"/>
                  </a:lnTo>
                  <a:lnTo>
                    <a:pt x="242" y="158"/>
                  </a:lnTo>
                  <a:lnTo>
                    <a:pt x="244" y="154"/>
                  </a:lnTo>
                  <a:lnTo>
                    <a:pt x="244" y="154"/>
                  </a:lnTo>
                  <a:close/>
                  <a:moveTo>
                    <a:pt x="500" y="422"/>
                  </a:moveTo>
                  <a:lnTo>
                    <a:pt x="500" y="420"/>
                  </a:lnTo>
                  <a:lnTo>
                    <a:pt x="496" y="412"/>
                  </a:lnTo>
                  <a:lnTo>
                    <a:pt x="496" y="406"/>
                  </a:lnTo>
                  <a:lnTo>
                    <a:pt x="496" y="404"/>
                  </a:lnTo>
                  <a:lnTo>
                    <a:pt x="494" y="404"/>
                  </a:lnTo>
                  <a:lnTo>
                    <a:pt x="492" y="402"/>
                  </a:lnTo>
                  <a:lnTo>
                    <a:pt x="492" y="402"/>
                  </a:lnTo>
                  <a:lnTo>
                    <a:pt x="489" y="400"/>
                  </a:lnTo>
                  <a:lnTo>
                    <a:pt x="487" y="396"/>
                  </a:lnTo>
                  <a:lnTo>
                    <a:pt x="487" y="396"/>
                  </a:lnTo>
                  <a:lnTo>
                    <a:pt x="487" y="396"/>
                  </a:lnTo>
                  <a:lnTo>
                    <a:pt x="487" y="394"/>
                  </a:lnTo>
                  <a:lnTo>
                    <a:pt x="487" y="394"/>
                  </a:lnTo>
                  <a:lnTo>
                    <a:pt x="487" y="392"/>
                  </a:lnTo>
                  <a:lnTo>
                    <a:pt x="489" y="390"/>
                  </a:lnTo>
                  <a:lnTo>
                    <a:pt x="489" y="392"/>
                  </a:lnTo>
                  <a:lnTo>
                    <a:pt x="489" y="394"/>
                  </a:lnTo>
                  <a:lnTo>
                    <a:pt x="489" y="396"/>
                  </a:lnTo>
                  <a:lnTo>
                    <a:pt x="492" y="398"/>
                  </a:lnTo>
                  <a:lnTo>
                    <a:pt x="494" y="400"/>
                  </a:lnTo>
                  <a:lnTo>
                    <a:pt x="496" y="400"/>
                  </a:lnTo>
                  <a:lnTo>
                    <a:pt x="498" y="402"/>
                  </a:lnTo>
                  <a:lnTo>
                    <a:pt x="498" y="406"/>
                  </a:lnTo>
                  <a:lnTo>
                    <a:pt x="500" y="408"/>
                  </a:lnTo>
                  <a:lnTo>
                    <a:pt x="502" y="418"/>
                  </a:lnTo>
                  <a:lnTo>
                    <a:pt x="502" y="420"/>
                  </a:lnTo>
                  <a:lnTo>
                    <a:pt x="502" y="424"/>
                  </a:lnTo>
                  <a:lnTo>
                    <a:pt x="502" y="429"/>
                  </a:lnTo>
                  <a:lnTo>
                    <a:pt x="502" y="433"/>
                  </a:lnTo>
                  <a:lnTo>
                    <a:pt x="502" y="435"/>
                  </a:lnTo>
                  <a:lnTo>
                    <a:pt x="502" y="437"/>
                  </a:lnTo>
                  <a:lnTo>
                    <a:pt x="498" y="447"/>
                  </a:lnTo>
                  <a:lnTo>
                    <a:pt x="498" y="449"/>
                  </a:lnTo>
                  <a:lnTo>
                    <a:pt x="498" y="451"/>
                  </a:lnTo>
                  <a:lnTo>
                    <a:pt x="500" y="453"/>
                  </a:lnTo>
                  <a:lnTo>
                    <a:pt x="500" y="451"/>
                  </a:lnTo>
                  <a:lnTo>
                    <a:pt x="502" y="445"/>
                  </a:lnTo>
                  <a:lnTo>
                    <a:pt x="504" y="441"/>
                  </a:lnTo>
                  <a:lnTo>
                    <a:pt x="504" y="441"/>
                  </a:lnTo>
                  <a:lnTo>
                    <a:pt x="508" y="439"/>
                  </a:lnTo>
                  <a:lnTo>
                    <a:pt x="510" y="437"/>
                  </a:lnTo>
                  <a:lnTo>
                    <a:pt x="514" y="437"/>
                  </a:lnTo>
                  <a:lnTo>
                    <a:pt x="512" y="437"/>
                  </a:lnTo>
                  <a:lnTo>
                    <a:pt x="510" y="435"/>
                  </a:lnTo>
                  <a:lnTo>
                    <a:pt x="510" y="435"/>
                  </a:lnTo>
                  <a:lnTo>
                    <a:pt x="510" y="433"/>
                  </a:lnTo>
                  <a:lnTo>
                    <a:pt x="512" y="433"/>
                  </a:lnTo>
                  <a:lnTo>
                    <a:pt x="512" y="433"/>
                  </a:lnTo>
                  <a:lnTo>
                    <a:pt x="512" y="433"/>
                  </a:lnTo>
                  <a:lnTo>
                    <a:pt x="512" y="431"/>
                  </a:lnTo>
                  <a:lnTo>
                    <a:pt x="514" y="429"/>
                  </a:lnTo>
                  <a:lnTo>
                    <a:pt x="516" y="424"/>
                  </a:lnTo>
                  <a:lnTo>
                    <a:pt x="516" y="422"/>
                  </a:lnTo>
                  <a:lnTo>
                    <a:pt x="518" y="422"/>
                  </a:lnTo>
                  <a:lnTo>
                    <a:pt x="520" y="422"/>
                  </a:lnTo>
                  <a:lnTo>
                    <a:pt x="520" y="420"/>
                  </a:lnTo>
                  <a:lnTo>
                    <a:pt x="520" y="418"/>
                  </a:lnTo>
                  <a:lnTo>
                    <a:pt x="520" y="418"/>
                  </a:lnTo>
                  <a:lnTo>
                    <a:pt x="520" y="416"/>
                  </a:lnTo>
                  <a:lnTo>
                    <a:pt x="520" y="416"/>
                  </a:lnTo>
                  <a:lnTo>
                    <a:pt x="520" y="416"/>
                  </a:lnTo>
                  <a:lnTo>
                    <a:pt x="520" y="416"/>
                  </a:lnTo>
                  <a:lnTo>
                    <a:pt x="520" y="414"/>
                  </a:lnTo>
                  <a:lnTo>
                    <a:pt x="520" y="414"/>
                  </a:lnTo>
                  <a:lnTo>
                    <a:pt x="518" y="414"/>
                  </a:lnTo>
                  <a:lnTo>
                    <a:pt x="518" y="414"/>
                  </a:lnTo>
                  <a:lnTo>
                    <a:pt x="518" y="414"/>
                  </a:lnTo>
                  <a:lnTo>
                    <a:pt x="518" y="412"/>
                  </a:lnTo>
                  <a:lnTo>
                    <a:pt x="516" y="410"/>
                  </a:lnTo>
                  <a:lnTo>
                    <a:pt x="512" y="408"/>
                  </a:lnTo>
                  <a:lnTo>
                    <a:pt x="512" y="408"/>
                  </a:lnTo>
                  <a:lnTo>
                    <a:pt x="512" y="406"/>
                  </a:lnTo>
                  <a:lnTo>
                    <a:pt x="516" y="404"/>
                  </a:lnTo>
                  <a:lnTo>
                    <a:pt x="520" y="400"/>
                  </a:lnTo>
                  <a:lnTo>
                    <a:pt x="524" y="396"/>
                  </a:lnTo>
                  <a:lnTo>
                    <a:pt x="526" y="392"/>
                  </a:lnTo>
                  <a:lnTo>
                    <a:pt x="528" y="392"/>
                  </a:lnTo>
                  <a:lnTo>
                    <a:pt x="526" y="390"/>
                  </a:lnTo>
                  <a:lnTo>
                    <a:pt x="524" y="388"/>
                  </a:lnTo>
                  <a:lnTo>
                    <a:pt x="524" y="386"/>
                  </a:lnTo>
                  <a:lnTo>
                    <a:pt x="522" y="383"/>
                  </a:lnTo>
                  <a:lnTo>
                    <a:pt x="520" y="381"/>
                  </a:lnTo>
                  <a:lnTo>
                    <a:pt x="520" y="377"/>
                  </a:lnTo>
                  <a:lnTo>
                    <a:pt x="520" y="373"/>
                  </a:lnTo>
                  <a:lnTo>
                    <a:pt x="518" y="367"/>
                  </a:lnTo>
                  <a:lnTo>
                    <a:pt x="518" y="363"/>
                  </a:lnTo>
                  <a:lnTo>
                    <a:pt x="516" y="357"/>
                  </a:lnTo>
                  <a:lnTo>
                    <a:pt x="516" y="353"/>
                  </a:lnTo>
                  <a:lnTo>
                    <a:pt x="516" y="349"/>
                  </a:lnTo>
                  <a:lnTo>
                    <a:pt x="514" y="342"/>
                  </a:lnTo>
                  <a:lnTo>
                    <a:pt x="514" y="338"/>
                  </a:lnTo>
                  <a:lnTo>
                    <a:pt x="512" y="334"/>
                  </a:lnTo>
                  <a:lnTo>
                    <a:pt x="512" y="328"/>
                  </a:lnTo>
                  <a:lnTo>
                    <a:pt x="510" y="324"/>
                  </a:lnTo>
                  <a:lnTo>
                    <a:pt x="510" y="320"/>
                  </a:lnTo>
                  <a:lnTo>
                    <a:pt x="510" y="314"/>
                  </a:lnTo>
                  <a:lnTo>
                    <a:pt x="508" y="310"/>
                  </a:lnTo>
                  <a:lnTo>
                    <a:pt x="508" y="304"/>
                  </a:lnTo>
                  <a:lnTo>
                    <a:pt x="504" y="302"/>
                  </a:lnTo>
                  <a:lnTo>
                    <a:pt x="504" y="299"/>
                  </a:lnTo>
                  <a:lnTo>
                    <a:pt x="506" y="297"/>
                  </a:lnTo>
                  <a:lnTo>
                    <a:pt x="506" y="289"/>
                  </a:lnTo>
                  <a:lnTo>
                    <a:pt x="506" y="273"/>
                  </a:lnTo>
                  <a:lnTo>
                    <a:pt x="506" y="265"/>
                  </a:lnTo>
                  <a:lnTo>
                    <a:pt x="506" y="256"/>
                  </a:lnTo>
                  <a:lnTo>
                    <a:pt x="506" y="248"/>
                  </a:lnTo>
                  <a:lnTo>
                    <a:pt x="506" y="240"/>
                  </a:lnTo>
                  <a:lnTo>
                    <a:pt x="508" y="234"/>
                  </a:lnTo>
                  <a:lnTo>
                    <a:pt x="508" y="230"/>
                  </a:lnTo>
                  <a:lnTo>
                    <a:pt x="508" y="228"/>
                  </a:lnTo>
                  <a:lnTo>
                    <a:pt x="506" y="226"/>
                  </a:lnTo>
                  <a:lnTo>
                    <a:pt x="504" y="224"/>
                  </a:lnTo>
                  <a:lnTo>
                    <a:pt x="504" y="220"/>
                  </a:lnTo>
                  <a:lnTo>
                    <a:pt x="504" y="217"/>
                  </a:lnTo>
                  <a:lnTo>
                    <a:pt x="504" y="215"/>
                  </a:lnTo>
                  <a:lnTo>
                    <a:pt x="504" y="215"/>
                  </a:lnTo>
                  <a:lnTo>
                    <a:pt x="504" y="213"/>
                  </a:lnTo>
                  <a:lnTo>
                    <a:pt x="502" y="209"/>
                  </a:lnTo>
                  <a:lnTo>
                    <a:pt x="502" y="205"/>
                  </a:lnTo>
                  <a:lnTo>
                    <a:pt x="500" y="201"/>
                  </a:lnTo>
                  <a:lnTo>
                    <a:pt x="500" y="195"/>
                  </a:lnTo>
                  <a:lnTo>
                    <a:pt x="498" y="189"/>
                  </a:lnTo>
                  <a:lnTo>
                    <a:pt x="496" y="177"/>
                  </a:lnTo>
                  <a:lnTo>
                    <a:pt x="494" y="170"/>
                  </a:lnTo>
                  <a:lnTo>
                    <a:pt x="492" y="164"/>
                  </a:lnTo>
                  <a:lnTo>
                    <a:pt x="492" y="158"/>
                  </a:lnTo>
                  <a:lnTo>
                    <a:pt x="489" y="154"/>
                  </a:lnTo>
                  <a:lnTo>
                    <a:pt x="489" y="152"/>
                  </a:lnTo>
                  <a:lnTo>
                    <a:pt x="489" y="150"/>
                  </a:lnTo>
                  <a:lnTo>
                    <a:pt x="489" y="148"/>
                  </a:lnTo>
                  <a:lnTo>
                    <a:pt x="487" y="146"/>
                  </a:lnTo>
                  <a:lnTo>
                    <a:pt x="487" y="146"/>
                  </a:lnTo>
                  <a:lnTo>
                    <a:pt x="487" y="146"/>
                  </a:lnTo>
                  <a:lnTo>
                    <a:pt x="485" y="146"/>
                  </a:lnTo>
                  <a:lnTo>
                    <a:pt x="485" y="144"/>
                  </a:lnTo>
                  <a:lnTo>
                    <a:pt x="483" y="142"/>
                  </a:lnTo>
                  <a:lnTo>
                    <a:pt x="483" y="140"/>
                  </a:lnTo>
                  <a:lnTo>
                    <a:pt x="481" y="140"/>
                  </a:lnTo>
                  <a:lnTo>
                    <a:pt x="481" y="140"/>
                  </a:lnTo>
                  <a:lnTo>
                    <a:pt x="479" y="140"/>
                  </a:lnTo>
                  <a:lnTo>
                    <a:pt x="479" y="140"/>
                  </a:lnTo>
                  <a:lnTo>
                    <a:pt x="479" y="140"/>
                  </a:lnTo>
                  <a:lnTo>
                    <a:pt x="479" y="140"/>
                  </a:lnTo>
                  <a:lnTo>
                    <a:pt x="477" y="142"/>
                  </a:lnTo>
                  <a:lnTo>
                    <a:pt x="477" y="142"/>
                  </a:lnTo>
                  <a:lnTo>
                    <a:pt x="477" y="142"/>
                  </a:lnTo>
                  <a:lnTo>
                    <a:pt x="477" y="142"/>
                  </a:lnTo>
                  <a:lnTo>
                    <a:pt x="477" y="144"/>
                  </a:lnTo>
                  <a:lnTo>
                    <a:pt x="477" y="146"/>
                  </a:lnTo>
                  <a:lnTo>
                    <a:pt x="477" y="146"/>
                  </a:lnTo>
                  <a:lnTo>
                    <a:pt x="477" y="146"/>
                  </a:lnTo>
                  <a:lnTo>
                    <a:pt x="477" y="146"/>
                  </a:lnTo>
                  <a:lnTo>
                    <a:pt x="475" y="148"/>
                  </a:lnTo>
                  <a:lnTo>
                    <a:pt x="475" y="148"/>
                  </a:lnTo>
                  <a:lnTo>
                    <a:pt x="475" y="148"/>
                  </a:lnTo>
                  <a:lnTo>
                    <a:pt x="475" y="148"/>
                  </a:lnTo>
                  <a:lnTo>
                    <a:pt x="473" y="146"/>
                  </a:lnTo>
                  <a:lnTo>
                    <a:pt x="473" y="146"/>
                  </a:lnTo>
                  <a:lnTo>
                    <a:pt x="473" y="144"/>
                  </a:lnTo>
                  <a:lnTo>
                    <a:pt x="473" y="142"/>
                  </a:lnTo>
                  <a:lnTo>
                    <a:pt x="473" y="140"/>
                  </a:lnTo>
                  <a:lnTo>
                    <a:pt x="473" y="140"/>
                  </a:lnTo>
                  <a:lnTo>
                    <a:pt x="473" y="129"/>
                  </a:lnTo>
                  <a:lnTo>
                    <a:pt x="473" y="127"/>
                  </a:lnTo>
                  <a:lnTo>
                    <a:pt x="473" y="127"/>
                  </a:lnTo>
                  <a:lnTo>
                    <a:pt x="473" y="125"/>
                  </a:lnTo>
                  <a:lnTo>
                    <a:pt x="473" y="123"/>
                  </a:lnTo>
                  <a:lnTo>
                    <a:pt x="471" y="123"/>
                  </a:lnTo>
                  <a:lnTo>
                    <a:pt x="469" y="121"/>
                  </a:lnTo>
                  <a:lnTo>
                    <a:pt x="469" y="121"/>
                  </a:lnTo>
                  <a:lnTo>
                    <a:pt x="469" y="119"/>
                  </a:lnTo>
                  <a:lnTo>
                    <a:pt x="469" y="117"/>
                  </a:lnTo>
                  <a:lnTo>
                    <a:pt x="469" y="117"/>
                  </a:lnTo>
                  <a:lnTo>
                    <a:pt x="469" y="115"/>
                  </a:lnTo>
                  <a:lnTo>
                    <a:pt x="467" y="115"/>
                  </a:lnTo>
                  <a:lnTo>
                    <a:pt x="467" y="113"/>
                  </a:lnTo>
                  <a:lnTo>
                    <a:pt x="465" y="111"/>
                  </a:lnTo>
                  <a:lnTo>
                    <a:pt x="465" y="109"/>
                  </a:lnTo>
                  <a:lnTo>
                    <a:pt x="463" y="105"/>
                  </a:lnTo>
                  <a:lnTo>
                    <a:pt x="463" y="103"/>
                  </a:lnTo>
                  <a:lnTo>
                    <a:pt x="463" y="101"/>
                  </a:lnTo>
                  <a:lnTo>
                    <a:pt x="463" y="101"/>
                  </a:lnTo>
                  <a:lnTo>
                    <a:pt x="463" y="101"/>
                  </a:lnTo>
                  <a:lnTo>
                    <a:pt x="461" y="101"/>
                  </a:lnTo>
                  <a:lnTo>
                    <a:pt x="461" y="101"/>
                  </a:lnTo>
                  <a:lnTo>
                    <a:pt x="461" y="103"/>
                  </a:lnTo>
                  <a:lnTo>
                    <a:pt x="459" y="99"/>
                  </a:lnTo>
                  <a:lnTo>
                    <a:pt x="459" y="86"/>
                  </a:lnTo>
                  <a:lnTo>
                    <a:pt x="457" y="84"/>
                  </a:lnTo>
                  <a:lnTo>
                    <a:pt x="459" y="82"/>
                  </a:lnTo>
                  <a:lnTo>
                    <a:pt x="463" y="76"/>
                  </a:lnTo>
                  <a:lnTo>
                    <a:pt x="463" y="74"/>
                  </a:lnTo>
                  <a:lnTo>
                    <a:pt x="461" y="72"/>
                  </a:lnTo>
                  <a:lnTo>
                    <a:pt x="461" y="72"/>
                  </a:lnTo>
                  <a:lnTo>
                    <a:pt x="461" y="68"/>
                  </a:lnTo>
                  <a:lnTo>
                    <a:pt x="459" y="66"/>
                  </a:lnTo>
                  <a:lnTo>
                    <a:pt x="459" y="64"/>
                  </a:lnTo>
                  <a:lnTo>
                    <a:pt x="457" y="64"/>
                  </a:lnTo>
                  <a:lnTo>
                    <a:pt x="457" y="64"/>
                  </a:lnTo>
                  <a:lnTo>
                    <a:pt x="457" y="58"/>
                  </a:lnTo>
                  <a:lnTo>
                    <a:pt x="455" y="58"/>
                  </a:lnTo>
                  <a:lnTo>
                    <a:pt x="455" y="58"/>
                  </a:lnTo>
                  <a:lnTo>
                    <a:pt x="455" y="60"/>
                  </a:lnTo>
                  <a:lnTo>
                    <a:pt x="455" y="62"/>
                  </a:lnTo>
                  <a:lnTo>
                    <a:pt x="455" y="64"/>
                  </a:lnTo>
                  <a:lnTo>
                    <a:pt x="455" y="62"/>
                  </a:lnTo>
                  <a:lnTo>
                    <a:pt x="453" y="60"/>
                  </a:lnTo>
                  <a:lnTo>
                    <a:pt x="453" y="60"/>
                  </a:lnTo>
                  <a:lnTo>
                    <a:pt x="455" y="58"/>
                  </a:lnTo>
                  <a:lnTo>
                    <a:pt x="455" y="56"/>
                  </a:lnTo>
                  <a:lnTo>
                    <a:pt x="453" y="56"/>
                  </a:lnTo>
                  <a:lnTo>
                    <a:pt x="451" y="54"/>
                  </a:lnTo>
                  <a:lnTo>
                    <a:pt x="453" y="51"/>
                  </a:lnTo>
                  <a:lnTo>
                    <a:pt x="453" y="49"/>
                  </a:lnTo>
                  <a:lnTo>
                    <a:pt x="451" y="47"/>
                  </a:lnTo>
                  <a:lnTo>
                    <a:pt x="451" y="47"/>
                  </a:lnTo>
                  <a:lnTo>
                    <a:pt x="449" y="47"/>
                  </a:lnTo>
                  <a:lnTo>
                    <a:pt x="449" y="45"/>
                  </a:lnTo>
                  <a:lnTo>
                    <a:pt x="446" y="43"/>
                  </a:lnTo>
                  <a:lnTo>
                    <a:pt x="446" y="41"/>
                  </a:lnTo>
                  <a:lnTo>
                    <a:pt x="446" y="41"/>
                  </a:lnTo>
                  <a:lnTo>
                    <a:pt x="446" y="41"/>
                  </a:lnTo>
                  <a:lnTo>
                    <a:pt x="446" y="41"/>
                  </a:lnTo>
                  <a:lnTo>
                    <a:pt x="446" y="39"/>
                  </a:lnTo>
                  <a:lnTo>
                    <a:pt x="444" y="39"/>
                  </a:lnTo>
                  <a:lnTo>
                    <a:pt x="446" y="37"/>
                  </a:lnTo>
                  <a:lnTo>
                    <a:pt x="446" y="35"/>
                  </a:lnTo>
                  <a:lnTo>
                    <a:pt x="444" y="33"/>
                  </a:lnTo>
                  <a:lnTo>
                    <a:pt x="444" y="31"/>
                  </a:lnTo>
                  <a:lnTo>
                    <a:pt x="444" y="31"/>
                  </a:lnTo>
                  <a:lnTo>
                    <a:pt x="446" y="31"/>
                  </a:lnTo>
                  <a:lnTo>
                    <a:pt x="446" y="31"/>
                  </a:lnTo>
                  <a:lnTo>
                    <a:pt x="449" y="33"/>
                  </a:lnTo>
                  <a:lnTo>
                    <a:pt x="449" y="33"/>
                  </a:lnTo>
                  <a:lnTo>
                    <a:pt x="449" y="31"/>
                  </a:lnTo>
                  <a:lnTo>
                    <a:pt x="449" y="31"/>
                  </a:lnTo>
                  <a:lnTo>
                    <a:pt x="449" y="29"/>
                  </a:lnTo>
                  <a:lnTo>
                    <a:pt x="446" y="29"/>
                  </a:lnTo>
                  <a:lnTo>
                    <a:pt x="446" y="29"/>
                  </a:lnTo>
                  <a:lnTo>
                    <a:pt x="444" y="27"/>
                  </a:lnTo>
                  <a:lnTo>
                    <a:pt x="444" y="27"/>
                  </a:lnTo>
                  <a:lnTo>
                    <a:pt x="444" y="27"/>
                  </a:lnTo>
                  <a:lnTo>
                    <a:pt x="444" y="25"/>
                  </a:lnTo>
                  <a:lnTo>
                    <a:pt x="446" y="25"/>
                  </a:lnTo>
                  <a:lnTo>
                    <a:pt x="446" y="25"/>
                  </a:lnTo>
                  <a:lnTo>
                    <a:pt x="446" y="25"/>
                  </a:lnTo>
                  <a:lnTo>
                    <a:pt x="446" y="23"/>
                  </a:lnTo>
                  <a:lnTo>
                    <a:pt x="446" y="21"/>
                  </a:lnTo>
                  <a:lnTo>
                    <a:pt x="446" y="21"/>
                  </a:lnTo>
                  <a:lnTo>
                    <a:pt x="444" y="19"/>
                  </a:lnTo>
                  <a:lnTo>
                    <a:pt x="444" y="19"/>
                  </a:lnTo>
                  <a:lnTo>
                    <a:pt x="444" y="17"/>
                  </a:lnTo>
                  <a:lnTo>
                    <a:pt x="444" y="15"/>
                  </a:lnTo>
                  <a:lnTo>
                    <a:pt x="444" y="11"/>
                  </a:lnTo>
                  <a:lnTo>
                    <a:pt x="442" y="8"/>
                  </a:lnTo>
                  <a:lnTo>
                    <a:pt x="442" y="6"/>
                  </a:lnTo>
                  <a:lnTo>
                    <a:pt x="442" y="6"/>
                  </a:lnTo>
                  <a:lnTo>
                    <a:pt x="444" y="6"/>
                  </a:lnTo>
                  <a:lnTo>
                    <a:pt x="444" y="6"/>
                  </a:lnTo>
                  <a:lnTo>
                    <a:pt x="444" y="4"/>
                  </a:lnTo>
                  <a:lnTo>
                    <a:pt x="444" y="4"/>
                  </a:lnTo>
                  <a:lnTo>
                    <a:pt x="444" y="2"/>
                  </a:lnTo>
                  <a:lnTo>
                    <a:pt x="442" y="0"/>
                  </a:lnTo>
                  <a:lnTo>
                    <a:pt x="442" y="0"/>
                  </a:lnTo>
                  <a:lnTo>
                    <a:pt x="440" y="0"/>
                  </a:lnTo>
                  <a:lnTo>
                    <a:pt x="432" y="2"/>
                  </a:lnTo>
                  <a:lnTo>
                    <a:pt x="424" y="4"/>
                  </a:lnTo>
                  <a:lnTo>
                    <a:pt x="418" y="6"/>
                  </a:lnTo>
                  <a:lnTo>
                    <a:pt x="410" y="8"/>
                  </a:lnTo>
                  <a:lnTo>
                    <a:pt x="401" y="11"/>
                  </a:lnTo>
                  <a:lnTo>
                    <a:pt x="393" y="13"/>
                  </a:lnTo>
                  <a:lnTo>
                    <a:pt x="387" y="15"/>
                  </a:lnTo>
                  <a:lnTo>
                    <a:pt x="379" y="17"/>
                  </a:lnTo>
                  <a:lnTo>
                    <a:pt x="371" y="19"/>
                  </a:lnTo>
                  <a:lnTo>
                    <a:pt x="362" y="21"/>
                  </a:lnTo>
                  <a:lnTo>
                    <a:pt x="356" y="21"/>
                  </a:lnTo>
                  <a:lnTo>
                    <a:pt x="348" y="23"/>
                  </a:lnTo>
                  <a:lnTo>
                    <a:pt x="340" y="25"/>
                  </a:lnTo>
                  <a:lnTo>
                    <a:pt x="340" y="25"/>
                  </a:lnTo>
                  <a:lnTo>
                    <a:pt x="338" y="27"/>
                  </a:lnTo>
                  <a:lnTo>
                    <a:pt x="328" y="27"/>
                  </a:lnTo>
                  <a:lnTo>
                    <a:pt x="326" y="27"/>
                  </a:lnTo>
                  <a:lnTo>
                    <a:pt x="324" y="29"/>
                  </a:lnTo>
                  <a:lnTo>
                    <a:pt x="322" y="31"/>
                  </a:lnTo>
                  <a:lnTo>
                    <a:pt x="317" y="33"/>
                  </a:lnTo>
                  <a:lnTo>
                    <a:pt x="317" y="35"/>
                  </a:lnTo>
                  <a:lnTo>
                    <a:pt x="313" y="37"/>
                  </a:lnTo>
                  <a:lnTo>
                    <a:pt x="313" y="39"/>
                  </a:lnTo>
                  <a:lnTo>
                    <a:pt x="309" y="41"/>
                  </a:lnTo>
                  <a:lnTo>
                    <a:pt x="299" y="49"/>
                  </a:lnTo>
                  <a:lnTo>
                    <a:pt x="295" y="56"/>
                  </a:lnTo>
                  <a:lnTo>
                    <a:pt x="289" y="66"/>
                  </a:lnTo>
                  <a:lnTo>
                    <a:pt x="281" y="76"/>
                  </a:lnTo>
                  <a:lnTo>
                    <a:pt x="272" y="86"/>
                  </a:lnTo>
                  <a:lnTo>
                    <a:pt x="270" y="92"/>
                  </a:lnTo>
                  <a:lnTo>
                    <a:pt x="268" y="97"/>
                  </a:lnTo>
                  <a:lnTo>
                    <a:pt x="268" y="97"/>
                  </a:lnTo>
                  <a:lnTo>
                    <a:pt x="268" y="97"/>
                  </a:lnTo>
                  <a:lnTo>
                    <a:pt x="268" y="97"/>
                  </a:lnTo>
                  <a:lnTo>
                    <a:pt x="270" y="99"/>
                  </a:lnTo>
                  <a:lnTo>
                    <a:pt x="270" y="101"/>
                  </a:lnTo>
                  <a:lnTo>
                    <a:pt x="270" y="103"/>
                  </a:lnTo>
                  <a:lnTo>
                    <a:pt x="266" y="107"/>
                  </a:lnTo>
                  <a:lnTo>
                    <a:pt x="266" y="107"/>
                  </a:lnTo>
                  <a:lnTo>
                    <a:pt x="266" y="107"/>
                  </a:lnTo>
                  <a:lnTo>
                    <a:pt x="266" y="109"/>
                  </a:lnTo>
                  <a:lnTo>
                    <a:pt x="266" y="109"/>
                  </a:lnTo>
                  <a:lnTo>
                    <a:pt x="264" y="109"/>
                  </a:lnTo>
                  <a:lnTo>
                    <a:pt x="262" y="111"/>
                  </a:lnTo>
                  <a:lnTo>
                    <a:pt x="260" y="113"/>
                  </a:lnTo>
                  <a:lnTo>
                    <a:pt x="260" y="113"/>
                  </a:lnTo>
                  <a:lnTo>
                    <a:pt x="252" y="123"/>
                  </a:lnTo>
                  <a:lnTo>
                    <a:pt x="244" y="131"/>
                  </a:lnTo>
                  <a:lnTo>
                    <a:pt x="231" y="144"/>
                  </a:lnTo>
                  <a:lnTo>
                    <a:pt x="231" y="144"/>
                  </a:lnTo>
                  <a:lnTo>
                    <a:pt x="231" y="148"/>
                  </a:lnTo>
                  <a:lnTo>
                    <a:pt x="233" y="148"/>
                  </a:lnTo>
                  <a:lnTo>
                    <a:pt x="236" y="148"/>
                  </a:lnTo>
                  <a:lnTo>
                    <a:pt x="236" y="148"/>
                  </a:lnTo>
                  <a:lnTo>
                    <a:pt x="238" y="150"/>
                  </a:lnTo>
                  <a:lnTo>
                    <a:pt x="238" y="150"/>
                  </a:lnTo>
                  <a:lnTo>
                    <a:pt x="238" y="152"/>
                  </a:lnTo>
                  <a:lnTo>
                    <a:pt x="238" y="152"/>
                  </a:lnTo>
                  <a:lnTo>
                    <a:pt x="238" y="152"/>
                  </a:lnTo>
                  <a:lnTo>
                    <a:pt x="240" y="152"/>
                  </a:lnTo>
                  <a:lnTo>
                    <a:pt x="240" y="152"/>
                  </a:lnTo>
                  <a:lnTo>
                    <a:pt x="240" y="150"/>
                  </a:lnTo>
                  <a:lnTo>
                    <a:pt x="240" y="148"/>
                  </a:lnTo>
                  <a:lnTo>
                    <a:pt x="244" y="146"/>
                  </a:lnTo>
                  <a:lnTo>
                    <a:pt x="246" y="146"/>
                  </a:lnTo>
                  <a:lnTo>
                    <a:pt x="248" y="146"/>
                  </a:lnTo>
                  <a:lnTo>
                    <a:pt x="250" y="146"/>
                  </a:lnTo>
                  <a:lnTo>
                    <a:pt x="250" y="148"/>
                  </a:lnTo>
                  <a:lnTo>
                    <a:pt x="250" y="148"/>
                  </a:lnTo>
                  <a:lnTo>
                    <a:pt x="250" y="148"/>
                  </a:lnTo>
                  <a:lnTo>
                    <a:pt x="250" y="148"/>
                  </a:lnTo>
                  <a:lnTo>
                    <a:pt x="250" y="148"/>
                  </a:lnTo>
                  <a:lnTo>
                    <a:pt x="250" y="148"/>
                  </a:lnTo>
                  <a:lnTo>
                    <a:pt x="252" y="146"/>
                  </a:lnTo>
                  <a:lnTo>
                    <a:pt x="252" y="148"/>
                  </a:lnTo>
                  <a:lnTo>
                    <a:pt x="250" y="150"/>
                  </a:lnTo>
                  <a:lnTo>
                    <a:pt x="250" y="152"/>
                  </a:lnTo>
                  <a:lnTo>
                    <a:pt x="248" y="152"/>
                  </a:lnTo>
                  <a:lnTo>
                    <a:pt x="246" y="154"/>
                  </a:lnTo>
                  <a:lnTo>
                    <a:pt x="246" y="156"/>
                  </a:lnTo>
                  <a:lnTo>
                    <a:pt x="246" y="156"/>
                  </a:lnTo>
                  <a:lnTo>
                    <a:pt x="252" y="154"/>
                  </a:lnTo>
                  <a:lnTo>
                    <a:pt x="254" y="154"/>
                  </a:lnTo>
                  <a:lnTo>
                    <a:pt x="254" y="152"/>
                  </a:lnTo>
                  <a:lnTo>
                    <a:pt x="256" y="150"/>
                  </a:lnTo>
                  <a:lnTo>
                    <a:pt x="258" y="150"/>
                  </a:lnTo>
                  <a:lnTo>
                    <a:pt x="258" y="152"/>
                  </a:lnTo>
                  <a:lnTo>
                    <a:pt x="258" y="152"/>
                  </a:lnTo>
                  <a:lnTo>
                    <a:pt x="258" y="154"/>
                  </a:lnTo>
                  <a:lnTo>
                    <a:pt x="256" y="156"/>
                  </a:lnTo>
                  <a:lnTo>
                    <a:pt x="254" y="156"/>
                  </a:lnTo>
                  <a:lnTo>
                    <a:pt x="254" y="158"/>
                  </a:lnTo>
                  <a:lnTo>
                    <a:pt x="252" y="158"/>
                  </a:lnTo>
                  <a:lnTo>
                    <a:pt x="254" y="160"/>
                  </a:lnTo>
                  <a:lnTo>
                    <a:pt x="254" y="162"/>
                  </a:lnTo>
                  <a:lnTo>
                    <a:pt x="252" y="164"/>
                  </a:lnTo>
                  <a:lnTo>
                    <a:pt x="250" y="166"/>
                  </a:lnTo>
                  <a:lnTo>
                    <a:pt x="248" y="168"/>
                  </a:lnTo>
                  <a:lnTo>
                    <a:pt x="246" y="168"/>
                  </a:lnTo>
                  <a:lnTo>
                    <a:pt x="246" y="166"/>
                  </a:lnTo>
                  <a:lnTo>
                    <a:pt x="248" y="164"/>
                  </a:lnTo>
                  <a:lnTo>
                    <a:pt x="244" y="166"/>
                  </a:lnTo>
                  <a:lnTo>
                    <a:pt x="242" y="168"/>
                  </a:lnTo>
                  <a:lnTo>
                    <a:pt x="242" y="170"/>
                  </a:lnTo>
                  <a:lnTo>
                    <a:pt x="242" y="170"/>
                  </a:lnTo>
                  <a:lnTo>
                    <a:pt x="244" y="170"/>
                  </a:lnTo>
                  <a:lnTo>
                    <a:pt x="246" y="172"/>
                  </a:lnTo>
                  <a:lnTo>
                    <a:pt x="246" y="172"/>
                  </a:lnTo>
                  <a:lnTo>
                    <a:pt x="248" y="172"/>
                  </a:lnTo>
                  <a:lnTo>
                    <a:pt x="248" y="172"/>
                  </a:lnTo>
                  <a:lnTo>
                    <a:pt x="248" y="174"/>
                  </a:lnTo>
                  <a:lnTo>
                    <a:pt x="248" y="174"/>
                  </a:lnTo>
                  <a:lnTo>
                    <a:pt x="248" y="174"/>
                  </a:lnTo>
                  <a:lnTo>
                    <a:pt x="250" y="177"/>
                  </a:lnTo>
                  <a:lnTo>
                    <a:pt x="252" y="181"/>
                  </a:lnTo>
                  <a:lnTo>
                    <a:pt x="252" y="181"/>
                  </a:lnTo>
                  <a:lnTo>
                    <a:pt x="252" y="183"/>
                  </a:lnTo>
                  <a:lnTo>
                    <a:pt x="252" y="185"/>
                  </a:lnTo>
                  <a:lnTo>
                    <a:pt x="254" y="189"/>
                  </a:lnTo>
                  <a:lnTo>
                    <a:pt x="254" y="191"/>
                  </a:lnTo>
                  <a:lnTo>
                    <a:pt x="254" y="189"/>
                  </a:lnTo>
                  <a:lnTo>
                    <a:pt x="254" y="187"/>
                  </a:lnTo>
                  <a:lnTo>
                    <a:pt x="256" y="187"/>
                  </a:lnTo>
                  <a:lnTo>
                    <a:pt x="256" y="187"/>
                  </a:lnTo>
                  <a:lnTo>
                    <a:pt x="254" y="193"/>
                  </a:lnTo>
                  <a:lnTo>
                    <a:pt x="254" y="195"/>
                  </a:lnTo>
                  <a:lnTo>
                    <a:pt x="258" y="197"/>
                  </a:lnTo>
                  <a:lnTo>
                    <a:pt x="256" y="197"/>
                  </a:lnTo>
                  <a:lnTo>
                    <a:pt x="254" y="203"/>
                  </a:lnTo>
                  <a:lnTo>
                    <a:pt x="252" y="203"/>
                  </a:lnTo>
                  <a:lnTo>
                    <a:pt x="248" y="205"/>
                  </a:lnTo>
                  <a:lnTo>
                    <a:pt x="246" y="205"/>
                  </a:lnTo>
                  <a:lnTo>
                    <a:pt x="242" y="205"/>
                  </a:lnTo>
                  <a:lnTo>
                    <a:pt x="240" y="205"/>
                  </a:lnTo>
                  <a:lnTo>
                    <a:pt x="238" y="211"/>
                  </a:lnTo>
                  <a:lnTo>
                    <a:pt x="236" y="211"/>
                  </a:lnTo>
                  <a:lnTo>
                    <a:pt x="227" y="217"/>
                  </a:lnTo>
                  <a:lnTo>
                    <a:pt x="225" y="220"/>
                  </a:lnTo>
                  <a:lnTo>
                    <a:pt x="223" y="224"/>
                  </a:lnTo>
                  <a:lnTo>
                    <a:pt x="221" y="230"/>
                  </a:lnTo>
                  <a:lnTo>
                    <a:pt x="219" y="230"/>
                  </a:lnTo>
                  <a:lnTo>
                    <a:pt x="217" y="230"/>
                  </a:lnTo>
                  <a:lnTo>
                    <a:pt x="217" y="232"/>
                  </a:lnTo>
                  <a:lnTo>
                    <a:pt x="217" y="232"/>
                  </a:lnTo>
                  <a:lnTo>
                    <a:pt x="213" y="234"/>
                  </a:lnTo>
                  <a:lnTo>
                    <a:pt x="205" y="238"/>
                  </a:lnTo>
                  <a:lnTo>
                    <a:pt x="205" y="238"/>
                  </a:lnTo>
                  <a:lnTo>
                    <a:pt x="205" y="240"/>
                  </a:lnTo>
                  <a:lnTo>
                    <a:pt x="205" y="240"/>
                  </a:lnTo>
                  <a:lnTo>
                    <a:pt x="205" y="240"/>
                  </a:lnTo>
                  <a:lnTo>
                    <a:pt x="205" y="242"/>
                  </a:lnTo>
                  <a:lnTo>
                    <a:pt x="205" y="242"/>
                  </a:lnTo>
                  <a:lnTo>
                    <a:pt x="205" y="242"/>
                  </a:lnTo>
                  <a:lnTo>
                    <a:pt x="205" y="242"/>
                  </a:lnTo>
                  <a:lnTo>
                    <a:pt x="205" y="244"/>
                  </a:lnTo>
                  <a:lnTo>
                    <a:pt x="203" y="244"/>
                  </a:lnTo>
                  <a:lnTo>
                    <a:pt x="203" y="244"/>
                  </a:lnTo>
                  <a:lnTo>
                    <a:pt x="201" y="242"/>
                  </a:lnTo>
                  <a:lnTo>
                    <a:pt x="201" y="242"/>
                  </a:lnTo>
                  <a:lnTo>
                    <a:pt x="201" y="242"/>
                  </a:lnTo>
                  <a:lnTo>
                    <a:pt x="201" y="240"/>
                  </a:lnTo>
                  <a:lnTo>
                    <a:pt x="170" y="246"/>
                  </a:lnTo>
                  <a:lnTo>
                    <a:pt x="168" y="248"/>
                  </a:lnTo>
                  <a:lnTo>
                    <a:pt x="158" y="252"/>
                  </a:lnTo>
                  <a:lnTo>
                    <a:pt x="154" y="254"/>
                  </a:lnTo>
                  <a:lnTo>
                    <a:pt x="152" y="252"/>
                  </a:lnTo>
                  <a:lnTo>
                    <a:pt x="143" y="248"/>
                  </a:lnTo>
                  <a:lnTo>
                    <a:pt x="143" y="248"/>
                  </a:lnTo>
                  <a:lnTo>
                    <a:pt x="141" y="248"/>
                  </a:lnTo>
                  <a:lnTo>
                    <a:pt x="141" y="248"/>
                  </a:lnTo>
                  <a:lnTo>
                    <a:pt x="139" y="246"/>
                  </a:lnTo>
                  <a:lnTo>
                    <a:pt x="111" y="248"/>
                  </a:lnTo>
                  <a:lnTo>
                    <a:pt x="100" y="250"/>
                  </a:lnTo>
                  <a:lnTo>
                    <a:pt x="88" y="252"/>
                  </a:lnTo>
                  <a:lnTo>
                    <a:pt x="66" y="261"/>
                  </a:lnTo>
                  <a:lnTo>
                    <a:pt x="59" y="265"/>
                  </a:lnTo>
                  <a:lnTo>
                    <a:pt x="51" y="267"/>
                  </a:lnTo>
                  <a:lnTo>
                    <a:pt x="43" y="273"/>
                  </a:lnTo>
                  <a:lnTo>
                    <a:pt x="37" y="275"/>
                  </a:lnTo>
                  <a:lnTo>
                    <a:pt x="39" y="277"/>
                  </a:lnTo>
                  <a:lnTo>
                    <a:pt x="41" y="285"/>
                  </a:lnTo>
                  <a:lnTo>
                    <a:pt x="41" y="287"/>
                  </a:lnTo>
                  <a:lnTo>
                    <a:pt x="41" y="287"/>
                  </a:lnTo>
                  <a:lnTo>
                    <a:pt x="41" y="289"/>
                  </a:lnTo>
                  <a:lnTo>
                    <a:pt x="39" y="289"/>
                  </a:lnTo>
                  <a:lnTo>
                    <a:pt x="39" y="291"/>
                  </a:lnTo>
                  <a:lnTo>
                    <a:pt x="41" y="293"/>
                  </a:lnTo>
                  <a:lnTo>
                    <a:pt x="41" y="293"/>
                  </a:lnTo>
                  <a:lnTo>
                    <a:pt x="43" y="293"/>
                  </a:lnTo>
                  <a:lnTo>
                    <a:pt x="53" y="293"/>
                  </a:lnTo>
                  <a:lnTo>
                    <a:pt x="55" y="295"/>
                  </a:lnTo>
                  <a:lnTo>
                    <a:pt x="55" y="297"/>
                  </a:lnTo>
                  <a:lnTo>
                    <a:pt x="53" y="302"/>
                  </a:lnTo>
                  <a:lnTo>
                    <a:pt x="53" y="304"/>
                  </a:lnTo>
                  <a:lnTo>
                    <a:pt x="53" y="304"/>
                  </a:lnTo>
                  <a:lnTo>
                    <a:pt x="55" y="306"/>
                  </a:lnTo>
                  <a:lnTo>
                    <a:pt x="55" y="306"/>
                  </a:lnTo>
                  <a:lnTo>
                    <a:pt x="57" y="310"/>
                  </a:lnTo>
                  <a:lnTo>
                    <a:pt x="57" y="312"/>
                  </a:lnTo>
                  <a:lnTo>
                    <a:pt x="59" y="314"/>
                  </a:lnTo>
                  <a:lnTo>
                    <a:pt x="61" y="316"/>
                  </a:lnTo>
                  <a:lnTo>
                    <a:pt x="61" y="316"/>
                  </a:lnTo>
                  <a:lnTo>
                    <a:pt x="61" y="318"/>
                  </a:lnTo>
                  <a:lnTo>
                    <a:pt x="61" y="322"/>
                  </a:lnTo>
                  <a:lnTo>
                    <a:pt x="61" y="324"/>
                  </a:lnTo>
                  <a:lnTo>
                    <a:pt x="59" y="324"/>
                  </a:lnTo>
                  <a:lnTo>
                    <a:pt x="59" y="326"/>
                  </a:lnTo>
                  <a:lnTo>
                    <a:pt x="53" y="330"/>
                  </a:lnTo>
                  <a:lnTo>
                    <a:pt x="51" y="332"/>
                  </a:lnTo>
                  <a:lnTo>
                    <a:pt x="49" y="336"/>
                  </a:lnTo>
                  <a:lnTo>
                    <a:pt x="47" y="340"/>
                  </a:lnTo>
                  <a:lnTo>
                    <a:pt x="47" y="342"/>
                  </a:lnTo>
                  <a:lnTo>
                    <a:pt x="45" y="342"/>
                  </a:lnTo>
                  <a:lnTo>
                    <a:pt x="45" y="342"/>
                  </a:lnTo>
                  <a:lnTo>
                    <a:pt x="45" y="347"/>
                  </a:lnTo>
                  <a:lnTo>
                    <a:pt x="43" y="349"/>
                  </a:lnTo>
                  <a:lnTo>
                    <a:pt x="43" y="349"/>
                  </a:lnTo>
                  <a:lnTo>
                    <a:pt x="43" y="349"/>
                  </a:lnTo>
                  <a:lnTo>
                    <a:pt x="37" y="353"/>
                  </a:lnTo>
                  <a:lnTo>
                    <a:pt x="37" y="355"/>
                  </a:lnTo>
                  <a:lnTo>
                    <a:pt x="33" y="359"/>
                  </a:lnTo>
                  <a:lnTo>
                    <a:pt x="29" y="361"/>
                  </a:lnTo>
                  <a:lnTo>
                    <a:pt x="29" y="361"/>
                  </a:lnTo>
                  <a:lnTo>
                    <a:pt x="27" y="361"/>
                  </a:lnTo>
                  <a:lnTo>
                    <a:pt x="27" y="363"/>
                  </a:lnTo>
                  <a:lnTo>
                    <a:pt x="27" y="363"/>
                  </a:lnTo>
                  <a:lnTo>
                    <a:pt x="25" y="365"/>
                  </a:lnTo>
                  <a:lnTo>
                    <a:pt x="20" y="371"/>
                  </a:lnTo>
                  <a:lnTo>
                    <a:pt x="18" y="375"/>
                  </a:lnTo>
                  <a:lnTo>
                    <a:pt x="16" y="375"/>
                  </a:lnTo>
                  <a:lnTo>
                    <a:pt x="14" y="377"/>
                  </a:lnTo>
                  <a:lnTo>
                    <a:pt x="10" y="381"/>
                  </a:lnTo>
                  <a:lnTo>
                    <a:pt x="4" y="386"/>
                  </a:lnTo>
                  <a:lnTo>
                    <a:pt x="2" y="388"/>
                  </a:lnTo>
                  <a:lnTo>
                    <a:pt x="2" y="390"/>
                  </a:lnTo>
                  <a:lnTo>
                    <a:pt x="0" y="390"/>
                  </a:lnTo>
                  <a:lnTo>
                    <a:pt x="0" y="390"/>
                  </a:lnTo>
                  <a:lnTo>
                    <a:pt x="2" y="394"/>
                  </a:lnTo>
                  <a:lnTo>
                    <a:pt x="2" y="396"/>
                  </a:lnTo>
                  <a:lnTo>
                    <a:pt x="2" y="400"/>
                  </a:lnTo>
                  <a:lnTo>
                    <a:pt x="2" y="402"/>
                  </a:lnTo>
                  <a:lnTo>
                    <a:pt x="4" y="406"/>
                  </a:lnTo>
                  <a:lnTo>
                    <a:pt x="4" y="408"/>
                  </a:lnTo>
                  <a:lnTo>
                    <a:pt x="4" y="412"/>
                  </a:lnTo>
                  <a:lnTo>
                    <a:pt x="6" y="414"/>
                  </a:lnTo>
                  <a:lnTo>
                    <a:pt x="6" y="418"/>
                  </a:lnTo>
                  <a:lnTo>
                    <a:pt x="8" y="418"/>
                  </a:lnTo>
                  <a:lnTo>
                    <a:pt x="20" y="416"/>
                  </a:lnTo>
                  <a:lnTo>
                    <a:pt x="31" y="414"/>
                  </a:lnTo>
                  <a:lnTo>
                    <a:pt x="41" y="412"/>
                  </a:lnTo>
                  <a:lnTo>
                    <a:pt x="53" y="410"/>
                  </a:lnTo>
                  <a:lnTo>
                    <a:pt x="63" y="408"/>
                  </a:lnTo>
                  <a:lnTo>
                    <a:pt x="74" y="406"/>
                  </a:lnTo>
                  <a:lnTo>
                    <a:pt x="86" y="404"/>
                  </a:lnTo>
                  <a:lnTo>
                    <a:pt x="96" y="400"/>
                  </a:lnTo>
                  <a:lnTo>
                    <a:pt x="106" y="398"/>
                  </a:lnTo>
                  <a:lnTo>
                    <a:pt x="119" y="396"/>
                  </a:lnTo>
                  <a:lnTo>
                    <a:pt x="129" y="394"/>
                  </a:lnTo>
                  <a:lnTo>
                    <a:pt x="139" y="392"/>
                  </a:lnTo>
                  <a:lnTo>
                    <a:pt x="152" y="390"/>
                  </a:lnTo>
                  <a:lnTo>
                    <a:pt x="162" y="388"/>
                  </a:lnTo>
                  <a:lnTo>
                    <a:pt x="172" y="386"/>
                  </a:lnTo>
                  <a:lnTo>
                    <a:pt x="184" y="383"/>
                  </a:lnTo>
                  <a:lnTo>
                    <a:pt x="195" y="381"/>
                  </a:lnTo>
                  <a:lnTo>
                    <a:pt x="205" y="379"/>
                  </a:lnTo>
                  <a:lnTo>
                    <a:pt x="217" y="377"/>
                  </a:lnTo>
                  <a:lnTo>
                    <a:pt x="227" y="375"/>
                  </a:lnTo>
                  <a:lnTo>
                    <a:pt x="238" y="371"/>
                  </a:lnTo>
                  <a:lnTo>
                    <a:pt x="250" y="369"/>
                  </a:lnTo>
                  <a:lnTo>
                    <a:pt x="260" y="367"/>
                  </a:lnTo>
                  <a:lnTo>
                    <a:pt x="270" y="365"/>
                  </a:lnTo>
                  <a:lnTo>
                    <a:pt x="283" y="363"/>
                  </a:lnTo>
                  <a:lnTo>
                    <a:pt x="293" y="361"/>
                  </a:lnTo>
                  <a:lnTo>
                    <a:pt x="303" y="359"/>
                  </a:lnTo>
                  <a:lnTo>
                    <a:pt x="315" y="355"/>
                  </a:lnTo>
                  <a:lnTo>
                    <a:pt x="326" y="353"/>
                  </a:lnTo>
                  <a:lnTo>
                    <a:pt x="336" y="351"/>
                  </a:lnTo>
                  <a:lnTo>
                    <a:pt x="348" y="349"/>
                  </a:lnTo>
                  <a:lnTo>
                    <a:pt x="358" y="347"/>
                  </a:lnTo>
                  <a:lnTo>
                    <a:pt x="360" y="345"/>
                  </a:lnTo>
                  <a:lnTo>
                    <a:pt x="360" y="345"/>
                  </a:lnTo>
                  <a:lnTo>
                    <a:pt x="360" y="347"/>
                  </a:lnTo>
                  <a:lnTo>
                    <a:pt x="362" y="349"/>
                  </a:lnTo>
                  <a:lnTo>
                    <a:pt x="367" y="349"/>
                  </a:lnTo>
                  <a:lnTo>
                    <a:pt x="369" y="349"/>
                  </a:lnTo>
                  <a:lnTo>
                    <a:pt x="369" y="351"/>
                  </a:lnTo>
                  <a:lnTo>
                    <a:pt x="371" y="353"/>
                  </a:lnTo>
                  <a:lnTo>
                    <a:pt x="371" y="355"/>
                  </a:lnTo>
                  <a:lnTo>
                    <a:pt x="373" y="357"/>
                  </a:lnTo>
                  <a:lnTo>
                    <a:pt x="377" y="355"/>
                  </a:lnTo>
                  <a:lnTo>
                    <a:pt x="377" y="355"/>
                  </a:lnTo>
                  <a:lnTo>
                    <a:pt x="379" y="355"/>
                  </a:lnTo>
                  <a:lnTo>
                    <a:pt x="383" y="357"/>
                  </a:lnTo>
                  <a:lnTo>
                    <a:pt x="383" y="357"/>
                  </a:lnTo>
                  <a:lnTo>
                    <a:pt x="385" y="357"/>
                  </a:lnTo>
                  <a:lnTo>
                    <a:pt x="385" y="359"/>
                  </a:lnTo>
                  <a:lnTo>
                    <a:pt x="385" y="359"/>
                  </a:lnTo>
                  <a:lnTo>
                    <a:pt x="385" y="361"/>
                  </a:lnTo>
                  <a:lnTo>
                    <a:pt x="385" y="363"/>
                  </a:lnTo>
                  <a:lnTo>
                    <a:pt x="387" y="363"/>
                  </a:lnTo>
                  <a:lnTo>
                    <a:pt x="389" y="363"/>
                  </a:lnTo>
                  <a:lnTo>
                    <a:pt x="389" y="365"/>
                  </a:lnTo>
                  <a:lnTo>
                    <a:pt x="389" y="367"/>
                  </a:lnTo>
                  <a:lnTo>
                    <a:pt x="389" y="367"/>
                  </a:lnTo>
                  <a:lnTo>
                    <a:pt x="389" y="369"/>
                  </a:lnTo>
                  <a:lnTo>
                    <a:pt x="391" y="371"/>
                  </a:lnTo>
                  <a:lnTo>
                    <a:pt x="391" y="375"/>
                  </a:lnTo>
                  <a:lnTo>
                    <a:pt x="391" y="379"/>
                  </a:lnTo>
                  <a:lnTo>
                    <a:pt x="393" y="381"/>
                  </a:lnTo>
                  <a:lnTo>
                    <a:pt x="393" y="381"/>
                  </a:lnTo>
                  <a:lnTo>
                    <a:pt x="399" y="390"/>
                  </a:lnTo>
                  <a:lnTo>
                    <a:pt x="401" y="390"/>
                  </a:lnTo>
                  <a:lnTo>
                    <a:pt x="403" y="392"/>
                  </a:lnTo>
                  <a:lnTo>
                    <a:pt x="405" y="392"/>
                  </a:lnTo>
                  <a:lnTo>
                    <a:pt x="408" y="392"/>
                  </a:lnTo>
                  <a:lnTo>
                    <a:pt x="410" y="394"/>
                  </a:lnTo>
                  <a:lnTo>
                    <a:pt x="410" y="394"/>
                  </a:lnTo>
                  <a:lnTo>
                    <a:pt x="412" y="394"/>
                  </a:lnTo>
                  <a:lnTo>
                    <a:pt x="416" y="392"/>
                  </a:lnTo>
                  <a:lnTo>
                    <a:pt x="418" y="394"/>
                  </a:lnTo>
                  <a:lnTo>
                    <a:pt x="420" y="394"/>
                  </a:lnTo>
                  <a:lnTo>
                    <a:pt x="420" y="394"/>
                  </a:lnTo>
                  <a:lnTo>
                    <a:pt x="420" y="394"/>
                  </a:lnTo>
                  <a:lnTo>
                    <a:pt x="422" y="392"/>
                  </a:lnTo>
                  <a:lnTo>
                    <a:pt x="422" y="394"/>
                  </a:lnTo>
                  <a:lnTo>
                    <a:pt x="422" y="394"/>
                  </a:lnTo>
                  <a:lnTo>
                    <a:pt x="424" y="396"/>
                  </a:lnTo>
                  <a:lnTo>
                    <a:pt x="424" y="396"/>
                  </a:lnTo>
                  <a:lnTo>
                    <a:pt x="426" y="398"/>
                  </a:lnTo>
                  <a:lnTo>
                    <a:pt x="428" y="400"/>
                  </a:lnTo>
                  <a:lnTo>
                    <a:pt x="436" y="402"/>
                  </a:lnTo>
                  <a:lnTo>
                    <a:pt x="444" y="406"/>
                  </a:lnTo>
                  <a:lnTo>
                    <a:pt x="455" y="408"/>
                  </a:lnTo>
                  <a:lnTo>
                    <a:pt x="463" y="412"/>
                  </a:lnTo>
                  <a:lnTo>
                    <a:pt x="473" y="414"/>
                  </a:lnTo>
                  <a:lnTo>
                    <a:pt x="481" y="416"/>
                  </a:lnTo>
                  <a:lnTo>
                    <a:pt x="492" y="420"/>
                  </a:lnTo>
                  <a:lnTo>
                    <a:pt x="500" y="422"/>
                  </a:lnTo>
                  <a:close/>
                  <a:moveTo>
                    <a:pt x="45" y="302"/>
                  </a:moveTo>
                  <a:lnTo>
                    <a:pt x="47" y="302"/>
                  </a:lnTo>
                  <a:lnTo>
                    <a:pt x="47" y="304"/>
                  </a:lnTo>
                  <a:lnTo>
                    <a:pt x="49" y="304"/>
                  </a:lnTo>
                  <a:lnTo>
                    <a:pt x="51" y="304"/>
                  </a:lnTo>
                  <a:lnTo>
                    <a:pt x="53" y="297"/>
                  </a:lnTo>
                  <a:lnTo>
                    <a:pt x="53" y="295"/>
                  </a:lnTo>
                  <a:lnTo>
                    <a:pt x="53" y="295"/>
                  </a:lnTo>
                  <a:lnTo>
                    <a:pt x="51" y="295"/>
                  </a:lnTo>
                  <a:lnTo>
                    <a:pt x="49" y="295"/>
                  </a:lnTo>
                  <a:lnTo>
                    <a:pt x="47" y="295"/>
                  </a:lnTo>
                  <a:lnTo>
                    <a:pt x="47" y="295"/>
                  </a:lnTo>
                  <a:lnTo>
                    <a:pt x="45" y="295"/>
                  </a:lnTo>
                  <a:lnTo>
                    <a:pt x="45" y="297"/>
                  </a:lnTo>
                  <a:lnTo>
                    <a:pt x="45" y="302"/>
                  </a:lnTo>
                  <a:lnTo>
                    <a:pt x="45" y="302"/>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NY</a:t>
              </a:r>
            </a:p>
          </p:txBody>
        </p:sp>
        <p:sp>
          <p:nvSpPr>
            <p:cNvPr id="84" name="Freeform 24">
              <a:extLst>
                <a:ext uri="{FF2B5EF4-FFF2-40B4-BE49-F238E27FC236}">
                  <a16:creationId xmlns:a16="http://schemas.microsoft.com/office/drawing/2014/main" id="{18DC7FE5-0D6B-AECB-67E7-E78B44BED168}"/>
                </a:ext>
              </a:extLst>
            </p:cNvPr>
            <p:cNvSpPr>
              <a:spLocks noEditPoints="1"/>
            </p:cNvSpPr>
            <p:nvPr/>
          </p:nvSpPr>
          <p:spPr bwMode="auto">
            <a:xfrm>
              <a:off x="4767" y="740"/>
              <a:ext cx="117" cy="258"/>
            </a:xfrm>
            <a:custGeom>
              <a:avLst/>
              <a:gdLst>
                <a:gd name="T0" fmla="*/ 99 w 117"/>
                <a:gd name="T1" fmla="*/ 197 h 258"/>
                <a:gd name="T2" fmla="*/ 105 w 117"/>
                <a:gd name="T3" fmla="*/ 190 h 258"/>
                <a:gd name="T4" fmla="*/ 115 w 117"/>
                <a:gd name="T5" fmla="*/ 156 h 258"/>
                <a:gd name="T6" fmla="*/ 109 w 117"/>
                <a:gd name="T7" fmla="*/ 182 h 258"/>
                <a:gd name="T8" fmla="*/ 115 w 117"/>
                <a:gd name="T9" fmla="*/ 156 h 258"/>
                <a:gd name="T10" fmla="*/ 115 w 117"/>
                <a:gd name="T11" fmla="*/ 121 h 258"/>
                <a:gd name="T12" fmla="*/ 115 w 117"/>
                <a:gd name="T13" fmla="*/ 98 h 258"/>
                <a:gd name="T14" fmla="*/ 109 w 117"/>
                <a:gd name="T15" fmla="*/ 84 h 258"/>
                <a:gd name="T16" fmla="*/ 90 w 117"/>
                <a:gd name="T17" fmla="*/ 86 h 258"/>
                <a:gd name="T18" fmla="*/ 84 w 117"/>
                <a:gd name="T19" fmla="*/ 76 h 258"/>
                <a:gd name="T20" fmla="*/ 86 w 117"/>
                <a:gd name="T21" fmla="*/ 63 h 258"/>
                <a:gd name="T22" fmla="*/ 90 w 117"/>
                <a:gd name="T23" fmla="*/ 55 h 258"/>
                <a:gd name="T24" fmla="*/ 97 w 117"/>
                <a:gd name="T25" fmla="*/ 55 h 258"/>
                <a:gd name="T26" fmla="*/ 99 w 117"/>
                <a:gd name="T27" fmla="*/ 43 h 258"/>
                <a:gd name="T28" fmla="*/ 74 w 117"/>
                <a:gd name="T29" fmla="*/ 14 h 258"/>
                <a:gd name="T30" fmla="*/ 27 w 117"/>
                <a:gd name="T31" fmla="*/ 2 h 258"/>
                <a:gd name="T32" fmla="*/ 23 w 117"/>
                <a:gd name="T33" fmla="*/ 6 h 258"/>
                <a:gd name="T34" fmla="*/ 15 w 117"/>
                <a:gd name="T35" fmla="*/ 29 h 258"/>
                <a:gd name="T36" fmla="*/ 13 w 117"/>
                <a:gd name="T37" fmla="*/ 33 h 258"/>
                <a:gd name="T38" fmla="*/ 2 w 117"/>
                <a:gd name="T39" fmla="*/ 45 h 258"/>
                <a:gd name="T40" fmla="*/ 4 w 117"/>
                <a:gd name="T41" fmla="*/ 51 h 258"/>
                <a:gd name="T42" fmla="*/ 9 w 117"/>
                <a:gd name="T43" fmla="*/ 53 h 258"/>
                <a:gd name="T44" fmla="*/ 9 w 117"/>
                <a:gd name="T45" fmla="*/ 65 h 258"/>
                <a:gd name="T46" fmla="*/ 2 w 117"/>
                <a:gd name="T47" fmla="*/ 72 h 258"/>
                <a:gd name="T48" fmla="*/ 4 w 117"/>
                <a:gd name="T49" fmla="*/ 80 h 258"/>
                <a:gd name="T50" fmla="*/ 9 w 117"/>
                <a:gd name="T51" fmla="*/ 90 h 258"/>
                <a:gd name="T52" fmla="*/ 23 w 117"/>
                <a:gd name="T53" fmla="*/ 104 h 258"/>
                <a:gd name="T54" fmla="*/ 39 w 117"/>
                <a:gd name="T55" fmla="*/ 113 h 258"/>
                <a:gd name="T56" fmla="*/ 52 w 117"/>
                <a:gd name="T57" fmla="*/ 129 h 258"/>
                <a:gd name="T58" fmla="*/ 39 w 117"/>
                <a:gd name="T59" fmla="*/ 137 h 258"/>
                <a:gd name="T60" fmla="*/ 29 w 117"/>
                <a:gd name="T61" fmla="*/ 154 h 258"/>
                <a:gd name="T62" fmla="*/ 27 w 117"/>
                <a:gd name="T63" fmla="*/ 162 h 258"/>
                <a:gd name="T64" fmla="*/ 21 w 117"/>
                <a:gd name="T65" fmla="*/ 166 h 258"/>
                <a:gd name="T66" fmla="*/ 4 w 117"/>
                <a:gd name="T67" fmla="*/ 184 h 258"/>
                <a:gd name="T68" fmla="*/ 2 w 117"/>
                <a:gd name="T69" fmla="*/ 190 h 258"/>
                <a:gd name="T70" fmla="*/ 4 w 117"/>
                <a:gd name="T71" fmla="*/ 201 h 258"/>
                <a:gd name="T72" fmla="*/ 4 w 117"/>
                <a:gd name="T73" fmla="*/ 211 h 258"/>
                <a:gd name="T74" fmla="*/ 23 w 117"/>
                <a:gd name="T75" fmla="*/ 221 h 258"/>
                <a:gd name="T76" fmla="*/ 29 w 117"/>
                <a:gd name="T77" fmla="*/ 225 h 258"/>
                <a:gd name="T78" fmla="*/ 41 w 117"/>
                <a:gd name="T79" fmla="*/ 229 h 258"/>
                <a:gd name="T80" fmla="*/ 45 w 117"/>
                <a:gd name="T81" fmla="*/ 233 h 258"/>
                <a:gd name="T82" fmla="*/ 54 w 117"/>
                <a:gd name="T83" fmla="*/ 229 h 258"/>
                <a:gd name="T84" fmla="*/ 62 w 117"/>
                <a:gd name="T85" fmla="*/ 229 h 258"/>
                <a:gd name="T86" fmla="*/ 64 w 117"/>
                <a:gd name="T87" fmla="*/ 252 h 258"/>
                <a:gd name="T88" fmla="*/ 68 w 117"/>
                <a:gd name="T89" fmla="*/ 256 h 258"/>
                <a:gd name="T90" fmla="*/ 76 w 117"/>
                <a:gd name="T91" fmla="*/ 242 h 258"/>
                <a:gd name="T92" fmla="*/ 82 w 117"/>
                <a:gd name="T93" fmla="*/ 233 h 258"/>
                <a:gd name="T94" fmla="*/ 78 w 117"/>
                <a:gd name="T95" fmla="*/ 233 h 258"/>
                <a:gd name="T96" fmla="*/ 86 w 117"/>
                <a:gd name="T97" fmla="*/ 219 h 258"/>
                <a:gd name="T98" fmla="*/ 82 w 117"/>
                <a:gd name="T99" fmla="*/ 213 h 258"/>
                <a:gd name="T100" fmla="*/ 90 w 117"/>
                <a:gd name="T101" fmla="*/ 205 h 258"/>
                <a:gd name="T102" fmla="*/ 95 w 117"/>
                <a:gd name="T103" fmla="*/ 207 h 258"/>
                <a:gd name="T104" fmla="*/ 95 w 117"/>
                <a:gd name="T105" fmla="*/ 197 h 258"/>
                <a:gd name="T106" fmla="*/ 99 w 117"/>
                <a:gd name="T107" fmla="*/ 193 h 258"/>
                <a:gd name="T108" fmla="*/ 97 w 117"/>
                <a:gd name="T109" fmla="*/ 182 h 258"/>
                <a:gd name="T110" fmla="*/ 105 w 117"/>
                <a:gd name="T111" fmla="*/ 184 h 258"/>
                <a:gd name="T112" fmla="*/ 105 w 117"/>
                <a:gd name="T113" fmla="*/ 174 h 258"/>
                <a:gd name="T114" fmla="*/ 111 w 117"/>
                <a:gd name="T115" fmla="*/ 166 h 258"/>
                <a:gd name="T116" fmla="*/ 109 w 117"/>
                <a:gd name="T117" fmla="*/ 154 h 258"/>
                <a:gd name="T118" fmla="*/ 111 w 117"/>
                <a:gd name="T119" fmla="*/ 139 h 258"/>
                <a:gd name="T120" fmla="*/ 109 w 117"/>
                <a:gd name="T121" fmla="*/ 131 h 258"/>
                <a:gd name="T122" fmla="*/ 113 w 117"/>
                <a:gd name="T123" fmla="*/ 123 h 258"/>
                <a:gd name="T124" fmla="*/ 115 w 117"/>
                <a:gd name="T125" fmla="*/ 12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7" h="258">
                  <a:moveTo>
                    <a:pt x="101" y="190"/>
                  </a:moveTo>
                  <a:lnTo>
                    <a:pt x="103" y="193"/>
                  </a:lnTo>
                  <a:lnTo>
                    <a:pt x="101" y="193"/>
                  </a:lnTo>
                  <a:lnTo>
                    <a:pt x="101" y="197"/>
                  </a:lnTo>
                  <a:lnTo>
                    <a:pt x="101" y="197"/>
                  </a:lnTo>
                  <a:lnTo>
                    <a:pt x="99" y="197"/>
                  </a:lnTo>
                  <a:lnTo>
                    <a:pt x="99" y="197"/>
                  </a:lnTo>
                  <a:lnTo>
                    <a:pt x="97" y="195"/>
                  </a:lnTo>
                  <a:lnTo>
                    <a:pt x="97" y="197"/>
                  </a:lnTo>
                  <a:lnTo>
                    <a:pt x="99" y="199"/>
                  </a:lnTo>
                  <a:lnTo>
                    <a:pt x="101" y="199"/>
                  </a:lnTo>
                  <a:lnTo>
                    <a:pt x="103" y="197"/>
                  </a:lnTo>
                  <a:lnTo>
                    <a:pt x="105" y="193"/>
                  </a:lnTo>
                  <a:lnTo>
                    <a:pt x="105" y="190"/>
                  </a:lnTo>
                  <a:lnTo>
                    <a:pt x="107" y="190"/>
                  </a:lnTo>
                  <a:lnTo>
                    <a:pt x="107" y="188"/>
                  </a:lnTo>
                  <a:lnTo>
                    <a:pt x="107" y="188"/>
                  </a:lnTo>
                  <a:lnTo>
                    <a:pt x="103" y="188"/>
                  </a:lnTo>
                  <a:lnTo>
                    <a:pt x="101" y="190"/>
                  </a:lnTo>
                  <a:close/>
                  <a:moveTo>
                    <a:pt x="115" y="156"/>
                  </a:moveTo>
                  <a:lnTo>
                    <a:pt x="115" y="156"/>
                  </a:lnTo>
                  <a:lnTo>
                    <a:pt x="115" y="160"/>
                  </a:lnTo>
                  <a:lnTo>
                    <a:pt x="115" y="162"/>
                  </a:lnTo>
                  <a:lnTo>
                    <a:pt x="109" y="176"/>
                  </a:lnTo>
                  <a:lnTo>
                    <a:pt x="109" y="180"/>
                  </a:lnTo>
                  <a:lnTo>
                    <a:pt x="109" y="180"/>
                  </a:lnTo>
                  <a:lnTo>
                    <a:pt x="109" y="180"/>
                  </a:lnTo>
                  <a:lnTo>
                    <a:pt x="109" y="182"/>
                  </a:lnTo>
                  <a:lnTo>
                    <a:pt x="111" y="178"/>
                  </a:lnTo>
                  <a:lnTo>
                    <a:pt x="113" y="170"/>
                  </a:lnTo>
                  <a:lnTo>
                    <a:pt x="115" y="166"/>
                  </a:lnTo>
                  <a:lnTo>
                    <a:pt x="115" y="162"/>
                  </a:lnTo>
                  <a:lnTo>
                    <a:pt x="117" y="158"/>
                  </a:lnTo>
                  <a:lnTo>
                    <a:pt x="117" y="154"/>
                  </a:lnTo>
                  <a:lnTo>
                    <a:pt x="115" y="156"/>
                  </a:lnTo>
                  <a:close/>
                  <a:moveTo>
                    <a:pt x="115" y="139"/>
                  </a:moveTo>
                  <a:lnTo>
                    <a:pt x="117" y="135"/>
                  </a:lnTo>
                  <a:lnTo>
                    <a:pt x="115" y="135"/>
                  </a:lnTo>
                  <a:lnTo>
                    <a:pt x="115" y="133"/>
                  </a:lnTo>
                  <a:lnTo>
                    <a:pt x="115" y="127"/>
                  </a:lnTo>
                  <a:lnTo>
                    <a:pt x="115" y="123"/>
                  </a:lnTo>
                  <a:lnTo>
                    <a:pt x="115" y="121"/>
                  </a:lnTo>
                  <a:lnTo>
                    <a:pt x="113" y="119"/>
                  </a:lnTo>
                  <a:lnTo>
                    <a:pt x="113" y="119"/>
                  </a:lnTo>
                  <a:lnTo>
                    <a:pt x="113" y="115"/>
                  </a:lnTo>
                  <a:lnTo>
                    <a:pt x="113" y="106"/>
                  </a:lnTo>
                  <a:lnTo>
                    <a:pt x="113" y="104"/>
                  </a:lnTo>
                  <a:lnTo>
                    <a:pt x="113" y="100"/>
                  </a:lnTo>
                  <a:lnTo>
                    <a:pt x="115" y="98"/>
                  </a:lnTo>
                  <a:lnTo>
                    <a:pt x="115" y="96"/>
                  </a:lnTo>
                  <a:lnTo>
                    <a:pt x="111" y="82"/>
                  </a:lnTo>
                  <a:lnTo>
                    <a:pt x="109" y="80"/>
                  </a:lnTo>
                  <a:lnTo>
                    <a:pt x="107" y="78"/>
                  </a:lnTo>
                  <a:lnTo>
                    <a:pt x="107" y="80"/>
                  </a:lnTo>
                  <a:lnTo>
                    <a:pt x="107" y="82"/>
                  </a:lnTo>
                  <a:lnTo>
                    <a:pt x="109" y="84"/>
                  </a:lnTo>
                  <a:lnTo>
                    <a:pt x="111" y="84"/>
                  </a:lnTo>
                  <a:lnTo>
                    <a:pt x="109" y="86"/>
                  </a:lnTo>
                  <a:lnTo>
                    <a:pt x="105" y="84"/>
                  </a:lnTo>
                  <a:lnTo>
                    <a:pt x="97" y="84"/>
                  </a:lnTo>
                  <a:lnTo>
                    <a:pt x="95" y="84"/>
                  </a:lnTo>
                  <a:lnTo>
                    <a:pt x="90" y="86"/>
                  </a:lnTo>
                  <a:lnTo>
                    <a:pt x="90" y="86"/>
                  </a:lnTo>
                  <a:lnTo>
                    <a:pt x="88" y="84"/>
                  </a:lnTo>
                  <a:lnTo>
                    <a:pt x="86" y="84"/>
                  </a:lnTo>
                  <a:lnTo>
                    <a:pt x="84" y="84"/>
                  </a:lnTo>
                  <a:lnTo>
                    <a:pt x="84" y="82"/>
                  </a:lnTo>
                  <a:lnTo>
                    <a:pt x="84" y="80"/>
                  </a:lnTo>
                  <a:lnTo>
                    <a:pt x="84" y="78"/>
                  </a:lnTo>
                  <a:lnTo>
                    <a:pt x="84" y="76"/>
                  </a:lnTo>
                  <a:lnTo>
                    <a:pt x="84" y="76"/>
                  </a:lnTo>
                  <a:lnTo>
                    <a:pt x="84" y="74"/>
                  </a:lnTo>
                  <a:lnTo>
                    <a:pt x="84" y="72"/>
                  </a:lnTo>
                  <a:lnTo>
                    <a:pt x="86" y="72"/>
                  </a:lnTo>
                  <a:lnTo>
                    <a:pt x="86" y="70"/>
                  </a:lnTo>
                  <a:lnTo>
                    <a:pt x="86" y="65"/>
                  </a:lnTo>
                  <a:lnTo>
                    <a:pt x="86" y="63"/>
                  </a:lnTo>
                  <a:lnTo>
                    <a:pt x="86" y="61"/>
                  </a:lnTo>
                  <a:lnTo>
                    <a:pt x="88" y="61"/>
                  </a:lnTo>
                  <a:lnTo>
                    <a:pt x="88" y="59"/>
                  </a:lnTo>
                  <a:lnTo>
                    <a:pt x="88" y="59"/>
                  </a:lnTo>
                  <a:lnTo>
                    <a:pt x="88" y="57"/>
                  </a:lnTo>
                  <a:lnTo>
                    <a:pt x="90" y="55"/>
                  </a:lnTo>
                  <a:lnTo>
                    <a:pt x="90" y="55"/>
                  </a:lnTo>
                  <a:lnTo>
                    <a:pt x="93" y="55"/>
                  </a:lnTo>
                  <a:lnTo>
                    <a:pt x="90" y="61"/>
                  </a:lnTo>
                  <a:lnTo>
                    <a:pt x="93" y="59"/>
                  </a:lnTo>
                  <a:lnTo>
                    <a:pt x="93" y="59"/>
                  </a:lnTo>
                  <a:lnTo>
                    <a:pt x="95" y="59"/>
                  </a:lnTo>
                  <a:lnTo>
                    <a:pt x="95" y="57"/>
                  </a:lnTo>
                  <a:lnTo>
                    <a:pt x="97" y="55"/>
                  </a:lnTo>
                  <a:lnTo>
                    <a:pt x="99" y="53"/>
                  </a:lnTo>
                  <a:lnTo>
                    <a:pt x="99" y="51"/>
                  </a:lnTo>
                  <a:lnTo>
                    <a:pt x="99" y="51"/>
                  </a:lnTo>
                  <a:lnTo>
                    <a:pt x="99" y="49"/>
                  </a:lnTo>
                  <a:lnTo>
                    <a:pt x="99" y="49"/>
                  </a:lnTo>
                  <a:lnTo>
                    <a:pt x="99" y="47"/>
                  </a:lnTo>
                  <a:lnTo>
                    <a:pt x="99" y="43"/>
                  </a:lnTo>
                  <a:lnTo>
                    <a:pt x="101" y="37"/>
                  </a:lnTo>
                  <a:lnTo>
                    <a:pt x="101" y="29"/>
                  </a:lnTo>
                  <a:lnTo>
                    <a:pt x="101" y="24"/>
                  </a:lnTo>
                  <a:lnTo>
                    <a:pt x="101" y="22"/>
                  </a:lnTo>
                  <a:lnTo>
                    <a:pt x="93" y="20"/>
                  </a:lnTo>
                  <a:lnTo>
                    <a:pt x="82" y="16"/>
                  </a:lnTo>
                  <a:lnTo>
                    <a:pt x="74" y="14"/>
                  </a:lnTo>
                  <a:lnTo>
                    <a:pt x="64" y="12"/>
                  </a:lnTo>
                  <a:lnTo>
                    <a:pt x="56" y="8"/>
                  </a:lnTo>
                  <a:lnTo>
                    <a:pt x="45" y="6"/>
                  </a:lnTo>
                  <a:lnTo>
                    <a:pt x="37" y="2"/>
                  </a:lnTo>
                  <a:lnTo>
                    <a:pt x="29" y="0"/>
                  </a:lnTo>
                  <a:lnTo>
                    <a:pt x="29" y="0"/>
                  </a:lnTo>
                  <a:lnTo>
                    <a:pt x="27" y="2"/>
                  </a:lnTo>
                  <a:lnTo>
                    <a:pt x="25" y="2"/>
                  </a:lnTo>
                  <a:lnTo>
                    <a:pt x="25" y="2"/>
                  </a:lnTo>
                  <a:lnTo>
                    <a:pt x="23" y="4"/>
                  </a:lnTo>
                  <a:lnTo>
                    <a:pt x="23" y="4"/>
                  </a:lnTo>
                  <a:lnTo>
                    <a:pt x="23" y="4"/>
                  </a:lnTo>
                  <a:lnTo>
                    <a:pt x="23" y="4"/>
                  </a:lnTo>
                  <a:lnTo>
                    <a:pt x="23" y="6"/>
                  </a:lnTo>
                  <a:lnTo>
                    <a:pt x="23" y="6"/>
                  </a:lnTo>
                  <a:lnTo>
                    <a:pt x="19" y="12"/>
                  </a:lnTo>
                  <a:lnTo>
                    <a:pt x="19" y="12"/>
                  </a:lnTo>
                  <a:lnTo>
                    <a:pt x="19" y="14"/>
                  </a:lnTo>
                  <a:lnTo>
                    <a:pt x="19" y="16"/>
                  </a:lnTo>
                  <a:lnTo>
                    <a:pt x="17" y="22"/>
                  </a:lnTo>
                  <a:lnTo>
                    <a:pt x="15" y="29"/>
                  </a:lnTo>
                  <a:lnTo>
                    <a:pt x="13" y="29"/>
                  </a:lnTo>
                  <a:lnTo>
                    <a:pt x="13" y="29"/>
                  </a:lnTo>
                  <a:lnTo>
                    <a:pt x="13" y="31"/>
                  </a:lnTo>
                  <a:lnTo>
                    <a:pt x="13" y="31"/>
                  </a:lnTo>
                  <a:lnTo>
                    <a:pt x="11" y="31"/>
                  </a:lnTo>
                  <a:lnTo>
                    <a:pt x="13" y="33"/>
                  </a:lnTo>
                  <a:lnTo>
                    <a:pt x="13" y="33"/>
                  </a:lnTo>
                  <a:lnTo>
                    <a:pt x="13" y="33"/>
                  </a:lnTo>
                  <a:lnTo>
                    <a:pt x="9" y="39"/>
                  </a:lnTo>
                  <a:lnTo>
                    <a:pt x="9" y="39"/>
                  </a:lnTo>
                  <a:lnTo>
                    <a:pt x="6" y="41"/>
                  </a:lnTo>
                  <a:lnTo>
                    <a:pt x="4" y="41"/>
                  </a:lnTo>
                  <a:lnTo>
                    <a:pt x="4" y="43"/>
                  </a:lnTo>
                  <a:lnTo>
                    <a:pt x="2" y="45"/>
                  </a:lnTo>
                  <a:lnTo>
                    <a:pt x="2" y="47"/>
                  </a:lnTo>
                  <a:lnTo>
                    <a:pt x="2" y="47"/>
                  </a:lnTo>
                  <a:lnTo>
                    <a:pt x="2" y="49"/>
                  </a:lnTo>
                  <a:lnTo>
                    <a:pt x="4" y="49"/>
                  </a:lnTo>
                  <a:lnTo>
                    <a:pt x="4" y="49"/>
                  </a:lnTo>
                  <a:lnTo>
                    <a:pt x="4" y="51"/>
                  </a:lnTo>
                  <a:lnTo>
                    <a:pt x="4" y="51"/>
                  </a:lnTo>
                  <a:lnTo>
                    <a:pt x="4" y="51"/>
                  </a:lnTo>
                  <a:lnTo>
                    <a:pt x="4" y="51"/>
                  </a:lnTo>
                  <a:lnTo>
                    <a:pt x="6" y="51"/>
                  </a:lnTo>
                  <a:lnTo>
                    <a:pt x="6" y="51"/>
                  </a:lnTo>
                  <a:lnTo>
                    <a:pt x="6" y="51"/>
                  </a:lnTo>
                  <a:lnTo>
                    <a:pt x="6" y="51"/>
                  </a:lnTo>
                  <a:lnTo>
                    <a:pt x="9" y="53"/>
                  </a:lnTo>
                  <a:lnTo>
                    <a:pt x="11" y="55"/>
                  </a:lnTo>
                  <a:lnTo>
                    <a:pt x="11" y="57"/>
                  </a:lnTo>
                  <a:lnTo>
                    <a:pt x="11" y="59"/>
                  </a:lnTo>
                  <a:lnTo>
                    <a:pt x="11" y="59"/>
                  </a:lnTo>
                  <a:lnTo>
                    <a:pt x="9" y="61"/>
                  </a:lnTo>
                  <a:lnTo>
                    <a:pt x="9" y="63"/>
                  </a:lnTo>
                  <a:lnTo>
                    <a:pt x="9" y="65"/>
                  </a:lnTo>
                  <a:lnTo>
                    <a:pt x="9" y="68"/>
                  </a:lnTo>
                  <a:lnTo>
                    <a:pt x="6" y="68"/>
                  </a:lnTo>
                  <a:lnTo>
                    <a:pt x="4" y="68"/>
                  </a:lnTo>
                  <a:lnTo>
                    <a:pt x="4" y="70"/>
                  </a:lnTo>
                  <a:lnTo>
                    <a:pt x="4" y="70"/>
                  </a:lnTo>
                  <a:lnTo>
                    <a:pt x="2" y="70"/>
                  </a:lnTo>
                  <a:lnTo>
                    <a:pt x="2" y="72"/>
                  </a:lnTo>
                  <a:lnTo>
                    <a:pt x="2" y="72"/>
                  </a:lnTo>
                  <a:lnTo>
                    <a:pt x="4" y="72"/>
                  </a:lnTo>
                  <a:lnTo>
                    <a:pt x="4" y="72"/>
                  </a:lnTo>
                  <a:lnTo>
                    <a:pt x="4" y="76"/>
                  </a:lnTo>
                  <a:lnTo>
                    <a:pt x="4" y="78"/>
                  </a:lnTo>
                  <a:lnTo>
                    <a:pt x="4" y="78"/>
                  </a:lnTo>
                  <a:lnTo>
                    <a:pt x="4" y="80"/>
                  </a:lnTo>
                  <a:lnTo>
                    <a:pt x="4" y="80"/>
                  </a:lnTo>
                  <a:lnTo>
                    <a:pt x="4" y="82"/>
                  </a:lnTo>
                  <a:lnTo>
                    <a:pt x="6" y="84"/>
                  </a:lnTo>
                  <a:lnTo>
                    <a:pt x="6" y="86"/>
                  </a:lnTo>
                  <a:lnTo>
                    <a:pt x="6" y="86"/>
                  </a:lnTo>
                  <a:lnTo>
                    <a:pt x="6" y="88"/>
                  </a:lnTo>
                  <a:lnTo>
                    <a:pt x="9" y="90"/>
                  </a:lnTo>
                  <a:lnTo>
                    <a:pt x="9" y="90"/>
                  </a:lnTo>
                  <a:lnTo>
                    <a:pt x="11" y="90"/>
                  </a:lnTo>
                  <a:lnTo>
                    <a:pt x="17" y="90"/>
                  </a:lnTo>
                  <a:lnTo>
                    <a:pt x="19" y="92"/>
                  </a:lnTo>
                  <a:lnTo>
                    <a:pt x="21" y="100"/>
                  </a:lnTo>
                  <a:lnTo>
                    <a:pt x="21" y="102"/>
                  </a:lnTo>
                  <a:lnTo>
                    <a:pt x="23" y="104"/>
                  </a:lnTo>
                  <a:lnTo>
                    <a:pt x="25" y="104"/>
                  </a:lnTo>
                  <a:lnTo>
                    <a:pt x="29" y="102"/>
                  </a:lnTo>
                  <a:lnTo>
                    <a:pt x="31" y="104"/>
                  </a:lnTo>
                  <a:lnTo>
                    <a:pt x="33" y="108"/>
                  </a:lnTo>
                  <a:lnTo>
                    <a:pt x="37" y="111"/>
                  </a:lnTo>
                  <a:lnTo>
                    <a:pt x="39" y="111"/>
                  </a:lnTo>
                  <a:lnTo>
                    <a:pt x="39" y="113"/>
                  </a:lnTo>
                  <a:lnTo>
                    <a:pt x="41" y="115"/>
                  </a:lnTo>
                  <a:lnTo>
                    <a:pt x="45" y="119"/>
                  </a:lnTo>
                  <a:lnTo>
                    <a:pt x="52" y="121"/>
                  </a:lnTo>
                  <a:lnTo>
                    <a:pt x="54" y="123"/>
                  </a:lnTo>
                  <a:lnTo>
                    <a:pt x="56" y="125"/>
                  </a:lnTo>
                  <a:lnTo>
                    <a:pt x="54" y="127"/>
                  </a:lnTo>
                  <a:lnTo>
                    <a:pt x="52" y="129"/>
                  </a:lnTo>
                  <a:lnTo>
                    <a:pt x="50" y="129"/>
                  </a:lnTo>
                  <a:lnTo>
                    <a:pt x="47" y="131"/>
                  </a:lnTo>
                  <a:lnTo>
                    <a:pt x="47" y="131"/>
                  </a:lnTo>
                  <a:lnTo>
                    <a:pt x="45" y="135"/>
                  </a:lnTo>
                  <a:lnTo>
                    <a:pt x="43" y="135"/>
                  </a:lnTo>
                  <a:lnTo>
                    <a:pt x="41" y="137"/>
                  </a:lnTo>
                  <a:lnTo>
                    <a:pt x="39" y="137"/>
                  </a:lnTo>
                  <a:lnTo>
                    <a:pt x="37" y="141"/>
                  </a:lnTo>
                  <a:lnTo>
                    <a:pt x="37" y="143"/>
                  </a:lnTo>
                  <a:lnTo>
                    <a:pt x="35" y="145"/>
                  </a:lnTo>
                  <a:lnTo>
                    <a:pt x="33" y="147"/>
                  </a:lnTo>
                  <a:lnTo>
                    <a:pt x="31" y="152"/>
                  </a:lnTo>
                  <a:lnTo>
                    <a:pt x="31" y="152"/>
                  </a:lnTo>
                  <a:lnTo>
                    <a:pt x="29" y="154"/>
                  </a:lnTo>
                  <a:lnTo>
                    <a:pt x="29" y="154"/>
                  </a:lnTo>
                  <a:lnTo>
                    <a:pt x="29" y="156"/>
                  </a:lnTo>
                  <a:lnTo>
                    <a:pt x="29" y="156"/>
                  </a:lnTo>
                  <a:lnTo>
                    <a:pt x="31" y="158"/>
                  </a:lnTo>
                  <a:lnTo>
                    <a:pt x="29" y="160"/>
                  </a:lnTo>
                  <a:lnTo>
                    <a:pt x="29" y="162"/>
                  </a:lnTo>
                  <a:lnTo>
                    <a:pt x="27" y="162"/>
                  </a:lnTo>
                  <a:lnTo>
                    <a:pt x="27" y="162"/>
                  </a:lnTo>
                  <a:lnTo>
                    <a:pt x="25" y="162"/>
                  </a:lnTo>
                  <a:lnTo>
                    <a:pt x="25" y="162"/>
                  </a:lnTo>
                  <a:lnTo>
                    <a:pt x="25" y="162"/>
                  </a:lnTo>
                  <a:lnTo>
                    <a:pt x="23" y="164"/>
                  </a:lnTo>
                  <a:lnTo>
                    <a:pt x="21" y="166"/>
                  </a:lnTo>
                  <a:lnTo>
                    <a:pt x="21" y="166"/>
                  </a:lnTo>
                  <a:lnTo>
                    <a:pt x="19" y="166"/>
                  </a:lnTo>
                  <a:lnTo>
                    <a:pt x="15" y="168"/>
                  </a:lnTo>
                  <a:lnTo>
                    <a:pt x="11" y="172"/>
                  </a:lnTo>
                  <a:lnTo>
                    <a:pt x="9" y="174"/>
                  </a:lnTo>
                  <a:lnTo>
                    <a:pt x="6" y="178"/>
                  </a:lnTo>
                  <a:lnTo>
                    <a:pt x="4" y="180"/>
                  </a:lnTo>
                  <a:lnTo>
                    <a:pt x="4" y="184"/>
                  </a:lnTo>
                  <a:lnTo>
                    <a:pt x="4" y="184"/>
                  </a:lnTo>
                  <a:lnTo>
                    <a:pt x="4" y="184"/>
                  </a:lnTo>
                  <a:lnTo>
                    <a:pt x="4" y="186"/>
                  </a:lnTo>
                  <a:lnTo>
                    <a:pt x="4" y="186"/>
                  </a:lnTo>
                  <a:lnTo>
                    <a:pt x="2" y="188"/>
                  </a:lnTo>
                  <a:lnTo>
                    <a:pt x="2" y="188"/>
                  </a:lnTo>
                  <a:lnTo>
                    <a:pt x="2" y="190"/>
                  </a:lnTo>
                  <a:lnTo>
                    <a:pt x="2" y="193"/>
                  </a:lnTo>
                  <a:lnTo>
                    <a:pt x="2" y="193"/>
                  </a:lnTo>
                  <a:lnTo>
                    <a:pt x="0" y="195"/>
                  </a:lnTo>
                  <a:lnTo>
                    <a:pt x="0" y="197"/>
                  </a:lnTo>
                  <a:lnTo>
                    <a:pt x="0" y="197"/>
                  </a:lnTo>
                  <a:lnTo>
                    <a:pt x="0" y="199"/>
                  </a:lnTo>
                  <a:lnTo>
                    <a:pt x="4" y="201"/>
                  </a:lnTo>
                  <a:lnTo>
                    <a:pt x="4" y="201"/>
                  </a:lnTo>
                  <a:lnTo>
                    <a:pt x="4" y="207"/>
                  </a:lnTo>
                  <a:lnTo>
                    <a:pt x="4" y="209"/>
                  </a:lnTo>
                  <a:lnTo>
                    <a:pt x="4" y="209"/>
                  </a:lnTo>
                  <a:lnTo>
                    <a:pt x="4" y="209"/>
                  </a:lnTo>
                  <a:lnTo>
                    <a:pt x="4" y="207"/>
                  </a:lnTo>
                  <a:lnTo>
                    <a:pt x="4" y="211"/>
                  </a:lnTo>
                  <a:lnTo>
                    <a:pt x="9" y="213"/>
                  </a:lnTo>
                  <a:lnTo>
                    <a:pt x="11" y="213"/>
                  </a:lnTo>
                  <a:lnTo>
                    <a:pt x="21" y="221"/>
                  </a:lnTo>
                  <a:lnTo>
                    <a:pt x="21" y="221"/>
                  </a:lnTo>
                  <a:lnTo>
                    <a:pt x="23" y="221"/>
                  </a:lnTo>
                  <a:lnTo>
                    <a:pt x="23" y="221"/>
                  </a:lnTo>
                  <a:lnTo>
                    <a:pt x="23" y="221"/>
                  </a:lnTo>
                  <a:lnTo>
                    <a:pt x="23" y="221"/>
                  </a:lnTo>
                  <a:lnTo>
                    <a:pt x="25" y="221"/>
                  </a:lnTo>
                  <a:lnTo>
                    <a:pt x="25" y="221"/>
                  </a:lnTo>
                  <a:lnTo>
                    <a:pt x="27" y="221"/>
                  </a:lnTo>
                  <a:lnTo>
                    <a:pt x="27" y="223"/>
                  </a:lnTo>
                  <a:lnTo>
                    <a:pt x="29" y="225"/>
                  </a:lnTo>
                  <a:lnTo>
                    <a:pt x="29" y="225"/>
                  </a:lnTo>
                  <a:lnTo>
                    <a:pt x="33" y="223"/>
                  </a:lnTo>
                  <a:lnTo>
                    <a:pt x="33" y="225"/>
                  </a:lnTo>
                  <a:lnTo>
                    <a:pt x="35" y="227"/>
                  </a:lnTo>
                  <a:lnTo>
                    <a:pt x="35" y="227"/>
                  </a:lnTo>
                  <a:lnTo>
                    <a:pt x="37" y="227"/>
                  </a:lnTo>
                  <a:lnTo>
                    <a:pt x="39" y="229"/>
                  </a:lnTo>
                  <a:lnTo>
                    <a:pt x="41" y="229"/>
                  </a:lnTo>
                  <a:lnTo>
                    <a:pt x="41" y="229"/>
                  </a:lnTo>
                  <a:lnTo>
                    <a:pt x="41" y="231"/>
                  </a:lnTo>
                  <a:lnTo>
                    <a:pt x="41" y="231"/>
                  </a:lnTo>
                  <a:lnTo>
                    <a:pt x="43" y="233"/>
                  </a:lnTo>
                  <a:lnTo>
                    <a:pt x="43" y="233"/>
                  </a:lnTo>
                  <a:lnTo>
                    <a:pt x="43" y="233"/>
                  </a:lnTo>
                  <a:lnTo>
                    <a:pt x="45" y="233"/>
                  </a:lnTo>
                  <a:lnTo>
                    <a:pt x="45" y="233"/>
                  </a:lnTo>
                  <a:lnTo>
                    <a:pt x="47" y="231"/>
                  </a:lnTo>
                  <a:lnTo>
                    <a:pt x="47" y="231"/>
                  </a:lnTo>
                  <a:lnTo>
                    <a:pt x="50" y="229"/>
                  </a:lnTo>
                  <a:lnTo>
                    <a:pt x="52" y="229"/>
                  </a:lnTo>
                  <a:lnTo>
                    <a:pt x="54" y="229"/>
                  </a:lnTo>
                  <a:lnTo>
                    <a:pt x="54" y="229"/>
                  </a:lnTo>
                  <a:lnTo>
                    <a:pt x="54" y="231"/>
                  </a:lnTo>
                  <a:lnTo>
                    <a:pt x="54" y="231"/>
                  </a:lnTo>
                  <a:lnTo>
                    <a:pt x="56" y="231"/>
                  </a:lnTo>
                  <a:lnTo>
                    <a:pt x="56" y="231"/>
                  </a:lnTo>
                  <a:lnTo>
                    <a:pt x="58" y="229"/>
                  </a:lnTo>
                  <a:lnTo>
                    <a:pt x="58" y="229"/>
                  </a:lnTo>
                  <a:lnTo>
                    <a:pt x="62" y="229"/>
                  </a:lnTo>
                  <a:lnTo>
                    <a:pt x="62" y="229"/>
                  </a:lnTo>
                  <a:lnTo>
                    <a:pt x="64" y="229"/>
                  </a:lnTo>
                  <a:lnTo>
                    <a:pt x="66" y="233"/>
                  </a:lnTo>
                  <a:lnTo>
                    <a:pt x="66" y="238"/>
                  </a:lnTo>
                  <a:lnTo>
                    <a:pt x="64" y="248"/>
                  </a:lnTo>
                  <a:lnTo>
                    <a:pt x="64" y="250"/>
                  </a:lnTo>
                  <a:lnTo>
                    <a:pt x="64" y="252"/>
                  </a:lnTo>
                  <a:lnTo>
                    <a:pt x="66" y="254"/>
                  </a:lnTo>
                  <a:lnTo>
                    <a:pt x="66" y="254"/>
                  </a:lnTo>
                  <a:lnTo>
                    <a:pt x="64" y="256"/>
                  </a:lnTo>
                  <a:lnTo>
                    <a:pt x="64" y="256"/>
                  </a:lnTo>
                  <a:lnTo>
                    <a:pt x="66" y="258"/>
                  </a:lnTo>
                  <a:lnTo>
                    <a:pt x="66" y="258"/>
                  </a:lnTo>
                  <a:lnTo>
                    <a:pt x="68" y="256"/>
                  </a:lnTo>
                  <a:lnTo>
                    <a:pt x="72" y="254"/>
                  </a:lnTo>
                  <a:lnTo>
                    <a:pt x="74" y="252"/>
                  </a:lnTo>
                  <a:lnTo>
                    <a:pt x="76" y="248"/>
                  </a:lnTo>
                  <a:lnTo>
                    <a:pt x="78" y="244"/>
                  </a:lnTo>
                  <a:lnTo>
                    <a:pt x="78" y="244"/>
                  </a:lnTo>
                  <a:lnTo>
                    <a:pt x="76" y="244"/>
                  </a:lnTo>
                  <a:lnTo>
                    <a:pt x="76" y="242"/>
                  </a:lnTo>
                  <a:lnTo>
                    <a:pt x="78" y="242"/>
                  </a:lnTo>
                  <a:lnTo>
                    <a:pt x="80" y="240"/>
                  </a:lnTo>
                  <a:lnTo>
                    <a:pt x="80" y="240"/>
                  </a:lnTo>
                  <a:lnTo>
                    <a:pt x="80" y="238"/>
                  </a:lnTo>
                  <a:lnTo>
                    <a:pt x="82" y="236"/>
                  </a:lnTo>
                  <a:lnTo>
                    <a:pt x="82" y="236"/>
                  </a:lnTo>
                  <a:lnTo>
                    <a:pt x="82" y="233"/>
                  </a:lnTo>
                  <a:lnTo>
                    <a:pt x="80" y="233"/>
                  </a:lnTo>
                  <a:lnTo>
                    <a:pt x="80" y="233"/>
                  </a:lnTo>
                  <a:lnTo>
                    <a:pt x="80" y="233"/>
                  </a:lnTo>
                  <a:lnTo>
                    <a:pt x="80" y="233"/>
                  </a:lnTo>
                  <a:lnTo>
                    <a:pt x="80" y="233"/>
                  </a:lnTo>
                  <a:lnTo>
                    <a:pt x="78" y="233"/>
                  </a:lnTo>
                  <a:lnTo>
                    <a:pt x="78" y="233"/>
                  </a:lnTo>
                  <a:lnTo>
                    <a:pt x="80" y="231"/>
                  </a:lnTo>
                  <a:lnTo>
                    <a:pt x="80" y="231"/>
                  </a:lnTo>
                  <a:lnTo>
                    <a:pt x="80" y="231"/>
                  </a:lnTo>
                  <a:lnTo>
                    <a:pt x="82" y="231"/>
                  </a:lnTo>
                  <a:lnTo>
                    <a:pt x="84" y="223"/>
                  </a:lnTo>
                  <a:lnTo>
                    <a:pt x="84" y="221"/>
                  </a:lnTo>
                  <a:lnTo>
                    <a:pt x="86" y="219"/>
                  </a:lnTo>
                  <a:lnTo>
                    <a:pt x="88" y="215"/>
                  </a:lnTo>
                  <a:lnTo>
                    <a:pt x="90" y="213"/>
                  </a:lnTo>
                  <a:lnTo>
                    <a:pt x="90" y="211"/>
                  </a:lnTo>
                  <a:lnTo>
                    <a:pt x="86" y="215"/>
                  </a:lnTo>
                  <a:lnTo>
                    <a:pt x="84" y="215"/>
                  </a:lnTo>
                  <a:lnTo>
                    <a:pt x="84" y="213"/>
                  </a:lnTo>
                  <a:lnTo>
                    <a:pt x="82" y="213"/>
                  </a:lnTo>
                  <a:lnTo>
                    <a:pt x="82" y="213"/>
                  </a:lnTo>
                  <a:lnTo>
                    <a:pt x="82" y="211"/>
                  </a:lnTo>
                  <a:lnTo>
                    <a:pt x="84" y="211"/>
                  </a:lnTo>
                  <a:lnTo>
                    <a:pt x="90" y="209"/>
                  </a:lnTo>
                  <a:lnTo>
                    <a:pt x="90" y="209"/>
                  </a:lnTo>
                  <a:lnTo>
                    <a:pt x="88" y="207"/>
                  </a:lnTo>
                  <a:lnTo>
                    <a:pt x="90" y="205"/>
                  </a:lnTo>
                  <a:lnTo>
                    <a:pt x="93" y="201"/>
                  </a:lnTo>
                  <a:lnTo>
                    <a:pt x="95" y="203"/>
                  </a:lnTo>
                  <a:lnTo>
                    <a:pt x="93" y="205"/>
                  </a:lnTo>
                  <a:lnTo>
                    <a:pt x="93" y="207"/>
                  </a:lnTo>
                  <a:lnTo>
                    <a:pt x="90" y="209"/>
                  </a:lnTo>
                  <a:lnTo>
                    <a:pt x="93" y="209"/>
                  </a:lnTo>
                  <a:lnTo>
                    <a:pt x="95" y="207"/>
                  </a:lnTo>
                  <a:lnTo>
                    <a:pt x="99" y="203"/>
                  </a:lnTo>
                  <a:lnTo>
                    <a:pt x="101" y="203"/>
                  </a:lnTo>
                  <a:lnTo>
                    <a:pt x="99" y="201"/>
                  </a:lnTo>
                  <a:lnTo>
                    <a:pt x="97" y="199"/>
                  </a:lnTo>
                  <a:lnTo>
                    <a:pt x="97" y="197"/>
                  </a:lnTo>
                  <a:lnTo>
                    <a:pt x="95" y="199"/>
                  </a:lnTo>
                  <a:lnTo>
                    <a:pt x="95" y="197"/>
                  </a:lnTo>
                  <a:lnTo>
                    <a:pt x="95" y="197"/>
                  </a:lnTo>
                  <a:lnTo>
                    <a:pt x="95" y="195"/>
                  </a:lnTo>
                  <a:lnTo>
                    <a:pt x="95" y="193"/>
                  </a:lnTo>
                  <a:lnTo>
                    <a:pt x="97" y="193"/>
                  </a:lnTo>
                  <a:lnTo>
                    <a:pt x="97" y="193"/>
                  </a:lnTo>
                  <a:lnTo>
                    <a:pt x="99" y="193"/>
                  </a:lnTo>
                  <a:lnTo>
                    <a:pt x="99" y="193"/>
                  </a:lnTo>
                  <a:lnTo>
                    <a:pt x="101" y="190"/>
                  </a:lnTo>
                  <a:lnTo>
                    <a:pt x="99" y="188"/>
                  </a:lnTo>
                  <a:lnTo>
                    <a:pt x="99" y="186"/>
                  </a:lnTo>
                  <a:lnTo>
                    <a:pt x="97" y="186"/>
                  </a:lnTo>
                  <a:lnTo>
                    <a:pt x="97" y="184"/>
                  </a:lnTo>
                  <a:lnTo>
                    <a:pt x="97" y="180"/>
                  </a:lnTo>
                  <a:lnTo>
                    <a:pt x="97" y="182"/>
                  </a:lnTo>
                  <a:lnTo>
                    <a:pt x="99" y="182"/>
                  </a:lnTo>
                  <a:lnTo>
                    <a:pt x="99" y="182"/>
                  </a:lnTo>
                  <a:lnTo>
                    <a:pt x="101" y="180"/>
                  </a:lnTo>
                  <a:lnTo>
                    <a:pt x="103" y="182"/>
                  </a:lnTo>
                  <a:lnTo>
                    <a:pt x="105" y="182"/>
                  </a:lnTo>
                  <a:lnTo>
                    <a:pt x="105" y="184"/>
                  </a:lnTo>
                  <a:lnTo>
                    <a:pt x="105" y="184"/>
                  </a:lnTo>
                  <a:lnTo>
                    <a:pt x="107" y="184"/>
                  </a:lnTo>
                  <a:lnTo>
                    <a:pt x="107" y="182"/>
                  </a:lnTo>
                  <a:lnTo>
                    <a:pt x="105" y="180"/>
                  </a:lnTo>
                  <a:lnTo>
                    <a:pt x="103" y="178"/>
                  </a:lnTo>
                  <a:lnTo>
                    <a:pt x="103" y="176"/>
                  </a:lnTo>
                  <a:lnTo>
                    <a:pt x="105" y="176"/>
                  </a:lnTo>
                  <a:lnTo>
                    <a:pt x="105" y="174"/>
                  </a:lnTo>
                  <a:lnTo>
                    <a:pt x="105" y="174"/>
                  </a:lnTo>
                  <a:lnTo>
                    <a:pt x="107" y="172"/>
                  </a:lnTo>
                  <a:lnTo>
                    <a:pt x="107" y="172"/>
                  </a:lnTo>
                  <a:lnTo>
                    <a:pt x="107" y="170"/>
                  </a:lnTo>
                  <a:lnTo>
                    <a:pt x="109" y="168"/>
                  </a:lnTo>
                  <a:lnTo>
                    <a:pt x="111" y="168"/>
                  </a:lnTo>
                  <a:lnTo>
                    <a:pt x="111" y="166"/>
                  </a:lnTo>
                  <a:lnTo>
                    <a:pt x="111" y="162"/>
                  </a:lnTo>
                  <a:lnTo>
                    <a:pt x="111" y="162"/>
                  </a:lnTo>
                  <a:lnTo>
                    <a:pt x="113" y="160"/>
                  </a:lnTo>
                  <a:lnTo>
                    <a:pt x="113" y="158"/>
                  </a:lnTo>
                  <a:lnTo>
                    <a:pt x="111" y="158"/>
                  </a:lnTo>
                  <a:lnTo>
                    <a:pt x="109" y="158"/>
                  </a:lnTo>
                  <a:lnTo>
                    <a:pt x="109" y="154"/>
                  </a:lnTo>
                  <a:lnTo>
                    <a:pt x="109" y="149"/>
                  </a:lnTo>
                  <a:lnTo>
                    <a:pt x="111" y="147"/>
                  </a:lnTo>
                  <a:lnTo>
                    <a:pt x="111" y="145"/>
                  </a:lnTo>
                  <a:lnTo>
                    <a:pt x="111" y="145"/>
                  </a:lnTo>
                  <a:lnTo>
                    <a:pt x="111" y="143"/>
                  </a:lnTo>
                  <a:lnTo>
                    <a:pt x="111" y="141"/>
                  </a:lnTo>
                  <a:lnTo>
                    <a:pt x="111" y="139"/>
                  </a:lnTo>
                  <a:lnTo>
                    <a:pt x="113" y="137"/>
                  </a:lnTo>
                  <a:lnTo>
                    <a:pt x="111" y="137"/>
                  </a:lnTo>
                  <a:lnTo>
                    <a:pt x="109" y="137"/>
                  </a:lnTo>
                  <a:lnTo>
                    <a:pt x="111" y="135"/>
                  </a:lnTo>
                  <a:lnTo>
                    <a:pt x="111" y="133"/>
                  </a:lnTo>
                  <a:lnTo>
                    <a:pt x="109" y="131"/>
                  </a:lnTo>
                  <a:lnTo>
                    <a:pt x="109" y="131"/>
                  </a:lnTo>
                  <a:lnTo>
                    <a:pt x="109" y="129"/>
                  </a:lnTo>
                  <a:lnTo>
                    <a:pt x="109" y="129"/>
                  </a:lnTo>
                  <a:lnTo>
                    <a:pt x="111" y="129"/>
                  </a:lnTo>
                  <a:lnTo>
                    <a:pt x="111" y="127"/>
                  </a:lnTo>
                  <a:lnTo>
                    <a:pt x="113" y="127"/>
                  </a:lnTo>
                  <a:lnTo>
                    <a:pt x="113" y="125"/>
                  </a:lnTo>
                  <a:lnTo>
                    <a:pt x="113" y="123"/>
                  </a:lnTo>
                  <a:lnTo>
                    <a:pt x="111" y="125"/>
                  </a:lnTo>
                  <a:lnTo>
                    <a:pt x="111" y="123"/>
                  </a:lnTo>
                  <a:lnTo>
                    <a:pt x="111" y="123"/>
                  </a:lnTo>
                  <a:lnTo>
                    <a:pt x="113" y="123"/>
                  </a:lnTo>
                  <a:lnTo>
                    <a:pt x="113" y="125"/>
                  </a:lnTo>
                  <a:lnTo>
                    <a:pt x="115" y="127"/>
                  </a:lnTo>
                  <a:lnTo>
                    <a:pt x="115" y="129"/>
                  </a:lnTo>
                  <a:lnTo>
                    <a:pt x="115" y="131"/>
                  </a:lnTo>
                  <a:lnTo>
                    <a:pt x="113" y="135"/>
                  </a:lnTo>
                  <a:lnTo>
                    <a:pt x="117" y="152"/>
                  </a:lnTo>
                  <a:lnTo>
                    <a:pt x="117" y="149"/>
                  </a:lnTo>
                  <a:lnTo>
                    <a:pt x="115" y="139"/>
                  </a:lnTo>
                  <a:close/>
                </a:path>
              </a:pathLst>
            </a:custGeom>
            <a:solidFill>
              <a:schemeClr val="accent1">
                <a:lumMod val="60000"/>
                <a:lumOff val="40000"/>
              </a:schemeClr>
            </a:solidFill>
            <a:ln w="3175" cap="rnd">
              <a:solidFill>
                <a:schemeClr val="bg1"/>
              </a:solidFill>
              <a:prstDash val="solid"/>
              <a:round/>
              <a:headEnd/>
              <a:tailEnd/>
            </a:ln>
          </p:spPr>
          <p:txBody>
            <a:bodyPr vert="horz" wrap="square" lIns="48000" tIns="0" rIns="0" bIns="144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NJ</a:t>
              </a:r>
            </a:p>
          </p:txBody>
        </p:sp>
        <p:sp>
          <p:nvSpPr>
            <p:cNvPr id="85" name="Freeform 26">
              <a:extLst>
                <a:ext uri="{FF2B5EF4-FFF2-40B4-BE49-F238E27FC236}">
                  <a16:creationId xmlns:a16="http://schemas.microsoft.com/office/drawing/2014/main" id="{DA477046-078A-B59E-A89D-1AFB0A09D449}"/>
                </a:ext>
              </a:extLst>
            </p:cNvPr>
            <p:cNvSpPr>
              <a:spLocks/>
            </p:cNvSpPr>
            <p:nvPr/>
          </p:nvSpPr>
          <p:spPr bwMode="auto">
            <a:xfrm>
              <a:off x="2394" y="797"/>
              <a:ext cx="725" cy="324"/>
            </a:xfrm>
            <a:custGeom>
              <a:avLst/>
              <a:gdLst>
                <a:gd name="T0" fmla="*/ 626 w 725"/>
                <a:gd name="T1" fmla="*/ 64 h 324"/>
                <a:gd name="T2" fmla="*/ 630 w 725"/>
                <a:gd name="T3" fmla="*/ 78 h 324"/>
                <a:gd name="T4" fmla="*/ 632 w 725"/>
                <a:gd name="T5" fmla="*/ 90 h 324"/>
                <a:gd name="T6" fmla="*/ 639 w 725"/>
                <a:gd name="T7" fmla="*/ 101 h 324"/>
                <a:gd name="T8" fmla="*/ 647 w 725"/>
                <a:gd name="T9" fmla="*/ 115 h 324"/>
                <a:gd name="T10" fmla="*/ 655 w 725"/>
                <a:gd name="T11" fmla="*/ 127 h 324"/>
                <a:gd name="T12" fmla="*/ 653 w 725"/>
                <a:gd name="T13" fmla="*/ 138 h 324"/>
                <a:gd name="T14" fmla="*/ 653 w 725"/>
                <a:gd name="T15" fmla="*/ 148 h 324"/>
                <a:gd name="T16" fmla="*/ 657 w 725"/>
                <a:gd name="T17" fmla="*/ 156 h 324"/>
                <a:gd name="T18" fmla="*/ 661 w 725"/>
                <a:gd name="T19" fmla="*/ 156 h 324"/>
                <a:gd name="T20" fmla="*/ 663 w 725"/>
                <a:gd name="T21" fmla="*/ 162 h 324"/>
                <a:gd name="T22" fmla="*/ 667 w 725"/>
                <a:gd name="T23" fmla="*/ 170 h 324"/>
                <a:gd name="T24" fmla="*/ 671 w 725"/>
                <a:gd name="T25" fmla="*/ 181 h 324"/>
                <a:gd name="T26" fmla="*/ 673 w 725"/>
                <a:gd name="T27" fmla="*/ 193 h 324"/>
                <a:gd name="T28" fmla="*/ 673 w 725"/>
                <a:gd name="T29" fmla="*/ 203 h 324"/>
                <a:gd name="T30" fmla="*/ 673 w 725"/>
                <a:gd name="T31" fmla="*/ 207 h 324"/>
                <a:gd name="T32" fmla="*/ 676 w 725"/>
                <a:gd name="T33" fmla="*/ 211 h 324"/>
                <a:gd name="T34" fmla="*/ 678 w 725"/>
                <a:gd name="T35" fmla="*/ 222 h 324"/>
                <a:gd name="T36" fmla="*/ 678 w 725"/>
                <a:gd name="T37" fmla="*/ 234 h 324"/>
                <a:gd name="T38" fmla="*/ 676 w 725"/>
                <a:gd name="T39" fmla="*/ 240 h 324"/>
                <a:gd name="T40" fmla="*/ 684 w 725"/>
                <a:gd name="T41" fmla="*/ 248 h 324"/>
                <a:gd name="T42" fmla="*/ 686 w 725"/>
                <a:gd name="T43" fmla="*/ 261 h 324"/>
                <a:gd name="T44" fmla="*/ 690 w 725"/>
                <a:gd name="T45" fmla="*/ 267 h 324"/>
                <a:gd name="T46" fmla="*/ 694 w 725"/>
                <a:gd name="T47" fmla="*/ 275 h 324"/>
                <a:gd name="T48" fmla="*/ 696 w 725"/>
                <a:gd name="T49" fmla="*/ 283 h 324"/>
                <a:gd name="T50" fmla="*/ 702 w 725"/>
                <a:gd name="T51" fmla="*/ 285 h 324"/>
                <a:gd name="T52" fmla="*/ 710 w 725"/>
                <a:gd name="T53" fmla="*/ 291 h 324"/>
                <a:gd name="T54" fmla="*/ 714 w 725"/>
                <a:gd name="T55" fmla="*/ 302 h 324"/>
                <a:gd name="T56" fmla="*/ 716 w 725"/>
                <a:gd name="T57" fmla="*/ 312 h 324"/>
                <a:gd name="T58" fmla="*/ 690 w 725"/>
                <a:gd name="T59" fmla="*/ 318 h 324"/>
                <a:gd name="T60" fmla="*/ 583 w 725"/>
                <a:gd name="T61" fmla="*/ 322 h 324"/>
                <a:gd name="T62" fmla="*/ 479 w 725"/>
                <a:gd name="T63" fmla="*/ 324 h 324"/>
                <a:gd name="T64" fmla="*/ 372 w 725"/>
                <a:gd name="T65" fmla="*/ 324 h 324"/>
                <a:gd name="T66" fmla="*/ 268 w 725"/>
                <a:gd name="T67" fmla="*/ 324 h 324"/>
                <a:gd name="T68" fmla="*/ 161 w 725"/>
                <a:gd name="T69" fmla="*/ 324 h 324"/>
                <a:gd name="T70" fmla="*/ 163 w 725"/>
                <a:gd name="T71" fmla="*/ 283 h 324"/>
                <a:gd name="T72" fmla="*/ 163 w 725"/>
                <a:gd name="T73" fmla="*/ 244 h 324"/>
                <a:gd name="T74" fmla="*/ 147 w 725"/>
                <a:gd name="T75" fmla="*/ 217 h 324"/>
                <a:gd name="T76" fmla="*/ 88 w 725"/>
                <a:gd name="T77" fmla="*/ 215 h 324"/>
                <a:gd name="T78" fmla="*/ 28 w 725"/>
                <a:gd name="T79" fmla="*/ 213 h 324"/>
                <a:gd name="T80" fmla="*/ 0 w 725"/>
                <a:gd name="T81" fmla="*/ 172 h 324"/>
                <a:gd name="T82" fmla="*/ 2 w 725"/>
                <a:gd name="T83" fmla="*/ 92 h 324"/>
                <a:gd name="T84" fmla="*/ 6 w 725"/>
                <a:gd name="T85" fmla="*/ 13 h 324"/>
                <a:gd name="T86" fmla="*/ 75 w 725"/>
                <a:gd name="T87" fmla="*/ 2 h 324"/>
                <a:gd name="T88" fmla="*/ 157 w 725"/>
                <a:gd name="T89" fmla="*/ 4 h 324"/>
                <a:gd name="T90" fmla="*/ 239 w 725"/>
                <a:gd name="T91" fmla="*/ 6 h 324"/>
                <a:gd name="T92" fmla="*/ 323 w 725"/>
                <a:gd name="T93" fmla="*/ 6 h 324"/>
                <a:gd name="T94" fmla="*/ 405 w 725"/>
                <a:gd name="T95" fmla="*/ 6 h 324"/>
                <a:gd name="T96" fmla="*/ 454 w 725"/>
                <a:gd name="T97" fmla="*/ 6 h 324"/>
                <a:gd name="T98" fmla="*/ 467 w 725"/>
                <a:gd name="T99" fmla="*/ 15 h 324"/>
                <a:gd name="T100" fmla="*/ 487 w 725"/>
                <a:gd name="T101" fmla="*/ 25 h 324"/>
                <a:gd name="T102" fmla="*/ 501 w 725"/>
                <a:gd name="T103" fmla="*/ 25 h 324"/>
                <a:gd name="T104" fmla="*/ 506 w 725"/>
                <a:gd name="T105" fmla="*/ 19 h 324"/>
                <a:gd name="T106" fmla="*/ 520 w 725"/>
                <a:gd name="T107" fmla="*/ 21 h 324"/>
                <a:gd name="T108" fmla="*/ 551 w 725"/>
                <a:gd name="T109" fmla="*/ 15 h 324"/>
                <a:gd name="T110" fmla="*/ 563 w 725"/>
                <a:gd name="T111" fmla="*/ 25 h 324"/>
                <a:gd name="T112" fmla="*/ 575 w 725"/>
                <a:gd name="T113" fmla="*/ 27 h 324"/>
                <a:gd name="T114" fmla="*/ 589 w 725"/>
                <a:gd name="T115" fmla="*/ 31 h 324"/>
                <a:gd name="T116" fmla="*/ 594 w 725"/>
                <a:gd name="T117" fmla="*/ 37 h 324"/>
                <a:gd name="T118" fmla="*/ 600 w 725"/>
                <a:gd name="T119" fmla="*/ 37 h 324"/>
                <a:gd name="T120" fmla="*/ 604 w 725"/>
                <a:gd name="T121" fmla="*/ 45 h 324"/>
                <a:gd name="T122" fmla="*/ 618 w 725"/>
                <a:gd name="T123" fmla="*/ 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5" h="324">
                  <a:moveTo>
                    <a:pt x="618" y="54"/>
                  </a:moveTo>
                  <a:lnTo>
                    <a:pt x="622" y="54"/>
                  </a:lnTo>
                  <a:lnTo>
                    <a:pt x="624" y="54"/>
                  </a:lnTo>
                  <a:lnTo>
                    <a:pt x="624" y="56"/>
                  </a:lnTo>
                  <a:lnTo>
                    <a:pt x="626" y="60"/>
                  </a:lnTo>
                  <a:lnTo>
                    <a:pt x="626" y="64"/>
                  </a:lnTo>
                  <a:lnTo>
                    <a:pt x="624" y="68"/>
                  </a:lnTo>
                  <a:lnTo>
                    <a:pt x="628" y="72"/>
                  </a:lnTo>
                  <a:lnTo>
                    <a:pt x="628" y="74"/>
                  </a:lnTo>
                  <a:lnTo>
                    <a:pt x="628" y="74"/>
                  </a:lnTo>
                  <a:lnTo>
                    <a:pt x="630" y="76"/>
                  </a:lnTo>
                  <a:lnTo>
                    <a:pt x="630" y="78"/>
                  </a:lnTo>
                  <a:lnTo>
                    <a:pt x="630" y="80"/>
                  </a:lnTo>
                  <a:lnTo>
                    <a:pt x="630" y="82"/>
                  </a:lnTo>
                  <a:lnTo>
                    <a:pt x="630" y="84"/>
                  </a:lnTo>
                  <a:lnTo>
                    <a:pt x="630" y="86"/>
                  </a:lnTo>
                  <a:lnTo>
                    <a:pt x="630" y="88"/>
                  </a:lnTo>
                  <a:lnTo>
                    <a:pt x="632" y="90"/>
                  </a:lnTo>
                  <a:lnTo>
                    <a:pt x="635" y="90"/>
                  </a:lnTo>
                  <a:lnTo>
                    <a:pt x="637" y="92"/>
                  </a:lnTo>
                  <a:lnTo>
                    <a:pt x="637" y="95"/>
                  </a:lnTo>
                  <a:lnTo>
                    <a:pt x="637" y="97"/>
                  </a:lnTo>
                  <a:lnTo>
                    <a:pt x="637" y="99"/>
                  </a:lnTo>
                  <a:lnTo>
                    <a:pt x="639" y="101"/>
                  </a:lnTo>
                  <a:lnTo>
                    <a:pt x="641" y="105"/>
                  </a:lnTo>
                  <a:lnTo>
                    <a:pt x="643" y="105"/>
                  </a:lnTo>
                  <a:lnTo>
                    <a:pt x="647" y="109"/>
                  </a:lnTo>
                  <a:lnTo>
                    <a:pt x="649" y="113"/>
                  </a:lnTo>
                  <a:lnTo>
                    <a:pt x="647" y="113"/>
                  </a:lnTo>
                  <a:lnTo>
                    <a:pt x="647" y="115"/>
                  </a:lnTo>
                  <a:lnTo>
                    <a:pt x="647" y="117"/>
                  </a:lnTo>
                  <a:lnTo>
                    <a:pt x="647" y="117"/>
                  </a:lnTo>
                  <a:lnTo>
                    <a:pt x="649" y="121"/>
                  </a:lnTo>
                  <a:lnTo>
                    <a:pt x="649" y="121"/>
                  </a:lnTo>
                  <a:lnTo>
                    <a:pt x="653" y="125"/>
                  </a:lnTo>
                  <a:lnTo>
                    <a:pt x="655" y="127"/>
                  </a:lnTo>
                  <a:lnTo>
                    <a:pt x="655" y="129"/>
                  </a:lnTo>
                  <a:lnTo>
                    <a:pt x="653" y="131"/>
                  </a:lnTo>
                  <a:lnTo>
                    <a:pt x="653" y="133"/>
                  </a:lnTo>
                  <a:lnTo>
                    <a:pt x="653" y="136"/>
                  </a:lnTo>
                  <a:lnTo>
                    <a:pt x="653" y="136"/>
                  </a:lnTo>
                  <a:lnTo>
                    <a:pt x="653" y="138"/>
                  </a:lnTo>
                  <a:lnTo>
                    <a:pt x="653" y="138"/>
                  </a:lnTo>
                  <a:lnTo>
                    <a:pt x="653" y="140"/>
                  </a:lnTo>
                  <a:lnTo>
                    <a:pt x="653" y="140"/>
                  </a:lnTo>
                  <a:lnTo>
                    <a:pt x="653" y="144"/>
                  </a:lnTo>
                  <a:lnTo>
                    <a:pt x="653" y="146"/>
                  </a:lnTo>
                  <a:lnTo>
                    <a:pt x="653" y="148"/>
                  </a:lnTo>
                  <a:lnTo>
                    <a:pt x="655" y="150"/>
                  </a:lnTo>
                  <a:lnTo>
                    <a:pt x="655" y="150"/>
                  </a:lnTo>
                  <a:lnTo>
                    <a:pt x="655" y="152"/>
                  </a:lnTo>
                  <a:lnTo>
                    <a:pt x="655" y="154"/>
                  </a:lnTo>
                  <a:lnTo>
                    <a:pt x="657" y="156"/>
                  </a:lnTo>
                  <a:lnTo>
                    <a:pt x="657" y="156"/>
                  </a:lnTo>
                  <a:lnTo>
                    <a:pt x="659" y="154"/>
                  </a:lnTo>
                  <a:lnTo>
                    <a:pt x="659" y="154"/>
                  </a:lnTo>
                  <a:lnTo>
                    <a:pt x="661" y="154"/>
                  </a:lnTo>
                  <a:lnTo>
                    <a:pt x="661" y="154"/>
                  </a:lnTo>
                  <a:lnTo>
                    <a:pt x="661" y="156"/>
                  </a:lnTo>
                  <a:lnTo>
                    <a:pt x="661" y="156"/>
                  </a:lnTo>
                  <a:lnTo>
                    <a:pt x="661" y="156"/>
                  </a:lnTo>
                  <a:lnTo>
                    <a:pt x="661" y="158"/>
                  </a:lnTo>
                  <a:lnTo>
                    <a:pt x="661" y="160"/>
                  </a:lnTo>
                  <a:lnTo>
                    <a:pt x="661" y="160"/>
                  </a:lnTo>
                  <a:lnTo>
                    <a:pt x="661" y="162"/>
                  </a:lnTo>
                  <a:lnTo>
                    <a:pt x="663" y="162"/>
                  </a:lnTo>
                  <a:lnTo>
                    <a:pt x="665" y="162"/>
                  </a:lnTo>
                  <a:lnTo>
                    <a:pt x="667" y="162"/>
                  </a:lnTo>
                  <a:lnTo>
                    <a:pt x="667" y="162"/>
                  </a:lnTo>
                  <a:lnTo>
                    <a:pt x="667" y="164"/>
                  </a:lnTo>
                  <a:lnTo>
                    <a:pt x="667" y="168"/>
                  </a:lnTo>
                  <a:lnTo>
                    <a:pt x="667" y="170"/>
                  </a:lnTo>
                  <a:lnTo>
                    <a:pt x="665" y="176"/>
                  </a:lnTo>
                  <a:lnTo>
                    <a:pt x="667" y="176"/>
                  </a:lnTo>
                  <a:lnTo>
                    <a:pt x="671" y="179"/>
                  </a:lnTo>
                  <a:lnTo>
                    <a:pt x="671" y="179"/>
                  </a:lnTo>
                  <a:lnTo>
                    <a:pt x="673" y="179"/>
                  </a:lnTo>
                  <a:lnTo>
                    <a:pt x="671" y="181"/>
                  </a:lnTo>
                  <a:lnTo>
                    <a:pt x="669" y="183"/>
                  </a:lnTo>
                  <a:lnTo>
                    <a:pt x="669" y="185"/>
                  </a:lnTo>
                  <a:lnTo>
                    <a:pt x="669" y="189"/>
                  </a:lnTo>
                  <a:lnTo>
                    <a:pt x="669" y="191"/>
                  </a:lnTo>
                  <a:lnTo>
                    <a:pt x="669" y="191"/>
                  </a:lnTo>
                  <a:lnTo>
                    <a:pt x="673" y="193"/>
                  </a:lnTo>
                  <a:lnTo>
                    <a:pt x="676" y="193"/>
                  </a:lnTo>
                  <a:lnTo>
                    <a:pt x="673" y="195"/>
                  </a:lnTo>
                  <a:lnTo>
                    <a:pt x="673" y="195"/>
                  </a:lnTo>
                  <a:lnTo>
                    <a:pt x="673" y="199"/>
                  </a:lnTo>
                  <a:lnTo>
                    <a:pt x="673" y="201"/>
                  </a:lnTo>
                  <a:lnTo>
                    <a:pt x="673" y="203"/>
                  </a:lnTo>
                  <a:lnTo>
                    <a:pt x="673" y="205"/>
                  </a:lnTo>
                  <a:lnTo>
                    <a:pt x="673" y="205"/>
                  </a:lnTo>
                  <a:lnTo>
                    <a:pt x="673" y="205"/>
                  </a:lnTo>
                  <a:lnTo>
                    <a:pt x="673" y="205"/>
                  </a:lnTo>
                  <a:lnTo>
                    <a:pt x="673" y="205"/>
                  </a:lnTo>
                  <a:lnTo>
                    <a:pt x="673" y="207"/>
                  </a:lnTo>
                  <a:lnTo>
                    <a:pt x="673" y="207"/>
                  </a:lnTo>
                  <a:lnTo>
                    <a:pt x="673" y="207"/>
                  </a:lnTo>
                  <a:lnTo>
                    <a:pt x="673" y="209"/>
                  </a:lnTo>
                  <a:lnTo>
                    <a:pt x="673" y="209"/>
                  </a:lnTo>
                  <a:lnTo>
                    <a:pt x="673" y="211"/>
                  </a:lnTo>
                  <a:lnTo>
                    <a:pt x="676" y="211"/>
                  </a:lnTo>
                  <a:lnTo>
                    <a:pt x="676" y="213"/>
                  </a:lnTo>
                  <a:lnTo>
                    <a:pt x="678" y="213"/>
                  </a:lnTo>
                  <a:lnTo>
                    <a:pt x="678" y="215"/>
                  </a:lnTo>
                  <a:lnTo>
                    <a:pt x="676" y="217"/>
                  </a:lnTo>
                  <a:lnTo>
                    <a:pt x="678" y="217"/>
                  </a:lnTo>
                  <a:lnTo>
                    <a:pt x="678" y="222"/>
                  </a:lnTo>
                  <a:lnTo>
                    <a:pt x="678" y="224"/>
                  </a:lnTo>
                  <a:lnTo>
                    <a:pt x="678" y="226"/>
                  </a:lnTo>
                  <a:lnTo>
                    <a:pt x="678" y="228"/>
                  </a:lnTo>
                  <a:lnTo>
                    <a:pt x="678" y="230"/>
                  </a:lnTo>
                  <a:lnTo>
                    <a:pt x="678" y="232"/>
                  </a:lnTo>
                  <a:lnTo>
                    <a:pt x="678" y="234"/>
                  </a:lnTo>
                  <a:lnTo>
                    <a:pt x="678" y="234"/>
                  </a:lnTo>
                  <a:lnTo>
                    <a:pt x="678" y="236"/>
                  </a:lnTo>
                  <a:lnTo>
                    <a:pt x="676" y="238"/>
                  </a:lnTo>
                  <a:lnTo>
                    <a:pt x="676" y="238"/>
                  </a:lnTo>
                  <a:lnTo>
                    <a:pt x="676" y="240"/>
                  </a:lnTo>
                  <a:lnTo>
                    <a:pt x="676" y="240"/>
                  </a:lnTo>
                  <a:lnTo>
                    <a:pt x="676" y="242"/>
                  </a:lnTo>
                  <a:lnTo>
                    <a:pt x="676" y="242"/>
                  </a:lnTo>
                  <a:lnTo>
                    <a:pt x="676" y="244"/>
                  </a:lnTo>
                  <a:lnTo>
                    <a:pt x="678" y="246"/>
                  </a:lnTo>
                  <a:lnTo>
                    <a:pt x="682" y="246"/>
                  </a:lnTo>
                  <a:lnTo>
                    <a:pt x="684" y="248"/>
                  </a:lnTo>
                  <a:lnTo>
                    <a:pt x="684" y="250"/>
                  </a:lnTo>
                  <a:lnTo>
                    <a:pt x="684" y="252"/>
                  </a:lnTo>
                  <a:lnTo>
                    <a:pt x="684" y="254"/>
                  </a:lnTo>
                  <a:lnTo>
                    <a:pt x="684" y="256"/>
                  </a:lnTo>
                  <a:lnTo>
                    <a:pt x="684" y="261"/>
                  </a:lnTo>
                  <a:lnTo>
                    <a:pt x="686" y="261"/>
                  </a:lnTo>
                  <a:lnTo>
                    <a:pt x="688" y="261"/>
                  </a:lnTo>
                  <a:lnTo>
                    <a:pt x="690" y="263"/>
                  </a:lnTo>
                  <a:lnTo>
                    <a:pt x="690" y="263"/>
                  </a:lnTo>
                  <a:lnTo>
                    <a:pt x="690" y="265"/>
                  </a:lnTo>
                  <a:lnTo>
                    <a:pt x="690" y="265"/>
                  </a:lnTo>
                  <a:lnTo>
                    <a:pt x="690" y="267"/>
                  </a:lnTo>
                  <a:lnTo>
                    <a:pt x="692" y="269"/>
                  </a:lnTo>
                  <a:lnTo>
                    <a:pt x="692" y="271"/>
                  </a:lnTo>
                  <a:lnTo>
                    <a:pt x="694" y="271"/>
                  </a:lnTo>
                  <a:lnTo>
                    <a:pt x="694" y="273"/>
                  </a:lnTo>
                  <a:lnTo>
                    <a:pt x="694" y="275"/>
                  </a:lnTo>
                  <a:lnTo>
                    <a:pt x="694" y="275"/>
                  </a:lnTo>
                  <a:lnTo>
                    <a:pt x="694" y="275"/>
                  </a:lnTo>
                  <a:lnTo>
                    <a:pt x="696" y="277"/>
                  </a:lnTo>
                  <a:lnTo>
                    <a:pt x="696" y="281"/>
                  </a:lnTo>
                  <a:lnTo>
                    <a:pt x="696" y="281"/>
                  </a:lnTo>
                  <a:lnTo>
                    <a:pt x="696" y="281"/>
                  </a:lnTo>
                  <a:lnTo>
                    <a:pt x="696" y="283"/>
                  </a:lnTo>
                  <a:lnTo>
                    <a:pt x="694" y="283"/>
                  </a:lnTo>
                  <a:lnTo>
                    <a:pt x="696" y="285"/>
                  </a:lnTo>
                  <a:lnTo>
                    <a:pt x="696" y="285"/>
                  </a:lnTo>
                  <a:lnTo>
                    <a:pt x="698" y="285"/>
                  </a:lnTo>
                  <a:lnTo>
                    <a:pt x="700" y="285"/>
                  </a:lnTo>
                  <a:lnTo>
                    <a:pt x="702" y="285"/>
                  </a:lnTo>
                  <a:lnTo>
                    <a:pt x="702" y="287"/>
                  </a:lnTo>
                  <a:lnTo>
                    <a:pt x="702" y="289"/>
                  </a:lnTo>
                  <a:lnTo>
                    <a:pt x="704" y="289"/>
                  </a:lnTo>
                  <a:lnTo>
                    <a:pt x="704" y="289"/>
                  </a:lnTo>
                  <a:lnTo>
                    <a:pt x="708" y="291"/>
                  </a:lnTo>
                  <a:lnTo>
                    <a:pt x="710" y="291"/>
                  </a:lnTo>
                  <a:lnTo>
                    <a:pt x="710" y="291"/>
                  </a:lnTo>
                  <a:lnTo>
                    <a:pt x="710" y="293"/>
                  </a:lnTo>
                  <a:lnTo>
                    <a:pt x="710" y="295"/>
                  </a:lnTo>
                  <a:lnTo>
                    <a:pt x="712" y="299"/>
                  </a:lnTo>
                  <a:lnTo>
                    <a:pt x="712" y="299"/>
                  </a:lnTo>
                  <a:lnTo>
                    <a:pt x="714" y="302"/>
                  </a:lnTo>
                  <a:lnTo>
                    <a:pt x="716" y="304"/>
                  </a:lnTo>
                  <a:lnTo>
                    <a:pt x="716" y="306"/>
                  </a:lnTo>
                  <a:lnTo>
                    <a:pt x="716" y="306"/>
                  </a:lnTo>
                  <a:lnTo>
                    <a:pt x="716" y="308"/>
                  </a:lnTo>
                  <a:lnTo>
                    <a:pt x="714" y="310"/>
                  </a:lnTo>
                  <a:lnTo>
                    <a:pt x="716" y="312"/>
                  </a:lnTo>
                  <a:lnTo>
                    <a:pt x="716" y="314"/>
                  </a:lnTo>
                  <a:lnTo>
                    <a:pt x="721" y="314"/>
                  </a:lnTo>
                  <a:lnTo>
                    <a:pt x="723" y="314"/>
                  </a:lnTo>
                  <a:lnTo>
                    <a:pt x="725" y="316"/>
                  </a:lnTo>
                  <a:lnTo>
                    <a:pt x="706" y="318"/>
                  </a:lnTo>
                  <a:lnTo>
                    <a:pt x="690" y="318"/>
                  </a:lnTo>
                  <a:lnTo>
                    <a:pt x="671" y="318"/>
                  </a:lnTo>
                  <a:lnTo>
                    <a:pt x="655" y="320"/>
                  </a:lnTo>
                  <a:lnTo>
                    <a:pt x="637" y="320"/>
                  </a:lnTo>
                  <a:lnTo>
                    <a:pt x="618" y="320"/>
                  </a:lnTo>
                  <a:lnTo>
                    <a:pt x="602" y="322"/>
                  </a:lnTo>
                  <a:lnTo>
                    <a:pt x="583" y="322"/>
                  </a:lnTo>
                  <a:lnTo>
                    <a:pt x="567" y="322"/>
                  </a:lnTo>
                  <a:lnTo>
                    <a:pt x="549" y="322"/>
                  </a:lnTo>
                  <a:lnTo>
                    <a:pt x="530" y="322"/>
                  </a:lnTo>
                  <a:lnTo>
                    <a:pt x="514" y="324"/>
                  </a:lnTo>
                  <a:lnTo>
                    <a:pt x="495" y="324"/>
                  </a:lnTo>
                  <a:lnTo>
                    <a:pt x="479" y="324"/>
                  </a:lnTo>
                  <a:lnTo>
                    <a:pt x="460" y="324"/>
                  </a:lnTo>
                  <a:lnTo>
                    <a:pt x="444" y="324"/>
                  </a:lnTo>
                  <a:lnTo>
                    <a:pt x="426" y="324"/>
                  </a:lnTo>
                  <a:lnTo>
                    <a:pt x="407" y="324"/>
                  </a:lnTo>
                  <a:lnTo>
                    <a:pt x="391" y="324"/>
                  </a:lnTo>
                  <a:lnTo>
                    <a:pt x="372" y="324"/>
                  </a:lnTo>
                  <a:lnTo>
                    <a:pt x="356" y="324"/>
                  </a:lnTo>
                  <a:lnTo>
                    <a:pt x="338" y="324"/>
                  </a:lnTo>
                  <a:lnTo>
                    <a:pt x="321" y="324"/>
                  </a:lnTo>
                  <a:lnTo>
                    <a:pt x="303" y="324"/>
                  </a:lnTo>
                  <a:lnTo>
                    <a:pt x="284" y="324"/>
                  </a:lnTo>
                  <a:lnTo>
                    <a:pt x="268" y="324"/>
                  </a:lnTo>
                  <a:lnTo>
                    <a:pt x="250" y="324"/>
                  </a:lnTo>
                  <a:lnTo>
                    <a:pt x="233" y="324"/>
                  </a:lnTo>
                  <a:lnTo>
                    <a:pt x="215" y="324"/>
                  </a:lnTo>
                  <a:lnTo>
                    <a:pt x="198" y="324"/>
                  </a:lnTo>
                  <a:lnTo>
                    <a:pt x="180" y="324"/>
                  </a:lnTo>
                  <a:lnTo>
                    <a:pt x="161" y="324"/>
                  </a:lnTo>
                  <a:lnTo>
                    <a:pt x="161" y="316"/>
                  </a:lnTo>
                  <a:lnTo>
                    <a:pt x="161" y="310"/>
                  </a:lnTo>
                  <a:lnTo>
                    <a:pt x="163" y="304"/>
                  </a:lnTo>
                  <a:lnTo>
                    <a:pt x="163" y="297"/>
                  </a:lnTo>
                  <a:lnTo>
                    <a:pt x="163" y="289"/>
                  </a:lnTo>
                  <a:lnTo>
                    <a:pt x="163" y="283"/>
                  </a:lnTo>
                  <a:lnTo>
                    <a:pt x="163" y="277"/>
                  </a:lnTo>
                  <a:lnTo>
                    <a:pt x="163" y="271"/>
                  </a:lnTo>
                  <a:lnTo>
                    <a:pt x="163" y="263"/>
                  </a:lnTo>
                  <a:lnTo>
                    <a:pt x="163" y="256"/>
                  </a:lnTo>
                  <a:lnTo>
                    <a:pt x="163" y="250"/>
                  </a:lnTo>
                  <a:lnTo>
                    <a:pt x="163" y="244"/>
                  </a:lnTo>
                  <a:lnTo>
                    <a:pt x="163" y="236"/>
                  </a:lnTo>
                  <a:lnTo>
                    <a:pt x="163" y="230"/>
                  </a:lnTo>
                  <a:lnTo>
                    <a:pt x="163" y="224"/>
                  </a:lnTo>
                  <a:lnTo>
                    <a:pt x="163" y="217"/>
                  </a:lnTo>
                  <a:lnTo>
                    <a:pt x="157" y="217"/>
                  </a:lnTo>
                  <a:lnTo>
                    <a:pt x="147" y="217"/>
                  </a:lnTo>
                  <a:lnTo>
                    <a:pt x="137" y="215"/>
                  </a:lnTo>
                  <a:lnTo>
                    <a:pt x="127" y="215"/>
                  </a:lnTo>
                  <a:lnTo>
                    <a:pt x="116" y="215"/>
                  </a:lnTo>
                  <a:lnTo>
                    <a:pt x="106" y="215"/>
                  </a:lnTo>
                  <a:lnTo>
                    <a:pt x="98" y="215"/>
                  </a:lnTo>
                  <a:lnTo>
                    <a:pt x="88" y="215"/>
                  </a:lnTo>
                  <a:lnTo>
                    <a:pt x="77" y="215"/>
                  </a:lnTo>
                  <a:lnTo>
                    <a:pt x="67" y="215"/>
                  </a:lnTo>
                  <a:lnTo>
                    <a:pt x="57" y="213"/>
                  </a:lnTo>
                  <a:lnTo>
                    <a:pt x="49" y="213"/>
                  </a:lnTo>
                  <a:lnTo>
                    <a:pt x="39" y="213"/>
                  </a:lnTo>
                  <a:lnTo>
                    <a:pt x="28" y="213"/>
                  </a:lnTo>
                  <a:lnTo>
                    <a:pt x="18" y="213"/>
                  </a:lnTo>
                  <a:lnTo>
                    <a:pt x="8" y="213"/>
                  </a:lnTo>
                  <a:lnTo>
                    <a:pt x="0" y="213"/>
                  </a:lnTo>
                  <a:lnTo>
                    <a:pt x="0" y="199"/>
                  </a:lnTo>
                  <a:lnTo>
                    <a:pt x="0" y="187"/>
                  </a:lnTo>
                  <a:lnTo>
                    <a:pt x="0" y="172"/>
                  </a:lnTo>
                  <a:lnTo>
                    <a:pt x="0" y="160"/>
                  </a:lnTo>
                  <a:lnTo>
                    <a:pt x="2" y="146"/>
                  </a:lnTo>
                  <a:lnTo>
                    <a:pt x="2" y="133"/>
                  </a:lnTo>
                  <a:lnTo>
                    <a:pt x="2" y="119"/>
                  </a:lnTo>
                  <a:lnTo>
                    <a:pt x="2" y="107"/>
                  </a:lnTo>
                  <a:lnTo>
                    <a:pt x="2" y="92"/>
                  </a:lnTo>
                  <a:lnTo>
                    <a:pt x="4" y="80"/>
                  </a:lnTo>
                  <a:lnTo>
                    <a:pt x="4" y="66"/>
                  </a:lnTo>
                  <a:lnTo>
                    <a:pt x="4" y="54"/>
                  </a:lnTo>
                  <a:lnTo>
                    <a:pt x="4" y="39"/>
                  </a:lnTo>
                  <a:lnTo>
                    <a:pt x="6" y="27"/>
                  </a:lnTo>
                  <a:lnTo>
                    <a:pt x="6" y="13"/>
                  </a:lnTo>
                  <a:lnTo>
                    <a:pt x="6" y="0"/>
                  </a:lnTo>
                  <a:lnTo>
                    <a:pt x="20" y="0"/>
                  </a:lnTo>
                  <a:lnTo>
                    <a:pt x="32" y="2"/>
                  </a:lnTo>
                  <a:lnTo>
                    <a:pt x="47" y="2"/>
                  </a:lnTo>
                  <a:lnTo>
                    <a:pt x="61" y="2"/>
                  </a:lnTo>
                  <a:lnTo>
                    <a:pt x="75" y="2"/>
                  </a:lnTo>
                  <a:lnTo>
                    <a:pt x="88" y="2"/>
                  </a:lnTo>
                  <a:lnTo>
                    <a:pt x="102" y="2"/>
                  </a:lnTo>
                  <a:lnTo>
                    <a:pt x="116" y="4"/>
                  </a:lnTo>
                  <a:lnTo>
                    <a:pt x="131" y="4"/>
                  </a:lnTo>
                  <a:lnTo>
                    <a:pt x="143" y="4"/>
                  </a:lnTo>
                  <a:lnTo>
                    <a:pt x="157" y="4"/>
                  </a:lnTo>
                  <a:lnTo>
                    <a:pt x="172" y="4"/>
                  </a:lnTo>
                  <a:lnTo>
                    <a:pt x="186" y="4"/>
                  </a:lnTo>
                  <a:lnTo>
                    <a:pt x="198" y="4"/>
                  </a:lnTo>
                  <a:lnTo>
                    <a:pt x="213" y="6"/>
                  </a:lnTo>
                  <a:lnTo>
                    <a:pt x="227" y="6"/>
                  </a:lnTo>
                  <a:lnTo>
                    <a:pt x="239" y="6"/>
                  </a:lnTo>
                  <a:lnTo>
                    <a:pt x="254" y="6"/>
                  </a:lnTo>
                  <a:lnTo>
                    <a:pt x="268" y="6"/>
                  </a:lnTo>
                  <a:lnTo>
                    <a:pt x="282" y="6"/>
                  </a:lnTo>
                  <a:lnTo>
                    <a:pt x="295" y="6"/>
                  </a:lnTo>
                  <a:lnTo>
                    <a:pt x="309" y="6"/>
                  </a:lnTo>
                  <a:lnTo>
                    <a:pt x="323" y="6"/>
                  </a:lnTo>
                  <a:lnTo>
                    <a:pt x="338" y="6"/>
                  </a:lnTo>
                  <a:lnTo>
                    <a:pt x="350" y="6"/>
                  </a:lnTo>
                  <a:lnTo>
                    <a:pt x="364" y="6"/>
                  </a:lnTo>
                  <a:lnTo>
                    <a:pt x="379" y="6"/>
                  </a:lnTo>
                  <a:lnTo>
                    <a:pt x="393" y="6"/>
                  </a:lnTo>
                  <a:lnTo>
                    <a:pt x="405" y="6"/>
                  </a:lnTo>
                  <a:lnTo>
                    <a:pt x="420" y="6"/>
                  </a:lnTo>
                  <a:lnTo>
                    <a:pt x="434" y="6"/>
                  </a:lnTo>
                  <a:lnTo>
                    <a:pt x="446" y="6"/>
                  </a:lnTo>
                  <a:lnTo>
                    <a:pt x="454" y="6"/>
                  </a:lnTo>
                  <a:lnTo>
                    <a:pt x="454" y="6"/>
                  </a:lnTo>
                  <a:lnTo>
                    <a:pt x="454" y="6"/>
                  </a:lnTo>
                  <a:lnTo>
                    <a:pt x="456" y="8"/>
                  </a:lnTo>
                  <a:lnTo>
                    <a:pt x="456" y="8"/>
                  </a:lnTo>
                  <a:lnTo>
                    <a:pt x="465" y="13"/>
                  </a:lnTo>
                  <a:lnTo>
                    <a:pt x="467" y="13"/>
                  </a:lnTo>
                  <a:lnTo>
                    <a:pt x="467" y="13"/>
                  </a:lnTo>
                  <a:lnTo>
                    <a:pt x="467" y="15"/>
                  </a:lnTo>
                  <a:lnTo>
                    <a:pt x="471" y="17"/>
                  </a:lnTo>
                  <a:lnTo>
                    <a:pt x="475" y="19"/>
                  </a:lnTo>
                  <a:lnTo>
                    <a:pt x="485" y="23"/>
                  </a:lnTo>
                  <a:lnTo>
                    <a:pt x="487" y="25"/>
                  </a:lnTo>
                  <a:lnTo>
                    <a:pt x="487" y="25"/>
                  </a:lnTo>
                  <a:lnTo>
                    <a:pt x="487" y="25"/>
                  </a:lnTo>
                  <a:lnTo>
                    <a:pt x="493" y="27"/>
                  </a:lnTo>
                  <a:lnTo>
                    <a:pt x="495" y="27"/>
                  </a:lnTo>
                  <a:lnTo>
                    <a:pt x="497" y="27"/>
                  </a:lnTo>
                  <a:lnTo>
                    <a:pt x="499" y="27"/>
                  </a:lnTo>
                  <a:lnTo>
                    <a:pt x="501" y="25"/>
                  </a:lnTo>
                  <a:lnTo>
                    <a:pt x="501" y="25"/>
                  </a:lnTo>
                  <a:lnTo>
                    <a:pt x="501" y="25"/>
                  </a:lnTo>
                  <a:lnTo>
                    <a:pt x="501" y="23"/>
                  </a:lnTo>
                  <a:lnTo>
                    <a:pt x="503" y="21"/>
                  </a:lnTo>
                  <a:lnTo>
                    <a:pt x="503" y="21"/>
                  </a:lnTo>
                  <a:lnTo>
                    <a:pt x="503" y="19"/>
                  </a:lnTo>
                  <a:lnTo>
                    <a:pt x="506" y="19"/>
                  </a:lnTo>
                  <a:lnTo>
                    <a:pt x="508" y="19"/>
                  </a:lnTo>
                  <a:lnTo>
                    <a:pt x="512" y="19"/>
                  </a:lnTo>
                  <a:lnTo>
                    <a:pt x="516" y="19"/>
                  </a:lnTo>
                  <a:lnTo>
                    <a:pt x="518" y="19"/>
                  </a:lnTo>
                  <a:lnTo>
                    <a:pt x="518" y="19"/>
                  </a:lnTo>
                  <a:lnTo>
                    <a:pt x="520" y="21"/>
                  </a:lnTo>
                  <a:lnTo>
                    <a:pt x="522" y="21"/>
                  </a:lnTo>
                  <a:lnTo>
                    <a:pt x="524" y="19"/>
                  </a:lnTo>
                  <a:lnTo>
                    <a:pt x="526" y="17"/>
                  </a:lnTo>
                  <a:lnTo>
                    <a:pt x="532" y="19"/>
                  </a:lnTo>
                  <a:lnTo>
                    <a:pt x="534" y="19"/>
                  </a:lnTo>
                  <a:lnTo>
                    <a:pt x="551" y="15"/>
                  </a:lnTo>
                  <a:lnTo>
                    <a:pt x="553" y="17"/>
                  </a:lnTo>
                  <a:lnTo>
                    <a:pt x="555" y="17"/>
                  </a:lnTo>
                  <a:lnTo>
                    <a:pt x="557" y="19"/>
                  </a:lnTo>
                  <a:lnTo>
                    <a:pt x="559" y="21"/>
                  </a:lnTo>
                  <a:lnTo>
                    <a:pt x="561" y="23"/>
                  </a:lnTo>
                  <a:lnTo>
                    <a:pt x="563" y="25"/>
                  </a:lnTo>
                  <a:lnTo>
                    <a:pt x="565" y="25"/>
                  </a:lnTo>
                  <a:lnTo>
                    <a:pt x="567" y="27"/>
                  </a:lnTo>
                  <a:lnTo>
                    <a:pt x="571" y="27"/>
                  </a:lnTo>
                  <a:lnTo>
                    <a:pt x="571" y="27"/>
                  </a:lnTo>
                  <a:lnTo>
                    <a:pt x="573" y="27"/>
                  </a:lnTo>
                  <a:lnTo>
                    <a:pt x="575" y="27"/>
                  </a:lnTo>
                  <a:lnTo>
                    <a:pt x="577" y="29"/>
                  </a:lnTo>
                  <a:lnTo>
                    <a:pt x="577" y="29"/>
                  </a:lnTo>
                  <a:lnTo>
                    <a:pt x="577" y="29"/>
                  </a:lnTo>
                  <a:lnTo>
                    <a:pt x="579" y="29"/>
                  </a:lnTo>
                  <a:lnTo>
                    <a:pt x="587" y="31"/>
                  </a:lnTo>
                  <a:lnTo>
                    <a:pt x="589" y="31"/>
                  </a:lnTo>
                  <a:lnTo>
                    <a:pt x="589" y="33"/>
                  </a:lnTo>
                  <a:lnTo>
                    <a:pt x="589" y="33"/>
                  </a:lnTo>
                  <a:lnTo>
                    <a:pt x="592" y="35"/>
                  </a:lnTo>
                  <a:lnTo>
                    <a:pt x="592" y="35"/>
                  </a:lnTo>
                  <a:lnTo>
                    <a:pt x="592" y="35"/>
                  </a:lnTo>
                  <a:lnTo>
                    <a:pt x="594" y="37"/>
                  </a:lnTo>
                  <a:lnTo>
                    <a:pt x="594" y="37"/>
                  </a:lnTo>
                  <a:lnTo>
                    <a:pt x="598" y="35"/>
                  </a:lnTo>
                  <a:lnTo>
                    <a:pt x="598" y="35"/>
                  </a:lnTo>
                  <a:lnTo>
                    <a:pt x="600" y="37"/>
                  </a:lnTo>
                  <a:lnTo>
                    <a:pt x="600" y="37"/>
                  </a:lnTo>
                  <a:lnTo>
                    <a:pt x="600" y="37"/>
                  </a:lnTo>
                  <a:lnTo>
                    <a:pt x="600" y="39"/>
                  </a:lnTo>
                  <a:lnTo>
                    <a:pt x="600" y="39"/>
                  </a:lnTo>
                  <a:lnTo>
                    <a:pt x="600" y="41"/>
                  </a:lnTo>
                  <a:lnTo>
                    <a:pt x="600" y="41"/>
                  </a:lnTo>
                  <a:lnTo>
                    <a:pt x="600" y="43"/>
                  </a:lnTo>
                  <a:lnTo>
                    <a:pt x="604" y="45"/>
                  </a:lnTo>
                  <a:lnTo>
                    <a:pt x="606" y="47"/>
                  </a:lnTo>
                  <a:lnTo>
                    <a:pt x="606" y="49"/>
                  </a:lnTo>
                  <a:lnTo>
                    <a:pt x="606" y="51"/>
                  </a:lnTo>
                  <a:lnTo>
                    <a:pt x="608" y="51"/>
                  </a:lnTo>
                  <a:lnTo>
                    <a:pt x="618" y="54"/>
                  </a:lnTo>
                  <a:lnTo>
                    <a:pt x="618" y="54"/>
                  </a:lnTo>
                  <a:close/>
                </a:path>
              </a:pathLst>
            </a:custGeom>
            <a:solidFill>
              <a:schemeClr val="bg1">
                <a:lumMod val="75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NE</a:t>
              </a:r>
            </a:p>
          </p:txBody>
        </p:sp>
        <p:sp>
          <p:nvSpPr>
            <p:cNvPr id="86" name="Freeform 27">
              <a:extLst>
                <a:ext uri="{FF2B5EF4-FFF2-40B4-BE49-F238E27FC236}">
                  <a16:creationId xmlns:a16="http://schemas.microsoft.com/office/drawing/2014/main" id="{6075C021-C706-E1D9-E26A-67DAD62A7CF7}"/>
                </a:ext>
              </a:extLst>
            </p:cNvPr>
            <p:cNvSpPr>
              <a:spLocks/>
            </p:cNvSpPr>
            <p:nvPr/>
          </p:nvSpPr>
          <p:spPr bwMode="auto">
            <a:xfrm>
              <a:off x="2412" y="174"/>
              <a:ext cx="584" cy="320"/>
            </a:xfrm>
            <a:custGeom>
              <a:avLst/>
              <a:gdLst>
                <a:gd name="T0" fmla="*/ 528 w 584"/>
                <a:gd name="T1" fmla="*/ 318 h 320"/>
                <a:gd name="T2" fmla="*/ 455 w 584"/>
                <a:gd name="T3" fmla="*/ 320 h 320"/>
                <a:gd name="T4" fmla="*/ 383 w 584"/>
                <a:gd name="T5" fmla="*/ 320 h 320"/>
                <a:gd name="T6" fmla="*/ 309 w 584"/>
                <a:gd name="T7" fmla="*/ 320 h 320"/>
                <a:gd name="T8" fmla="*/ 238 w 584"/>
                <a:gd name="T9" fmla="*/ 320 h 320"/>
                <a:gd name="T10" fmla="*/ 164 w 584"/>
                <a:gd name="T11" fmla="*/ 320 h 320"/>
                <a:gd name="T12" fmla="*/ 92 w 584"/>
                <a:gd name="T13" fmla="*/ 318 h 320"/>
                <a:gd name="T14" fmla="*/ 19 w 584"/>
                <a:gd name="T15" fmla="*/ 316 h 320"/>
                <a:gd name="T16" fmla="*/ 2 w 584"/>
                <a:gd name="T17" fmla="*/ 256 h 320"/>
                <a:gd name="T18" fmla="*/ 4 w 584"/>
                <a:gd name="T19" fmla="*/ 177 h 320"/>
                <a:gd name="T20" fmla="*/ 6 w 584"/>
                <a:gd name="T21" fmla="*/ 99 h 320"/>
                <a:gd name="T22" fmla="*/ 10 w 584"/>
                <a:gd name="T23" fmla="*/ 21 h 320"/>
                <a:gd name="T24" fmla="*/ 47 w 584"/>
                <a:gd name="T25" fmla="*/ 2 h 320"/>
                <a:gd name="T26" fmla="*/ 115 w 584"/>
                <a:gd name="T27" fmla="*/ 4 h 320"/>
                <a:gd name="T28" fmla="*/ 180 w 584"/>
                <a:gd name="T29" fmla="*/ 4 h 320"/>
                <a:gd name="T30" fmla="*/ 229 w 584"/>
                <a:gd name="T31" fmla="*/ 6 h 320"/>
                <a:gd name="T32" fmla="*/ 297 w 584"/>
                <a:gd name="T33" fmla="*/ 6 h 320"/>
                <a:gd name="T34" fmla="*/ 363 w 584"/>
                <a:gd name="T35" fmla="*/ 6 h 320"/>
                <a:gd name="T36" fmla="*/ 428 w 584"/>
                <a:gd name="T37" fmla="*/ 4 h 320"/>
                <a:gd name="T38" fmla="*/ 496 w 584"/>
                <a:gd name="T39" fmla="*/ 4 h 320"/>
                <a:gd name="T40" fmla="*/ 522 w 584"/>
                <a:gd name="T41" fmla="*/ 6 h 320"/>
                <a:gd name="T42" fmla="*/ 524 w 584"/>
                <a:gd name="T43" fmla="*/ 13 h 320"/>
                <a:gd name="T44" fmla="*/ 526 w 584"/>
                <a:gd name="T45" fmla="*/ 19 h 320"/>
                <a:gd name="T46" fmla="*/ 533 w 584"/>
                <a:gd name="T47" fmla="*/ 33 h 320"/>
                <a:gd name="T48" fmla="*/ 528 w 584"/>
                <a:gd name="T49" fmla="*/ 49 h 320"/>
                <a:gd name="T50" fmla="*/ 533 w 584"/>
                <a:gd name="T51" fmla="*/ 62 h 320"/>
                <a:gd name="T52" fmla="*/ 533 w 584"/>
                <a:gd name="T53" fmla="*/ 74 h 320"/>
                <a:gd name="T54" fmla="*/ 533 w 584"/>
                <a:gd name="T55" fmla="*/ 88 h 320"/>
                <a:gd name="T56" fmla="*/ 539 w 584"/>
                <a:gd name="T57" fmla="*/ 107 h 320"/>
                <a:gd name="T58" fmla="*/ 543 w 584"/>
                <a:gd name="T59" fmla="*/ 117 h 320"/>
                <a:gd name="T60" fmla="*/ 543 w 584"/>
                <a:gd name="T61" fmla="*/ 123 h 320"/>
                <a:gd name="T62" fmla="*/ 545 w 584"/>
                <a:gd name="T63" fmla="*/ 125 h 320"/>
                <a:gd name="T64" fmla="*/ 549 w 584"/>
                <a:gd name="T65" fmla="*/ 131 h 320"/>
                <a:gd name="T66" fmla="*/ 553 w 584"/>
                <a:gd name="T67" fmla="*/ 142 h 320"/>
                <a:gd name="T68" fmla="*/ 555 w 584"/>
                <a:gd name="T69" fmla="*/ 146 h 320"/>
                <a:gd name="T70" fmla="*/ 555 w 584"/>
                <a:gd name="T71" fmla="*/ 150 h 320"/>
                <a:gd name="T72" fmla="*/ 555 w 584"/>
                <a:gd name="T73" fmla="*/ 156 h 320"/>
                <a:gd name="T74" fmla="*/ 555 w 584"/>
                <a:gd name="T75" fmla="*/ 166 h 320"/>
                <a:gd name="T76" fmla="*/ 557 w 584"/>
                <a:gd name="T77" fmla="*/ 183 h 320"/>
                <a:gd name="T78" fmla="*/ 557 w 584"/>
                <a:gd name="T79" fmla="*/ 191 h 320"/>
                <a:gd name="T80" fmla="*/ 559 w 584"/>
                <a:gd name="T81" fmla="*/ 201 h 320"/>
                <a:gd name="T82" fmla="*/ 561 w 584"/>
                <a:gd name="T83" fmla="*/ 211 h 320"/>
                <a:gd name="T84" fmla="*/ 561 w 584"/>
                <a:gd name="T85" fmla="*/ 213 h 320"/>
                <a:gd name="T86" fmla="*/ 563 w 584"/>
                <a:gd name="T87" fmla="*/ 215 h 320"/>
                <a:gd name="T88" fmla="*/ 563 w 584"/>
                <a:gd name="T89" fmla="*/ 217 h 320"/>
                <a:gd name="T90" fmla="*/ 561 w 584"/>
                <a:gd name="T91" fmla="*/ 226 h 320"/>
                <a:gd name="T92" fmla="*/ 561 w 584"/>
                <a:gd name="T93" fmla="*/ 230 h 320"/>
                <a:gd name="T94" fmla="*/ 561 w 584"/>
                <a:gd name="T95" fmla="*/ 242 h 320"/>
                <a:gd name="T96" fmla="*/ 565 w 584"/>
                <a:gd name="T97" fmla="*/ 250 h 320"/>
                <a:gd name="T98" fmla="*/ 567 w 584"/>
                <a:gd name="T99" fmla="*/ 261 h 320"/>
                <a:gd name="T100" fmla="*/ 569 w 584"/>
                <a:gd name="T101" fmla="*/ 263 h 320"/>
                <a:gd name="T102" fmla="*/ 578 w 584"/>
                <a:gd name="T103" fmla="*/ 275 h 320"/>
                <a:gd name="T104" fmla="*/ 580 w 584"/>
                <a:gd name="T105" fmla="*/ 287 h 320"/>
                <a:gd name="T106" fmla="*/ 582 w 584"/>
                <a:gd name="T107" fmla="*/ 293 h 320"/>
                <a:gd name="T108" fmla="*/ 582 w 584"/>
                <a:gd name="T109" fmla="*/ 299 h 320"/>
                <a:gd name="T110" fmla="*/ 582 w 584"/>
                <a:gd name="T111" fmla="*/ 31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320">
                  <a:moveTo>
                    <a:pt x="584" y="316"/>
                  </a:moveTo>
                  <a:lnTo>
                    <a:pt x="565" y="318"/>
                  </a:lnTo>
                  <a:lnTo>
                    <a:pt x="547" y="318"/>
                  </a:lnTo>
                  <a:lnTo>
                    <a:pt x="528" y="318"/>
                  </a:lnTo>
                  <a:lnTo>
                    <a:pt x="510" y="318"/>
                  </a:lnTo>
                  <a:lnTo>
                    <a:pt x="492" y="318"/>
                  </a:lnTo>
                  <a:lnTo>
                    <a:pt x="473" y="320"/>
                  </a:lnTo>
                  <a:lnTo>
                    <a:pt x="455" y="320"/>
                  </a:lnTo>
                  <a:lnTo>
                    <a:pt x="436" y="320"/>
                  </a:lnTo>
                  <a:lnTo>
                    <a:pt x="420" y="320"/>
                  </a:lnTo>
                  <a:lnTo>
                    <a:pt x="402" y="320"/>
                  </a:lnTo>
                  <a:lnTo>
                    <a:pt x="383" y="320"/>
                  </a:lnTo>
                  <a:lnTo>
                    <a:pt x="365" y="320"/>
                  </a:lnTo>
                  <a:lnTo>
                    <a:pt x="346" y="320"/>
                  </a:lnTo>
                  <a:lnTo>
                    <a:pt x="328" y="320"/>
                  </a:lnTo>
                  <a:lnTo>
                    <a:pt x="309" y="320"/>
                  </a:lnTo>
                  <a:lnTo>
                    <a:pt x="291" y="320"/>
                  </a:lnTo>
                  <a:lnTo>
                    <a:pt x="272" y="320"/>
                  </a:lnTo>
                  <a:lnTo>
                    <a:pt x="256" y="320"/>
                  </a:lnTo>
                  <a:lnTo>
                    <a:pt x="238" y="320"/>
                  </a:lnTo>
                  <a:lnTo>
                    <a:pt x="219" y="320"/>
                  </a:lnTo>
                  <a:lnTo>
                    <a:pt x="201" y="320"/>
                  </a:lnTo>
                  <a:lnTo>
                    <a:pt x="182" y="320"/>
                  </a:lnTo>
                  <a:lnTo>
                    <a:pt x="164" y="320"/>
                  </a:lnTo>
                  <a:lnTo>
                    <a:pt x="145" y="320"/>
                  </a:lnTo>
                  <a:lnTo>
                    <a:pt x="127" y="318"/>
                  </a:lnTo>
                  <a:lnTo>
                    <a:pt x="111" y="318"/>
                  </a:lnTo>
                  <a:lnTo>
                    <a:pt x="92" y="318"/>
                  </a:lnTo>
                  <a:lnTo>
                    <a:pt x="74" y="318"/>
                  </a:lnTo>
                  <a:lnTo>
                    <a:pt x="55" y="316"/>
                  </a:lnTo>
                  <a:lnTo>
                    <a:pt x="37" y="316"/>
                  </a:lnTo>
                  <a:lnTo>
                    <a:pt x="19" y="316"/>
                  </a:lnTo>
                  <a:lnTo>
                    <a:pt x="0" y="316"/>
                  </a:lnTo>
                  <a:lnTo>
                    <a:pt x="0" y="295"/>
                  </a:lnTo>
                  <a:lnTo>
                    <a:pt x="2" y="275"/>
                  </a:lnTo>
                  <a:lnTo>
                    <a:pt x="2" y="256"/>
                  </a:lnTo>
                  <a:lnTo>
                    <a:pt x="2" y="236"/>
                  </a:lnTo>
                  <a:lnTo>
                    <a:pt x="4" y="215"/>
                  </a:lnTo>
                  <a:lnTo>
                    <a:pt x="4" y="197"/>
                  </a:lnTo>
                  <a:lnTo>
                    <a:pt x="4" y="177"/>
                  </a:lnTo>
                  <a:lnTo>
                    <a:pt x="6" y="156"/>
                  </a:lnTo>
                  <a:lnTo>
                    <a:pt x="6" y="138"/>
                  </a:lnTo>
                  <a:lnTo>
                    <a:pt x="6" y="117"/>
                  </a:lnTo>
                  <a:lnTo>
                    <a:pt x="6" y="99"/>
                  </a:lnTo>
                  <a:lnTo>
                    <a:pt x="8" y="78"/>
                  </a:lnTo>
                  <a:lnTo>
                    <a:pt x="8" y="60"/>
                  </a:lnTo>
                  <a:lnTo>
                    <a:pt x="8" y="39"/>
                  </a:lnTo>
                  <a:lnTo>
                    <a:pt x="10" y="21"/>
                  </a:lnTo>
                  <a:lnTo>
                    <a:pt x="10" y="0"/>
                  </a:lnTo>
                  <a:lnTo>
                    <a:pt x="14" y="0"/>
                  </a:lnTo>
                  <a:lnTo>
                    <a:pt x="31" y="2"/>
                  </a:lnTo>
                  <a:lnTo>
                    <a:pt x="47" y="2"/>
                  </a:lnTo>
                  <a:lnTo>
                    <a:pt x="64" y="2"/>
                  </a:lnTo>
                  <a:lnTo>
                    <a:pt x="82" y="2"/>
                  </a:lnTo>
                  <a:lnTo>
                    <a:pt x="98" y="4"/>
                  </a:lnTo>
                  <a:lnTo>
                    <a:pt x="115" y="4"/>
                  </a:lnTo>
                  <a:lnTo>
                    <a:pt x="131" y="4"/>
                  </a:lnTo>
                  <a:lnTo>
                    <a:pt x="148" y="4"/>
                  </a:lnTo>
                  <a:lnTo>
                    <a:pt x="164" y="4"/>
                  </a:lnTo>
                  <a:lnTo>
                    <a:pt x="180" y="4"/>
                  </a:lnTo>
                  <a:lnTo>
                    <a:pt x="197" y="4"/>
                  </a:lnTo>
                  <a:lnTo>
                    <a:pt x="211" y="6"/>
                  </a:lnTo>
                  <a:lnTo>
                    <a:pt x="213" y="6"/>
                  </a:lnTo>
                  <a:lnTo>
                    <a:pt x="229" y="6"/>
                  </a:lnTo>
                  <a:lnTo>
                    <a:pt x="246" y="6"/>
                  </a:lnTo>
                  <a:lnTo>
                    <a:pt x="262" y="6"/>
                  </a:lnTo>
                  <a:lnTo>
                    <a:pt x="281" y="6"/>
                  </a:lnTo>
                  <a:lnTo>
                    <a:pt x="297" y="6"/>
                  </a:lnTo>
                  <a:lnTo>
                    <a:pt x="313" y="6"/>
                  </a:lnTo>
                  <a:lnTo>
                    <a:pt x="330" y="6"/>
                  </a:lnTo>
                  <a:lnTo>
                    <a:pt x="346" y="6"/>
                  </a:lnTo>
                  <a:lnTo>
                    <a:pt x="363" y="6"/>
                  </a:lnTo>
                  <a:lnTo>
                    <a:pt x="379" y="6"/>
                  </a:lnTo>
                  <a:lnTo>
                    <a:pt x="395" y="6"/>
                  </a:lnTo>
                  <a:lnTo>
                    <a:pt x="412" y="6"/>
                  </a:lnTo>
                  <a:lnTo>
                    <a:pt x="428" y="4"/>
                  </a:lnTo>
                  <a:lnTo>
                    <a:pt x="445" y="4"/>
                  </a:lnTo>
                  <a:lnTo>
                    <a:pt x="461" y="4"/>
                  </a:lnTo>
                  <a:lnTo>
                    <a:pt x="479" y="4"/>
                  </a:lnTo>
                  <a:lnTo>
                    <a:pt x="496" y="4"/>
                  </a:lnTo>
                  <a:lnTo>
                    <a:pt x="512" y="4"/>
                  </a:lnTo>
                  <a:lnTo>
                    <a:pt x="522" y="4"/>
                  </a:lnTo>
                  <a:lnTo>
                    <a:pt x="522" y="4"/>
                  </a:lnTo>
                  <a:lnTo>
                    <a:pt x="522" y="6"/>
                  </a:lnTo>
                  <a:lnTo>
                    <a:pt x="522" y="8"/>
                  </a:lnTo>
                  <a:lnTo>
                    <a:pt x="524" y="8"/>
                  </a:lnTo>
                  <a:lnTo>
                    <a:pt x="524" y="11"/>
                  </a:lnTo>
                  <a:lnTo>
                    <a:pt x="524" y="13"/>
                  </a:lnTo>
                  <a:lnTo>
                    <a:pt x="524" y="13"/>
                  </a:lnTo>
                  <a:lnTo>
                    <a:pt x="526" y="15"/>
                  </a:lnTo>
                  <a:lnTo>
                    <a:pt x="526" y="15"/>
                  </a:lnTo>
                  <a:lnTo>
                    <a:pt x="526" y="19"/>
                  </a:lnTo>
                  <a:lnTo>
                    <a:pt x="528" y="25"/>
                  </a:lnTo>
                  <a:lnTo>
                    <a:pt x="531" y="29"/>
                  </a:lnTo>
                  <a:lnTo>
                    <a:pt x="531" y="29"/>
                  </a:lnTo>
                  <a:lnTo>
                    <a:pt x="533" y="33"/>
                  </a:lnTo>
                  <a:lnTo>
                    <a:pt x="533" y="39"/>
                  </a:lnTo>
                  <a:lnTo>
                    <a:pt x="533" y="41"/>
                  </a:lnTo>
                  <a:lnTo>
                    <a:pt x="531" y="45"/>
                  </a:lnTo>
                  <a:lnTo>
                    <a:pt x="528" y="49"/>
                  </a:lnTo>
                  <a:lnTo>
                    <a:pt x="531" y="56"/>
                  </a:lnTo>
                  <a:lnTo>
                    <a:pt x="531" y="60"/>
                  </a:lnTo>
                  <a:lnTo>
                    <a:pt x="533" y="62"/>
                  </a:lnTo>
                  <a:lnTo>
                    <a:pt x="533" y="62"/>
                  </a:lnTo>
                  <a:lnTo>
                    <a:pt x="533" y="64"/>
                  </a:lnTo>
                  <a:lnTo>
                    <a:pt x="531" y="66"/>
                  </a:lnTo>
                  <a:lnTo>
                    <a:pt x="531" y="66"/>
                  </a:lnTo>
                  <a:lnTo>
                    <a:pt x="533" y="74"/>
                  </a:lnTo>
                  <a:lnTo>
                    <a:pt x="533" y="74"/>
                  </a:lnTo>
                  <a:lnTo>
                    <a:pt x="533" y="76"/>
                  </a:lnTo>
                  <a:lnTo>
                    <a:pt x="533" y="82"/>
                  </a:lnTo>
                  <a:lnTo>
                    <a:pt x="533" y="88"/>
                  </a:lnTo>
                  <a:lnTo>
                    <a:pt x="533" y="90"/>
                  </a:lnTo>
                  <a:lnTo>
                    <a:pt x="535" y="95"/>
                  </a:lnTo>
                  <a:lnTo>
                    <a:pt x="539" y="103"/>
                  </a:lnTo>
                  <a:lnTo>
                    <a:pt x="539" y="107"/>
                  </a:lnTo>
                  <a:lnTo>
                    <a:pt x="541" y="109"/>
                  </a:lnTo>
                  <a:lnTo>
                    <a:pt x="543" y="113"/>
                  </a:lnTo>
                  <a:lnTo>
                    <a:pt x="541" y="115"/>
                  </a:lnTo>
                  <a:lnTo>
                    <a:pt x="543" y="117"/>
                  </a:lnTo>
                  <a:lnTo>
                    <a:pt x="545" y="123"/>
                  </a:lnTo>
                  <a:lnTo>
                    <a:pt x="545" y="123"/>
                  </a:lnTo>
                  <a:lnTo>
                    <a:pt x="543" y="123"/>
                  </a:lnTo>
                  <a:lnTo>
                    <a:pt x="543" y="123"/>
                  </a:lnTo>
                  <a:lnTo>
                    <a:pt x="545" y="125"/>
                  </a:lnTo>
                  <a:lnTo>
                    <a:pt x="545" y="125"/>
                  </a:lnTo>
                  <a:lnTo>
                    <a:pt x="545" y="125"/>
                  </a:lnTo>
                  <a:lnTo>
                    <a:pt x="545" y="125"/>
                  </a:lnTo>
                  <a:lnTo>
                    <a:pt x="545" y="125"/>
                  </a:lnTo>
                  <a:lnTo>
                    <a:pt x="547" y="127"/>
                  </a:lnTo>
                  <a:lnTo>
                    <a:pt x="547" y="129"/>
                  </a:lnTo>
                  <a:lnTo>
                    <a:pt x="549" y="131"/>
                  </a:lnTo>
                  <a:lnTo>
                    <a:pt x="549" y="133"/>
                  </a:lnTo>
                  <a:lnTo>
                    <a:pt x="551" y="136"/>
                  </a:lnTo>
                  <a:lnTo>
                    <a:pt x="551" y="138"/>
                  </a:lnTo>
                  <a:lnTo>
                    <a:pt x="553" y="142"/>
                  </a:lnTo>
                  <a:lnTo>
                    <a:pt x="553" y="144"/>
                  </a:lnTo>
                  <a:lnTo>
                    <a:pt x="555" y="146"/>
                  </a:lnTo>
                  <a:lnTo>
                    <a:pt x="555" y="146"/>
                  </a:lnTo>
                  <a:lnTo>
                    <a:pt x="555" y="146"/>
                  </a:lnTo>
                  <a:lnTo>
                    <a:pt x="555" y="146"/>
                  </a:lnTo>
                  <a:lnTo>
                    <a:pt x="555" y="148"/>
                  </a:lnTo>
                  <a:lnTo>
                    <a:pt x="555" y="148"/>
                  </a:lnTo>
                  <a:lnTo>
                    <a:pt x="555" y="150"/>
                  </a:lnTo>
                  <a:lnTo>
                    <a:pt x="555" y="152"/>
                  </a:lnTo>
                  <a:lnTo>
                    <a:pt x="555" y="154"/>
                  </a:lnTo>
                  <a:lnTo>
                    <a:pt x="555" y="156"/>
                  </a:lnTo>
                  <a:lnTo>
                    <a:pt x="555" y="156"/>
                  </a:lnTo>
                  <a:lnTo>
                    <a:pt x="555" y="162"/>
                  </a:lnTo>
                  <a:lnTo>
                    <a:pt x="555" y="164"/>
                  </a:lnTo>
                  <a:lnTo>
                    <a:pt x="555" y="164"/>
                  </a:lnTo>
                  <a:lnTo>
                    <a:pt x="555" y="166"/>
                  </a:lnTo>
                  <a:lnTo>
                    <a:pt x="555" y="166"/>
                  </a:lnTo>
                  <a:lnTo>
                    <a:pt x="557" y="168"/>
                  </a:lnTo>
                  <a:lnTo>
                    <a:pt x="557" y="181"/>
                  </a:lnTo>
                  <a:lnTo>
                    <a:pt x="557" y="183"/>
                  </a:lnTo>
                  <a:lnTo>
                    <a:pt x="557" y="189"/>
                  </a:lnTo>
                  <a:lnTo>
                    <a:pt x="557" y="191"/>
                  </a:lnTo>
                  <a:lnTo>
                    <a:pt x="557" y="191"/>
                  </a:lnTo>
                  <a:lnTo>
                    <a:pt x="557" y="191"/>
                  </a:lnTo>
                  <a:lnTo>
                    <a:pt x="557" y="193"/>
                  </a:lnTo>
                  <a:lnTo>
                    <a:pt x="557" y="195"/>
                  </a:lnTo>
                  <a:lnTo>
                    <a:pt x="559" y="199"/>
                  </a:lnTo>
                  <a:lnTo>
                    <a:pt x="559" y="201"/>
                  </a:lnTo>
                  <a:lnTo>
                    <a:pt x="559" y="207"/>
                  </a:lnTo>
                  <a:lnTo>
                    <a:pt x="559" y="209"/>
                  </a:lnTo>
                  <a:lnTo>
                    <a:pt x="559" y="209"/>
                  </a:lnTo>
                  <a:lnTo>
                    <a:pt x="561" y="211"/>
                  </a:lnTo>
                  <a:lnTo>
                    <a:pt x="561" y="211"/>
                  </a:lnTo>
                  <a:lnTo>
                    <a:pt x="561" y="213"/>
                  </a:lnTo>
                  <a:lnTo>
                    <a:pt x="561" y="213"/>
                  </a:lnTo>
                  <a:lnTo>
                    <a:pt x="561" y="213"/>
                  </a:lnTo>
                  <a:lnTo>
                    <a:pt x="561" y="213"/>
                  </a:lnTo>
                  <a:lnTo>
                    <a:pt x="563" y="213"/>
                  </a:lnTo>
                  <a:lnTo>
                    <a:pt x="563" y="213"/>
                  </a:lnTo>
                  <a:lnTo>
                    <a:pt x="563" y="215"/>
                  </a:lnTo>
                  <a:lnTo>
                    <a:pt x="563" y="215"/>
                  </a:lnTo>
                  <a:lnTo>
                    <a:pt x="563" y="215"/>
                  </a:lnTo>
                  <a:lnTo>
                    <a:pt x="563" y="215"/>
                  </a:lnTo>
                  <a:lnTo>
                    <a:pt x="563" y="217"/>
                  </a:lnTo>
                  <a:lnTo>
                    <a:pt x="563" y="220"/>
                  </a:lnTo>
                  <a:lnTo>
                    <a:pt x="561" y="220"/>
                  </a:lnTo>
                  <a:lnTo>
                    <a:pt x="563" y="224"/>
                  </a:lnTo>
                  <a:lnTo>
                    <a:pt x="561" y="226"/>
                  </a:lnTo>
                  <a:lnTo>
                    <a:pt x="561" y="226"/>
                  </a:lnTo>
                  <a:lnTo>
                    <a:pt x="561" y="228"/>
                  </a:lnTo>
                  <a:lnTo>
                    <a:pt x="561" y="228"/>
                  </a:lnTo>
                  <a:lnTo>
                    <a:pt x="561" y="230"/>
                  </a:lnTo>
                  <a:lnTo>
                    <a:pt x="563" y="234"/>
                  </a:lnTo>
                  <a:lnTo>
                    <a:pt x="563" y="236"/>
                  </a:lnTo>
                  <a:lnTo>
                    <a:pt x="563" y="238"/>
                  </a:lnTo>
                  <a:lnTo>
                    <a:pt x="561" y="242"/>
                  </a:lnTo>
                  <a:lnTo>
                    <a:pt x="561" y="244"/>
                  </a:lnTo>
                  <a:lnTo>
                    <a:pt x="563" y="246"/>
                  </a:lnTo>
                  <a:lnTo>
                    <a:pt x="565" y="248"/>
                  </a:lnTo>
                  <a:lnTo>
                    <a:pt x="565" y="250"/>
                  </a:lnTo>
                  <a:lnTo>
                    <a:pt x="567" y="254"/>
                  </a:lnTo>
                  <a:lnTo>
                    <a:pt x="567" y="256"/>
                  </a:lnTo>
                  <a:lnTo>
                    <a:pt x="567" y="258"/>
                  </a:lnTo>
                  <a:lnTo>
                    <a:pt x="567" y="261"/>
                  </a:lnTo>
                  <a:lnTo>
                    <a:pt x="567" y="261"/>
                  </a:lnTo>
                  <a:lnTo>
                    <a:pt x="569" y="263"/>
                  </a:lnTo>
                  <a:lnTo>
                    <a:pt x="569" y="263"/>
                  </a:lnTo>
                  <a:lnTo>
                    <a:pt x="569" y="263"/>
                  </a:lnTo>
                  <a:lnTo>
                    <a:pt x="569" y="265"/>
                  </a:lnTo>
                  <a:lnTo>
                    <a:pt x="569" y="267"/>
                  </a:lnTo>
                  <a:lnTo>
                    <a:pt x="574" y="273"/>
                  </a:lnTo>
                  <a:lnTo>
                    <a:pt x="578" y="275"/>
                  </a:lnTo>
                  <a:lnTo>
                    <a:pt x="578" y="277"/>
                  </a:lnTo>
                  <a:lnTo>
                    <a:pt x="580" y="279"/>
                  </a:lnTo>
                  <a:lnTo>
                    <a:pt x="580" y="285"/>
                  </a:lnTo>
                  <a:lnTo>
                    <a:pt x="580" y="287"/>
                  </a:lnTo>
                  <a:lnTo>
                    <a:pt x="580" y="289"/>
                  </a:lnTo>
                  <a:lnTo>
                    <a:pt x="580" y="289"/>
                  </a:lnTo>
                  <a:lnTo>
                    <a:pt x="582" y="293"/>
                  </a:lnTo>
                  <a:lnTo>
                    <a:pt x="582" y="293"/>
                  </a:lnTo>
                  <a:lnTo>
                    <a:pt x="582" y="293"/>
                  </a:lnTo>
                  <a:lnTo>
                    <a:pt x="582" y="295"/>
                  </a:lnTo>
                  <a:lnTo>
                    <a:pt x="582" y="295"/>
                  </a:lnTo>
                  <a:lnTo>
                    <a:pt x="582" y="299"/>
                  </a:lnTo>
                  <a:lnTo>
                    <a:pt x="582" y="302"/>
                  </a:lnTo>
                  <a:lnTo>
                    <a:pt x="582" y="304"/>
                  </a:lnTo>
                  <a:lnTo>
                    <a:pt x="582" y="306"/>
                  </a:lnTo>
                  <a:lnTo>
                    <a:pt x="582" y="310"/>
                  </a:lnTo>
                  <a:lnTo>
                    <a:pt x="584" y="316"/>
                  </a:lnTo>
                  <a:lnTo>
                    <a:pt x="584" y="316"/>
                  </a:lnTo>
                  <a:close/>
                </a:path>
              </a:pathLst>
            </a:custGeom>
            <a:solidFill>
              <a:schemeClr val="bg1">
                <a:lumMod val="75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ND</a:t>
              </a:r>
            </a:p>
          </p:txBody>
        </p:sp>
        <p:sp>
          <p:nvSpPr>
            <p:cNvPr id="87" name="Freeform 28">
              <a:extLst>
                <a:ext uri="{FF2B5EF4-FFF2-40B4-BE49-F238E27FC236}">
                  <a16:creationId xmlns:a16="http://schemas.microsoft.com/office/drawing/2014/main" id="{F747F3CD-9BC8-5AE3-C452-56073DC4A3CC}"/>
                </a:ext>
              </a:extLst>
            </p:cNvPr>
            <p:cNvSpPr>
              <a:spLocks noEditPoints="1"/>
            </p:cNvSpPr>
            <p:nvPr/>
          </p:nvSpPr>
          <p:spPr bwMode="auto">
            <a:xfrm>
              <a:off x="4115" y="1262"/>
              <a:ext cx="764" cy="332"/>
            </a:xfrm>
            <a:custGeom>
              <a:avLst/>
              <a:gdLst>
                <a:gd name="T0" fmla="*/ 588 w 764"/>
                <a:gd name="T1" fmla="*/ 287 h 332"/>
                <a:gd name="T2" fmla="*/ 678 w 764"/>
                <a:gd name="T3" fmla="*/ 214 h 332"/>
                <a:gd name="T4" fmla="*/ 690 w 764"/>
                <a:gd name="T5" fmla="*/ 216 h 332"/>
                <a:gd name="T6" fmla="*/ 721 w 764"/>
                <a:gd name="T7" fmla="*/ 162 h 332"/>
                <a:gd name="T8" fmla="*/ 760 w 764"/>
                <a:gd name="T9" fmla="*/ 91 h 332"/>
                <a:gd name="T10" fmla="*/ 762 w 764"/>
                <a:gd name="T11" fmla="*/ 123 h 332"/>
                <a:gd name="T12" fmla="*/ 750 w 764"/>
                <a:gd name="T13" fmla="*/ 140 h 332"/>
                <a:gd name="T14" fmla="*/ 731 w 764"/>
                <a:gd name="T15" fmla="*/ 66 h 332"/>
                <a:gd name="T16" fmla="*/ 711 w 764"/>
                <a:gd name="T17" fmla="*/ 19 h 332"/>
                <a:gd name="T18" fmla="*/ 723 w 764"/>
                <a:gd name="T19" fmla="*/ 46 h 332"/>
                <a:gd name="T20" fmla="*/ 745 w 764"/>
                <a:gd name="T21" fmla="*/ 72 h 332"/>
                <a:gd name="T22" fmla="*/ 729 w 764"/>
                <a:gd name="T23" fmla="*/ 101 h 332"/>
                <a:gd name="T24" fmla="*/ 735 w 764"/>
                <a:gd name="T25" fmla="*/ 87 h 332"/>
                <a:gd name="T26" fmla="*/ 717 w 764"/>
                <a:gd name="T27" fmla="*/ 66 h 332"/>
                <a:gd name="T28" fmla="*/ 709 w 764"/>
                <a:gd name="T29" fmla="*/ 97 h 332"/>
                <a:gd name="T30" fmla="*/ 698 w 764"/>
                <a:gd name="T31" fmla="*/ 84 h 332"/>
                <a:gd name="T32" fmla="*/ 682 w 764"/>
                <a:gd name="T33" fmla="*/ 74 h 332"/>
                <a:gd name="T34" fmla="*/ 643 w 764"/>
                <a:gd name="T35" fmla="*/ 72 h 332"/>
                <a:gd name="T36" fmla="*/ 637 w 764"/>
                <a:gd name="T37" fmla="*/ 50 h 332"/>
                <a:gd name="T38" fmla="*/ 674 w 764"/>
                <a:gd name="T39" fmla="*/ 56 h 332"/>
                <a:gd name="T40" fmla="*/ 676 w 764"/>
                <a:gd name="T41" fmla="*/ 48 h 332"/>
                <a:gd name="T42" fmla="*/ 688 w 764"/>
                <a:gd name="T43" fmla="*/ 41 h 332"/>
                <a:gd name="T44" fmla="*/ 702 w 764"/>
                <a:gd name="T45" fmla="*/ 41 h 332"/>
                <a:gd name="T46" fmla="*/ 711 w 764"/>
                <a:gd name="T47" fmla="*/ 39 h 332"/>
                <a:gd name="T48" fmla="*/ 700 w 764"/>
                <a:gd name="T49" fmla="*/ 17 h 332"/>
                <a:gd name="T50" fmla="*/ 614 w 764"/>
                <a:gd name="T51" fmla="*/ 19 h 332"/>
                <a:gd name="T52" fmla="*/ 254 w 764"/>
                <a:gd name="T53" fmla="*/ 84 h 332"/>
                <a:gd name="T54" fmla="*/ 203 w 764"/>
                <a:gd name="T55" fmla="*/ 121 h 332"/>
                <a:gd name="T56" fmla="*/ 172 w 764"/>
                <a:gd name="T57" fmla="*/ 148 h 332"/>
                <a:gd name="T58" fmla="*/ 147 w 764"/>
                <a:gd name="T59" fmla="*/ 162 h 332"/>
                <a:gd name="T60" fmla="*/ 135 w 764"/>
                <a:gd name="T61" fmla="*/ 166 h 332"/>
                <a:gd name="T62" fmla="*/ 115 w 764"/>
                <a:gd name="T63" fmla="*/ 179 h 332"/>
                <a:gd name="T64" fmla="*/ 104 w 764"/>
                <a:gd name="T65" fmla="*/ 197 h 332"/>
                <a:gd name="T66" fmla="*/ 76 w 764"/>
                <a:gd name="T67" fmla="*/ 218 h 332"/>
                <a:gd name="T68" fmla="*/ 49 w 764"/>
                <a:gd name="T69" fmla="*/ 230 h 332"/>
                <a:gd name="T70" fmla="*/ 22 w 764"/>
                <a:gd name="T71" fmla="*/ 250 h 332"/>
                <a:gd name="T72" fmla="*/ 8 w 764"/>
                <a:gd name="T73" fmla="*/ 269 h 332"/>
                <a:gd name="T74" fmla="*/ 55 w 764"/>
                <a:gd name="T75" fmla="*/ 291 h 332"/>
                <a:gd name="T76" fmla="*/ 143 w 764"/>
                <a:gd name="T77" fmla="*/ 263 h 332"/>
                <a:gd name="T78" fmla="*/ 168 w 764"/>
                <a:gd name="T79" fmla="*/ 250 h 332"/>
                <a:gd name="T80" fmla="*/ 285 w 764"/>
                <a:gd name="T81" fmla="*/ 238 h 332"/>
                <a:gd name="T82" fmla="*/ 297 w 764"/>
                <a:gd name="T83" fmla="*/ 240 h 332"/>
                <a:gd name="T84" fmla="*/ 397 w 764"/>
                <a:gd name="T85" fmla="*/ 255 h 332"/>
                <a:gd name="T86" fmla="*/ 528 w 764"/>
                <a:gd name="T87" fmla="*/ 332 h 332"/>
                <a:gd name="T88" fmla="*/ 577 w 764"/>
                <a:gd name="T89" fmla="*/ 304 h 332"/>
                <a:gd name="T90" fmla="*/ 596 w 764"/>
                <a:gd name="T91" fmla="*/ 263 h 332"/>
                <a:gd name="T92" fmla="*/ 614 w 764"/>
                <a:gd name="T93" fmla="*/ 228 h 332"/>
                <a:gd name="T94" fmla="*/ 618 w 764"/>
                <a:gd name="T95" fmla="*/ 236 h 332"/>
                <a:gd name="T96" fmla="*/ 637 w 764"/>
                <a:gd name="T97" fmla="*/ 216 h 332"/>
                <a:gd name="T98" fmla="*/ 680 w 764"/>
                <a:gd name="T99" fmla="*/ 209 h 332"/>
                <a:gd name="T100" fmla="*/ 694 w 764"/>
                <a:gd name="T101" fmla="*/ 191 h 332"/>
                <a:gd name="T102" fmla="*/ 698 w 764"/>
                <a:gd name="T103" fmla="*/ 171 h 332"/>
                <a:gd name="T104" fmla="*/ 688 w 764"/>
                <a:gd name="T105" fmla="*/ 171 h 332"/>
                <a:gd name="T106" fmla="*/ 676 w 764"/>
                <a:gd name="T107" fmla="*/ 183 h 332"/>
                <a:gd name="T108" fmla="*/ 635 w 764"/>
                <a:gd name="T109" fmla="*/ 177 h 332"/>
                <a:gd name="T110" fmla="*/ 674 w 764"/>
                <a:gd name="T111" fmla="*/ 160 h 332"/>
                <a:gd name="T112" fmla="*/ 680 w 764"/>
                <a:gd name="T113" fmla="*/ 152 h 332"/>
                <a:gd name="T114" fmla="*/ 629 w 764"/>
                <a:gd name="T115" fmla="*/ 132 h 332"/>
                <a:gd name="T116" fmla="*/ 666 w 764"/>
                <a:gd name="T117" fmla="*/ 134 h 332"/>
                <a:gd name="T118" fmla="*/ 668 w 764"/>
                <a:gd name="T119" fmla="*/ 128 h 332"/>
                <a:gd name="T120" fmla="*/ 682 w 764"/>
                <a:gd name="T121" fmla="*/ 125 h 332"/>
                <a:gd name="T122" fmla="*/ 696 w 764"/>
                <a:gd name="T123" fmla="*/ 136 h 332"/>
                <a:gd name="T124" fmla="*/ 717 w 764"/>
                <a:gd name="T125"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332">
                  <a:moveTo>
                    <a:pt x="580" y="320"/>
                  </a:moveTo>
                  <a:lnTo>
                    <a:pt x="580" y="320"/>
                  </a:lnTo>
                  <a:lnTo>
                    <a:pt x="577" y="320"/>
                  </a:lnTo>
                  <a:lnTo>
                    <a:pt x="575" y="320"/>
                  </a:lnTo>
                  <a:lnTo>
                    <a:pt x="575" y="322"/>
                  </a:lnTo>
                  <a:lnTo>
                    <a:pt x="577" y="324"/>
                  </a:lnTo>
                  <a:lnTo>
                    <a:pt x="577" y="324"/>
                  </a:lnTo>
                  <a:lnTo>
                    <a:pt x="580" y="324"/>
                  </a:lnTo>
                  <a:lnTo>
                    <a:pt x="582" y="324"/>
                  </a:lnTo>
                  <a:lnTo>
                    <a:pt x="582" y="324"/>
                  </a:lnTo>
                  <a:lnTo>
                    <a:pt x="582" y="318"/>
                  </a:lnTo>
                  <a:lnTo>
                    <a:pt x="580" y="320"/>
                  </a:lnTo>
                  <a:lnTo>
                    <a:pt x="580" y="320"/>
                  </a:lnTo>
                  <a:close/>
                  <a:moveTo>
                    <a:pt x="586" y="289"/>
                  </a:moveTo>
                  <a:lnTo>
                    <a:pt x="584" y="291"/>
                  </a:lnTo>
                  <a:lnTo>
                    <a:pt x="584" y="296"/>
                  </a:lnTo>
                  <a:lnTo>
                    <a:pt x="584" y="298"/>
                  </a:lnTo>
                  <a:lnTo>
                    <a:pt x="586" y="296"/>
                  </a:lnTo>
                  <a:lnTo>
                    <a:pt x="586" y="293"/>
                  </a:lnTo>
                  <a:lnTo>
                    <a:pt x="586" y="287"/>
                  </a:lnTo>
                  <a:lnTo>
                    <a:pt x="588" y="287"/>
                  </a:lnTo>
                  <a:lnTo>
                    <a:pt x="588" y="287"/>
                  </a:lnTo>
                  <a:lnTo>
                    <a:pt x="588" y="287"/>
                  </a:lnTo>
                  <a:lnTo>
                    <a:pt x="588" y="287"/>
                  </a:lnTo>
                  <a:lnTo>
                    <a:pt x="586" y="289"/>
                  </a:lnTo>
                  <a:close/>
                  <a:moveTo>
                    <a:pt x="618" y="242"/>
                  </a:moveTo>
                  <a:lnTo>
                    <a:pt x="616" y="246"/>
                  </a:lnTo>
                  <a:lnTo>
                    <a:pt x="614" y="246"/>
                  </a:lnTo>
                  <a:lnTo>
                    <a:pt x="612" y="246"/>
                  </a:lnTo>
                  <a:lnTo>
                    <a:pt x="602" y="257"/>
                  </a:lnTo>
                  <a:lnTo>
                    <a:pt x="600" y="261"/>
                  </a:lnTo>
                  <a:lnTo>
                    <a:pt x="600" y="265"/>
                  </a:lnTo>
                  <a:lnTo>
                    <a:pt x="600" y="263"/>
                  </a:lnTo>
                  <a:lnTo>
                    <a:pt x="608" y="253"/>
                  </a:lnTo>
                  <a:lnTo>
                    <a:pt x="608" y="253"/>
                  </a:lnTo>
                  <a:lnTo>
                    <a:pt x="612" y="250"/>
                  </a:lnTo>
                  <a:lnTo>
                    <a:pt x="618" y="244"/>
                  </a:lnTo>
                  <a:lnTo>
                    <a:pt x="620" y="242"/>
                  </a:lnTo>
                  <a:lnTo>
                    <a:pt x="620" y="242"/>
                  </a:lnTo>
                  <a:lnTo>
                    <a:pt x="620" y="242"/>
                  </a:lnTo>
                  <a:lnTo>
                    <a:pt x="620" y="242"/>
                  </a:lnTo>
                  <a:lnTo>
                    <a:pt x="620" y="242"/>
                  </a:lnTo>
                  <a:lnTo>
                    <a:pt x="618" y="242"/>
                  </a:lnTo>
                  <a:close/>
                  <a:moveTo>
                    <a:pt x="686" y="214"/>
                  </a:moveTo>
                  <a:lnTo>
                    <a:pt x="686" y="212"/>
                  </a:lnTo>
                  <a:lnTo>
                    <a:pt x="680" y="212"/>
                  </a:lnTo>
                  <a:lnTo>
                    <a:pt x="678" y="212"/>
                  </a:lnTo>
                  <a:lnTo>
                    <a:pt x="678" y="214"/>
                  </a:lnTo>
                  <a:lnTo>
                    <a:pt x="678" y="214"/>
                  </a:lnTo>
                  <a:lnTo>
                    <a:pt x="684" y="214"/>
                  </a:lnTo>
                  <a:lnTo>
                    <a:pt x="688" y="216"/>
                  </a:lnTo>
                  <a:lnTo>
                    <a:pt x="688" y="216"/>
                  </a:lnTo>
                  <a:lnTo>
                    <a:pt x="688" y="216"/>
                  </a:lnTo>
                  <a:lnTo>
                    <a:pt x="688" y="214"/>
                  </a:lnTo>
                  <a:lnTo>
                    <a:pt x="686" y="214"/>
                  </a:lnTo>
                  <a:close/>
                  <a:moveTo>
                    <a:pt x="670" y="212"/>
                  </a:moveTo>
                  <a:lnTo>
                    <a:pt x="655" y="216"/>
                  </a:lnTo>
                  <a:lnTo>
                    <a:pt x="643" y="222"/>
                  </a:lnTo>
                  <a:lnTo>
                    <a:pt x="641" y="222"/>
                  </a:lnTo>
                  <a:lnTo>
                    <a:pt x="639" y="224"/>
                  </a:lnTo>
                  <a:lnTo>
                    <a:pt x="661" y="214"/>
                  </a:lnTo>
                  <a:lnTo>
                    <a:pt x="663" y="214"/>
                  </a:lnTo>
                  <a:lnTo>
                    <a:pt x="676" y="212"/>
                  </a:lnTo>
                  <a:lnTo>
                    <a:pt x="674" y="212"/>
                  </a:lnTo>
                  <a:lnTo>
                    <a:pt x="670" y="212"/>
                  </a:lnTo>
                  <a:close/>
                  <a:moveTo>
                    <a:pt x="709" y="179"/>
                  </a:moveTo>
                  <a:lnTo>
                    <a:pt x="707" y="181"/>
                  </a:lnTo>
                  <a:lnTo>
                    <a:pt x="707" y="181"/>
                  </a:lnTo>
                  <a:lnTo>
                    <a:pt x="707" y="181"/>
                  </a:lnTo>
                  <a:lnTo>
                    <a:pt x="702" y="185"/>
                  </a:lnTo>
                  <a:lnTo>
                    <a:pt x="696" y="197"/>
                  </a:lnTo>
                  <a:lnTo>
                    <a:pt x="690" y="216"/>
                  </a:lnTo>
                  <a:lnTo>
                    <a:pt x="690" y="218"/>
                  </a:lnTo>
                  <a:lnTo>
                    <a:pt x="690" y="220"/>
                  </a:lnTo>
                  <a:lnTo>
                    <a:pt x="690" y="218"/>
                  </a:lnTo>
                  <a:lnTo>
                    <a:pt x="698" y="197"/>
                  </a:lnTo>
                  <a:lnTo>
                    <a:pt x="700" y="191"/>
                  </a:lnTo>
                  <a:lnTo>
                    <a:pt x="702" y="189"/>
                  </a:lnTo>
                  <a:lnTo>
                    <a:pt x="704" y="187"/>
                  </a:lnTo>
                  <a:lnTo>
                    <a:pt x="709" y="183"/>
                  </a:lnTo>
                  <a:lnTo>
                    <a:pt x="711" y="181"/>
                  </a:lnTo>
                  <a:lnTo>
                    <a:pt x="711" y="177"/>
                  </a:lnTo>
                  <a:lnTo>
                    <a:pt x="711" y="177"/>
                  </a:lnTo>
                  <a:lnTo>
                    <a:pt x="709" y="179"/>
                  </a:lnTo>
                  <a:close/>
                  <a:moveTo>
                    <a:pt x="719" y="160"/>
                  </a:moveTo>
                  <a:lnTo>
                    <a:pt x="719" y="160"/>
                  </a:lnTo>
                  <a:lnTo>
                    <a:pt x="719" y="162"/>
                  </a:lnTo>
                  <a:lnTo>
                    <a:pt x="719" y="162"/>
                  </a:lnTo>
                  <a:lnTo>
                    <a:pt x="717" y="164"/>
                  </a:lnTo>
                  <a:lnTo>
                    <a:pt x="717" y="164"/>
                  </a:lnTo>
                  <a:lnTo>
                    <a:pt x="717" y="166"/>
                  </a:lnTo>
                  <a:lnTo>
                    <a:pt x="715" y="168"/>
                  </a:lnTo>
                  <a:lnTo>
                    <a:pt x="715" y="171"/>
                  </a:lnTo>
                  <a:lnTo>
                    <a:pt x="715" y="171"/>
                  </a:lnTo>
                  <a:lnTo>
                    <a:pt x="717" y="168"/>
                  </a:lnTo>
                  <a:lnTo>
                    <a:pt x="721" y="162"/>
                  </a:lnTo>
                  <a:lnTo>
                    <a:pt x="721" y="162"/>
                  </a:lnTo>
                  <a:lnTo>
                    <a:pt x="723" y="162"/>
                  </a:lnTo>
                  <a:lnTo>
                    <a:pt x="723" y="162"/>
                  </a:lnTo>
                  <a:lnTo>
                    <a:pt x="723" y="160"/>
                  </a:lnTo>
                  <a:lnTo>
                    <a:pt x="721" y="160"/>
                  </a:lnTo>
                  <a:lnTo>
                    <a:pt x="719" y="160"/>
                  </a:lnTo>
                  <a:close/>
                  <a:moveTo>
                    <a:pt x="733" y="148"/>
                  </a:moveTo>
                  <a:lnTo>
                    <a:pt x="729" y="152"/>
                  </a:lnTo>
                  <a:lnTo>
                    <a:pt x="727" y="154"/>
                  </a:lnTo>
                  <a:lnTo>
                    <a:pt x="725" y="154"/>
                  </a:lnTo>
                  <a:lnTo>
                    <a:pt x="725" y="156"/>
                  </a:lnTo>
                  <a:lnTo>
                    <a:pt x="725" y="158"/>
                  </a:lnTo>
                  <a:lnTo>
                    <a:pt x="723" y="160"/>
                  </a:lnTo>
                  <a:lnTo>
                    <a:pt x="731" y="150"/>
                  </a:lnTo>
                  <a:lnTo>
                    <a:pt x="739" y="146"/>
                  </a:lnTo>
                  <a:lnTo>
                    <a:pt x="741" y="144"/>
                  </a:lnTo>
                  <a:lnTo>
                    <a:pt x="741" y="144"/>
                  </a:lnTo>
                  <a:lnTo>
                    <a:pt x="741" y="142"/>
                  </a:lnTo>
                  <a:lnTo>
                    <a:pt x="743" y="142"/>
                  </a:lnTo>
                  <a:lnTo>
                    <a:pt x="739" y="144"/>
                  </a:lnTo>
                  <a:lnTo>
                    <a:pt x="733" y="148"/>
                  </a:lnTo>
                  <a:close/>
                  <a:moveTo>
                    <a:pt x="762" y="103"/>
                  </a:moveTo>
                  <a:lnTo>
                    <a:pt x="762" y="95"/>
                  </a:lnTo>
                  <a:lnTo>
                    <a:pt x="760" y="91"/>
                  </a:lnTo>
                  <a:lnTo>
                    <a:pt x="758" y="87"/>
                  </a:lnTo>
                  <a:lnTo>
                    <a:pt x="756" y="84"/>
                  </a:lnTo>
                  <a:lnTo>
                    <a:pt x="756" y="82"/>
                  </a:lnTo>
                  <a:lnTo>
                    <a:pt x="754" y="78"/>
                  </a:lnTo>
                  <a:lnTo>
                    <a:pt x="752" y="76"/>
                  </a:lnTo>
                  <a:lnTo>
                    <a:pt x="750" y="76"/>
                  </a:lnTo>
                  <a:lnTo>
                    <a:pt x="750" y="76"/>
                  </a:lnTo>
                  <a:lnTo>
                    <a:pt x="752" y="78"/>
                  </a:lnTo>
                  <a:lnTo>
                    <a:pt x="754" y="80"/>
                  </a:lnTo>
                  <a:lnTo>
                    <a:pt x="754" y="82"/>
                  </a:lnTo>
                  <a:lnTo>
                    <a:pt x="758" y="91"/>
                  </a:lnTo>
                  <a:lnTo>
                    <a:pt x="760" y="95"/>
                  </a:lnTo>
                  <a:lnTo>
                    <a:pt x="760" y="97"/>
                  </a:lnTo>
                  <a:lnTo>
                    <a:pt x="760" y="99"/>
                  </a:lnTo>
                  <a:lnTo>
                    <a:pt x="760" y="101"/>
                  </a:lnTo>
                  <a:lnTo>
                    <a:pt x="760" y="103"/>
                  </a:lnTo>
                  <a:lnTo>
                    <a:pt x="760" y="103"/>
                  </a:lnTo>
                  <a:lnTo>
                    <a:pt x="760" y="105"/>
                  </a:lnTo>
                  <a:lnTo>
                    <a:pt x="760" y="107"/>
                  </a:lnTo>
                  <a:lnTo>
                    <a:pt x="762" y="109"/>
                  </a:lnTo>
                  <a:lnTo>
                    <a:pt x="762" y="113"/>
                  </a:lnTo>
                  <a:lnTo>
                    <a:pt x="762" y="117"/>
                  </a:lnTo>
                  <a:lnTo>
                    <a:pt x="762" y="123"/>
                  </a:lnTo>
                  <a:lnTo>
                    <a:pt x="762" y="123"/>
                  </a:lnTo>
                  <a:lnTo>
                    <a:pt x="762" y="128"/>
                  </a:lnTo>
                  <a:lnTo>
                    <a:pt x="760" y="130"/>
                  </a:lnTo>
                  <a:lnTo>
                    <a:pt x="756" y="134"/>
                  </a:lnTo>
                  <a:lnTo>
                    <a:pt x="750" y="138"/>
                  </a:lnTo>
                  <a:lnTo>
                    <a:pt x="750" y="138"/>
                  </a:lnTo>
                  <a:lnTo>
                    <a:pt x="750" y="138"/>
                  </a:lnTo>
                  <a:lnTo>
                    <a:pt x="750" y="136"/>
                  </a:lnTo>
                  <a:lnTo>
                    <a:pt x="750" y="136"/>
                  </a:lnTo>
                  <a:lnTo>
                    <a:pt x="750" y="136"/>
                  </a:lnTo>
                  <a:lnTo>
                    <a:pt x="747" y="138"/>
                  </a:lnTo>
                  <a:lnTo>
                    <a:pt x="750" y="138"/>
                  </a:lnTo>
                  <a:lnTo>
                    <a:pt x="747" y="138"/>
                  </a:lnTo>
                  <a:lnTo>
                    <a:pt x="747" y="138"/>
                  </a:lnTo>
                  <a:lnTo>
                    <a:pt x="747" y="140"/>
                  </a:lnTo>
                  <a:lnTo>
                    <a:pt x="747" y="140"/>
                  </a:lnTo>
                  <a:lnTo>
                    <a:pt x="747" y="140"/>
                  </a:lnTo>
                  <a:lnTo>
                    <a:pt x="745" y="140"/>
                  </a:lnTo>
                  <a:lnTo>
                    <a:pt x="745" y="142"/>
                  </a:lnTo>
                  <a:lnTo>
                    <a:pt x="745" y="142"/>
                  </a:lnTo>
                  <a:lnTo>
                    <a:pt x="747" y="142"/>
                  </a:lnTo>
                  <a:lnTo>
                    <a:pt x="747" y="142"/>
                  </a:lnTo>
                  <a:lnTo>
                    <a:pt x="747" y="140"/>
                  </a:lnTo>
                  <a:lnTo>
                    <a:pt x="750" y="140"/>
                  </a:lnTo>
                  <a:lnTo>
                    <a:pt x="750" y="140"/>
                  </a:lnTo>
                  <a:lnTo>
                    <a:pt x="754" y="138"/>
                  </a:lnTo>
                  <a:lnTo>
                    <a:pt x="756" y="136"/>
                  </a:lnTo>
                  <a:lnTo>
                    <a:pt x="758" y="134"/>
                  </a:lnTo>
                  <a:lnTo>
                    <a:pt x="760" y="134"/>
                  </a:lnTo>
                  <a:lnTo>
                    <a:pt x="762" y="134"/>
                  </a:lnTo>
                  <a:lnTo>
                    <a:pt x="762" y="132"/>
                  </a:lnTo>
                  <a:lnTo>
                    <a:pt x="764" y="130"/>
                  </a:lnTo>
                  <a:lnTo>
                    <a:pt x="764" y="121"/>
                  </a:lnTo>
                  <a:lnTo>
                    <a:pt x="762" y="103"/>
                  </a:lnTo>
                  <a:close/>
                  <a:moveTo>
                    <a:pt x="737" y="66"/>
                  </a:moveTo>
                  <a:lnTo>
                    <a:pt x="735" y="64"/>
                  </a:lnTo>
                  <a:lnTo>
                    <a:pt x="735" y="64"/>
                  </a:lnTo>
                  <a:lnTo>
                    <a:pt x="733" y="62"/>
                  </a:lnTo>
                  <a:lnTo>
                    <a:pt x="733" y="62"/>
                  </a:lnTo>
                  <a:lnTo>
                    <a:pt x="733" y="62"/>
                  </a:lnTo>
                  <a:lnTo>
                    <a:pt x="731" y="62"/>
                  </a:lnTo>
                  <a:lnTo>
                    <a:pt x="731" y="62"/>
                  </a:lnTo>
                  <a:lnTo>
                    <a:pt x="729" y="62"/>
                  </a:lnTo>
                  <a:lnTo>
                    <a:pt x="729" y="62"/>
                  </a:lnTo>
                  <a:lnTo>
                    <a:pt x="729" y="64"/>
                  </a:lnTo>
                  <a:lnTo>
                    <a:pt x="729" y="64"/>
                  </a:lnTo>
                  <a:lnTo>
                    <a:pt x="729" y="64"/>
                  </a:lnTo>
                  <a:lnTo>
                    <a:pt x="731" y="64"/>
                  </a:lnTo>
                  <a:lnTo>
                    <a:pt x="731" y="66"/>
                  </a:lnTo>
                  <a:lnTo>
                    <a:pt x="733" y="68"/>
                  </a:lnTo>
                  <a:lnTo>
                    <a:pt x="735" y="68"/>
                  </a:lnTo>
                  <a:lnTo>
                    <a:pt x="735" y="70"/>
                  </a:lnTo>
                  <a:lnTo>
                    <a:pt x="737" y="72"/>
                  </a:lnTo>
                  <a:lnTo>
                    <a:pt x="739" y="72"/>
                  </a:lnTo>
                  <a:lnTo>
                    <a:pt x="739" y="72"/>
                  </a:lnTo>
                  <a:lnTo>
                    <a:pt x="739" y="72"/>
                  </a:lnTo>
                  <a:lnTo>
                    <a:pt x="739" y="70"/>
                  </a:lnTo>
                  <a:lnTo>
                    <a:pt x="741" y="68"/>
                  </a:lnTo>
                  <a:lnTo>
                    <a:pt x="737" y="66"/>
                  </a:lnTo>
                  <a:close/>
                  <a:moveTo>
                    <a:pt x="745" y="72"/>
                  </a:moveTo>
                  <a:lnTo>
                    <a:pt x="745" y="74"/>
                  </a:lnTo>
                  <a:lnTo>
                    <a:pt x="747" y="74"/>
                  </a:lnTo>
                  <a:lnTo>
                    <a:pt x="750" y="74"/>
                  </a:lnTo>
                  <a:lnTo>
                    <a:pt x="750" y="74"/>
                  </a:lnTo>
                  <a:lnTo>
                    <a:pt x="745" y="68"/>
                  </a:lnTo>
                  <a:lnTo>
                    <a:pt x="743" y="64"/>
                  </a:lnTo>
                  <a:lnTo>
                    <a:pt x="725" y="43"/>
                  </a:lnTo>
                  <a:lnTo>
                    <a:pt x="719" y="33"/>
                  </a:lnTo>
                  <a:lnTo>
                    <a:pt x="715" y="27"/>
                  </a:lnTo>
                  <a:lnTo>
                    <a:pt x="715" y="27"/>
                  </a:lnTo>
                  <a:lnTo>
                    <a:pt x="715" y="23"/>
                  </a:lnTo>
                  <a:lnTo>
                    <a:pt x="713" y="21"/>
                  </a:lnTo>
                  <a:lnTo>
                    <a:pt x="711" y="19"/>
                  </a:lnTo>
                  <a:lnTo>
                    <a:pt x="704" y="0"/>
                  </a:lnTo>
                  <a:lnTo>
                    <a:pt x="704" y="0"/>
                  </a:lnTo>
                  <a:lnTo>
                    <a:pt x="702" y="2"/>
                  </a:lnTo>
                  <a:lnTo>
                    <a:pt x="702" y="2"/>
                  </a:lnTo>
                  <a:lnTo>
                    <a:pt x="702" y="2"/>
                  </a:lnTo>
                  <a:lnTo>
                    <a:pt x="702" y="2"/>
                  </a:lnTo>
                  <a:lnTo>
                    <a:pt x="704" y="7"/>
                  </a:lnTo>
                  <a:lnTo>
                    <a:pt x="704" y="9"/>
                  </a:lnTo>
                  <a:lnTo>
                    <a:pt x="707" y="11"/>
                  </a:lnTo>
                  <a:lnTo>
                    <a:pt x="707" y="13"/>
                  </a:lnTo>
                  <a:lnTo>
                    <a:pt x="709" y="15"/>
                  </a:lnTo>
                  <a:lnTo>
                    <a:pt x="711" y="17"/>
                  </a:lnTo>
                  <a:lnTo>
                    <a:pt x="713" y="23"/>
                  </a:lnTo>
                  <a:lnTo>
                    <a:pt x="713" y="27"/>
                  </a:lnTo>
                  <a:lnTo>
                    <a:pt x="713" y="27"/>
                  </a:lnTo>
                  <a:lnTo>
                    <a:pt x="713" y="27"/>
                  </a:lnTo>
                  <a:lnTo>
                    <a:pt x="713" y="27"/>
                  </a:lnTo>
                  <a:lnTo>
                    <a:pt x="713" y="27"/>
                  </a:lnTo>
                  <a:lnTo>
                    <a:pt x="715" y="29"/>
                  </a:lnTo>
                  <a:lnTo>
                    <a:pt x="719" y="33"/>
                  </a:lnTo>
                  <a:lnTo>
                    <a:pt x="719" y="35"/>
                  </a:lnTo>
                  <a:lnTo>
                    <a:pt x="721" y="39"/>
                  </a:lnTo>
                  <a:lnTo>
                    <a:pt x="723" y="41"/>
                  </a:lnTo>
                  <a:lnTo>
                    <a:pt x="723" y="46"/>
                  </a:lnTo>
                  <a:lnTo>
                    <a:pt x="723" y="46"/>
                  </a:lnTo>
                  <a:lnTo>
                    <a:pt x="725" y="48"/>
                  </a:lnTo>
                  <a:lnTo>
                    <a:pt x="725" y="50"/>
                  </a:lnTo>
                  <a:lnTo>
                    <a:pt x="727" y="50"/>
                  </a:lnTo>
                  <a:lnTo>
                    <a:pt x="727" y="52"/>
                  </a:lnTo>
                  <a:lnTo>
                    <a:pt x="729" y="50"/>
                  </a:lnTo>
                  <a:lnTo>
                    <a:pt x="729" y="50"/>
                  </a:lnTo>
                  <a:lnTo>
                    <a:pt x="731" y="52"/>
                  </a:lnTo>
                  <a:lnTo>
                    <a:pt x="731" y="54"/>
                  </a:lnTo>
                  <a:lnTo>
                    <a:pt x="729" y="54"/>
                  </a:lnTo>
                  <a:lnTo>
                    <a:pt x="729" y="54"/>
                  </a:lnTo>
                  <a:lnTo>
                    <a:pt x="727" y="54"/>
                  </a:lnTo>
                  <a:lnTo>
                    <a:pt x="727" y="56"/>
                  </a:lnTo>
                  <a:lnTo>
                    <a:pt x="729" y="56"/>
                  </a:lnTo>
                  <a:lnTo>
                    <a:pt x="731" y="56"/>
                  </a:lnTo>
                  <a:lnTo>
                    <a:pt x="731" y="56"/>
                  </a:lnTo>
                  <a:lnTo>
                    <a:pt x="731" y="56"/>
                  </a:lnTo>
                  <a:lnTo>
                    <a:pt x="739" y="62"/>
                  </a:lnTo>
                  <a:lnTo>
                    <a:pt x="741" y="64"/>
                  </a:lnTo>
                  <a:lnTo>
                    <a:pt x="743" y="68"/>
                  </a:lnTo>
                  <a:lnTo>
                    <a:pt x="743" y="70"/>
                  </a:lnTo>
                  <a:lnTo>
                    <a:pt x="745" y="70"/>
                  </a:lnTo>
                  <a:lnTo>
                    <a:pt x="745" y="72"/>
                  </a:lnTo>
                  <a:lnTo>
                    <a:pt x="745" y="72"/>
                  </a:lnTo>
                  <a:close/>
                  <a:moveTo>
                    <a:pt x="694" y="7"/>
                  </a:moveTo>
                  <a:lnTo>
                    <a:pt x="694" y="7"/>
                  </a:lnTo>
                  <a:lnTo>
                    <a:pt x="694" y="9"/>
                  </a:lnTo>
                  <a:lnTo>
                    <a:pt x="696" y="9"/>
                  </a:lnTo>
                  <a:lnTo>
                    <a:pt x="700" y="9"/>
                  </a:lnTo>
                  <a:lnTo>
                    <a:pt x="700" y="9"/>
                  </a:lnTo>
                  <a:lnTo>
                    <a:pt x="700" y="7"/>
                  </a:lnTo>
                  <a:lnTo>
                    <a:pt x="700" y="7"/>
                  </a:lnTo>
                  <a:lnTo>
                    <a:pt x="700" y="5"/>
                  </a:lnTo>
                  <a:lnTo>
                    <a:pt x="698" y="2"/>
                  </a:lnTo>
                  <a:lnTo>
                    <a:pt x="698" y="2"/>
                  </a:lnTo>
                  <a:lnTo>
                    <a:pt x="698" y="2"/>
                  </a:lnTo>
                  <a:lnTo>
                    <a:pt x="696" y="2"/>
                  </a:lnTo>
                  <a:lnTo>
                    <a:pt x="696" y="5"/>
                  </a:lnTo>
                  <a:lnTo>
                    <a:pt x="694" y="5"/>
                  </a:lnTo>
                  <a:lnTo>
                    <a:pt x="694" y="2"/>
                  </a:lnTo>
                  <a:lnTo>
                    <a:pt x="690" y="5"/>
                  </a:lnTo>
                  <a:lnTo>
                    <a:pt x="690" y="5"/>
                  </a:lnTo>
                  <a:lnTo>
                    <a:pt x="694" y="7"/>
                  </a:lnTo>
                  <a:close/>
                  <a:moveTo>
                    <a:pt x="723" y="101"/>
                  </a:moveTo>
                  <a:lnTo>
                    <a:pt x="725" y="101"/>
                  </a:lnTo>
                  <a:lnTo>
                    <a:pt x="727" y="103"/>
                  </a:lnTo>
                  <a:lnTo>
                    <a:pt x="729" y="101"/>
                  </a:lnTo>
                  <a:lnTo>
                    <a:pt x="729" y="101"/>
                  </a:lnTo>
                  <a:lnTo>
                    <a:pt x="729" y="101"/>
                  </a:lnTo>
                  <a:lnTo>
                    <a:pt x="729" y="101"/>
                  </a:lnTo>
                  <a:lnTo>
                    <a:pt x="729" y="103"/>
                  </a:lnTo>
                  <a:lnTo>
                    <a:pt x="729" y="103"/>
                  </a:lnTo>
                  <a:lnTo>
                    <a:pt x="727" y="103"/>
                  </a:lnTo>
                  <a:lnTo>
                    <a:pt x="727" y="105"/>
                  </a:lnTo>
                  <a:lnTo>
                    <a:pt x="731" y="103"/>
                  </a:lnTo>
                  <a:lnTo>
                    <a:pt x="731" y="103"/>
                  </a:lnTo>
                  <a:lnTo>
                    <a:pt x="733" y="103"/>
                  </a:lnTo>
                  <a:lnTo>
                    <a:pt x="733" y="101"/>
                  </a:lnTo>
                  <a:lnTo>
                    <a:pt x="731" y="101"/>
                  </a:lnTo>
                  <a:lnTo>
                    <a:pt x="731" y="99"/>
                  </a:lnTo>
                  <a:lnTo>
                    <a:pt x="733" y="99"/>
                  </a:lnTo>
                  <a:lnTo>
                    <a:pt x="733" y="99"/>
                  </a:lnTo>
                  <a:lnTo>
                    <a:pt x="733" y="99"/>
                  </a:lnTo>
                  <a:lnTo>
                    <a:pt x="733" y="99"/>
                  </a:lnTo>
                  <a:lnTo>
                    <a:pt x="735" y="95"/>
                  </a:lnTo>
                  <a:lnTo>
                    <a:pt x="735" y="95"/>
                  </a:lnTo>
                  <a:lnTo>
                    <a:pt x="731" y="93"/>
                  </a:lnTo>
                  <a:lnTo>
                    <a:pt x="731" y="91"/>
                  </a:lnTo>
                  <a:lnTo>
                    <a:pt x="731" y="89"/>
                  </a:lnTo>
                  <a:lnTo>
                    <a:pt x="733" y="89"/>
                  </a:lnTo>
                  <a:lnTo>
                    <a:pt x="735" y="89"/>
                  </a:lnTo>
                  <a:lnTo>
                    <a:pt x="735" y="87"/>
                  </a:lnTo>
                  <a:lnTo>
                    <a:pt x="735" y="84"/>
                  </a:lnTo>
                  <a:lnTo>
                    <a:pt x="733" y="84"/>
                  </a:lnTo>
                  <a:lnTo>
                    <a:pt x="731" y="82"/>
                  </a:lnTo>
                  <a:lnTo>
                    <a:pt x="731" y="80"/>
                  </a:lnTo>
                  <a:lnTo>
                    <a:pt x="731" y="80"/>
                  </a:lnTo>
                  <a:lnTo>
                    <a:pt x="731" y="78"/>
                  </a:lnTo>
                  <a:lnTo>
                    <a:pt x="733" y="76"/>
                  </a:lnTo>
                  <a:lnTo>
                    <a:pt x="731" y="74"/>
                  </a:lnTo>
                  <a:lnTo>
                    <a:pt x="731" y="74"/>
                  </a:lnTo>
                  <a:lnTo>
                    <a:pt x="729" y="72"/>
                  </a:lnTo>
                  <a:lnTo>
                    <a:pt x="729" y="70"/>
                  </a:lnTo>
                  <a:lnTo>
                    <a:pt x="723" y="64"/>
                  </a:lnTo>
                  <a:lnTo>
                    <a:pt x="721" y="62"/>
                  </a:lnTo>
                  <a:lnTo>
                    <a:pt x="717" y="62"/>
                  </a:lnTo>
                  <a:lnTo>
                    <a:pt x="717" y="62"/>
                  </a:lnTo>
                  <a:lnTo>
                    <a:pt x="717" y="64"/>
                  </a:lnTo>
                  <a:lnTo>
                    <a:pt x="717" y="64"/>
                  </a:lnTo>
                  <a:lnTo>
                    <a:pt x="717" y="66"/>
                  </a:lnTo>
                  <a:lnTo>
                    <a:pt x="717" y="64"/>
                  </a:lnTo>
                  <a:lnTo>
                    <a:pt x="719" y="64"/>
                  </a:lnTo>
                  <a:lnTo>
                    <a:pt x="719" y="66"/>
                  </a:lnTo>
                  <a:lnTo>
                    <a:pt x="721" y="66"/>
                  </a:lnTo>
                  <a:lnTo>
                    <a:pt x="719" y="66"/>
                  </a:lnTo>
                  <a:lnTo>
                    <a:pt x="717" y="66"/>
                  </a:lnTo>
                  <a:lnTo>
                    <a:pt x="715" y="66"/>
                  </a:lnTo>
                  <a:lnTo>
                    <a:pt x="713" y="66"/>
                  </a:lnTo>
                  <a:lnTo>
                    <a:pt x="715" y="68"/>
                  </a:lnTo>
                  <a:lnTo>
                    <a:pt x="715" y="68"/>
                  </a:lnTo>
                  <a:lnTo>
                    <a:pt x="717" y="70"/>
                  </a:lnTo>
                  <a:lnTo>
                    <a:pt x="719" y="70"/>
                  </a:lnTo>
                  <a:lnTo>
                    <a:pt x="719" y="70"/>
                  </a:lnTo>
                  <a:lnTo>
                    <a:pt x="719" y="72"/>
                  </a:lnTo>
                  <a:lnTo>
                    <a:pt x="719" y="72"/>
                  </a:lnTo>
                  <a:lnTo>
                    <a:pt x="717" y="72"/>
                  </a:lnTo>
                  <a:lnTo>
                    <a:pt x="715" y="72"/>
                  </a:lnTo>
                  <a:lnTo>
                    <a:pt x="713" y="70"/>
                  </a:lnTo>
                  <a:lnTo>
                    <a:pt x="711" y="68"/>
                  </a:lnTo>
                  <a:lnTo>
                    <a:pt x="711" y="68"/>
                  </a:lnTo>
                  <a:lnTo>
                    <a:pt x="711" y="70"/>
                  </a:lnTo>
                  <a:lnTo>
                    <a:pt x="709" y="72"/>
                  </a:lnTo>
                  <a:lnTo>
                    <a:pt x="707" y="74"/>
                  </a:lnTo>
                  <a:lnTo>
                    <a:pt x="711" y="87"/>
                  </a:lnTo>
                  <a:lnTo>
                    <a:pt x="711" y="91"/>
                  </a:lnTo>
                  <a:lnTo>
                    <a:pt x="709" y="99"/>
                  </a:lnTo>
                  <a:lnTo>
                    <a:pt x="709" y="99"/>
                  </a:lnTo>
                  <a:lnTo>
                    <a:pt x="709" y="99"/>
                  </a:lnTo>
                  <a:lnTo>
                    <a:pt x="709" y="99"/>
                  </a:lnTo>
                  <a:lnTo>
                    <a:pt x="709" y="97"/>
                  </a:lnTo>
                  <a:lnTo>
                    <a:pt x="709" y="97"/>
                  </a:lnTo>
                  <a:lnTo>
                    <a:pt x="704" y="99"/>
                  </a:lnTo>
                  <a:lnTo>
                    <a:pt x="702" y="99"/>
                  </a:lnTo>
                  <a:lnTo>
                    <a:pt x="700" y="99"/>
                  </a:lnTo>
                  <a:lnTo>
                    <a:pt x="698" y="97"/>
                  </a:lnTo>
                  <a:lnTo>
                    <a:pt x="700" y="95"/>
                  </a:lnTo>
                  <a:lnTo>
                    <a:pt x="704" y="97"/>
                  </a:lnTo>
                  <a:lnTo>
                    <a:pt x="707" y="97"/>
                  </a:lnTo>
                  <a:lnTo>
                    <a:pt x="709" y="95"/>
                  </a:lnTo>
                  <a:lnTo>
                    <a:pt x="707" y="95"/>
                  </a:lnTo>
                  <a:lnTo>
                    <a:pt x="707" y="93"/>
                  </a:lnTo>
                  <a:lnTo>
                    <a:pt x="704" y="93"/>
                  </a:lnTo>
                  <a:lnTo>
                    <a:pt x="707" y="91"/>
                  </a:lnTo>
                  <a:lnTo>
                    <a:pt x="707" y="91"/>
                  </a:lnTo>
                  <a:lnTo>
                    <a:pt x="707" y="89"/>
                  </a:lnTo>
                  <a:lnTo>
                    <a:pt x="704" y="89"/>
                  </a:lnTo>
                  <a:lnTo>
                    <a:pt x="704" y="87"/>
                  </a:lnTo>
                  <a:lnTo>
                    <a:pt x="704" y="87"/>
                  </a:lnTo>
                  <a:lnTo>
                    <a:pt x="702" y="87"/>
                  </a:lnTo>
                  <a:lnTo>
                    <a:pt x="702" y="87"/>
                  </a:lnTo>
                  <a:lnTo>
                    <a:pt x="700" y="87"/>
                  </a:lnTo>
                  <a:lnTo>
                    <a:pt x="698" y="87"/>
                  </a:lnTo>
                  <a:lnTo>
                    <a:pt x="698" y="87"/>
                  </a:lnTo>
                  <a:lnTo>
                    <a:pt x="698" y="84"/>
                  </a:lnTo>
                  <a:lnTo>
                    <a:pt x="702" y="87"/>
                  </a:lnTo>
                  <a:lnTo>
                    <a:pt x="704" y="84"/>
                  </a:lnTo>
                  <a:lnTo>
                    <a:pt x="704" y="82"/>
                  </a:lnTo>
                  <a:lnTo>
                    <a:pt x="702" y="78"/>
                  </a:lnTo>
                  <a:lnTo>
                    <a:pt x="700" y="78"/>
                  </a:lnTo>
                  <a:lnTo>
                    <a:pt x="700" y="76"/>
                  </a:lnTo>
                  <a:lnTo>
                    <a:pt x="702" y="76"/>
                  </a:lnTo>
                  <a:lnTo>
                    <a:pt x="702" y="74"/>
                  </a:lnTo>
                  <a:lnTo>
                    <a:pt x="702" y="72"/>
                  </a:lnTo>
                  <a:lnTo>
                    <a:pt x="704" y="70"/>
                  </a:lnTo>
                  <a:lnTo>
                    <a:pt x="702" y="70"/>
                  </a:lnTo>
                  <a:lnTo>
                    <a:pt x="700" y="72"/>
                  </a:lnTo>
                  <a:lnTo>
                    <a:pt x="700" y="68"/>
                  </a:lnTo>
                  <a:lnTo>
                    <a:pt x="700" y="66"/>
                  </a:lnTo>
                  <a:lnTo>
                    <a:pt x="702" y="68"/>
                  </a:lnTo>
                  <a:lnTo>
                    <a:pt x="702" y="66"/>
                  </a:lnTo>
                  <a:lnTo>
                    <a:pt x="700" y="64"/>
                  </a:lnTo>
                  <a:lnTo>
                    <a:pt x="698" y="64"/>
                  </a:lnTo>
                  <a:lnTo>
                    <a:pt x="696" y="64"/>
                  </a:lnTo>
                  <a:lnTo>
                    <a:pt x="688" y="66"/>
                  </a:lnTo>
                  <a:lnTo>
                    <a:pt x="680" y="70"/>
                  </a:lnTo>
                  <a:lnTo>
                    <a:pt x="678" y="72"/>
                  </a:lnTo>
                  <a:lnTo>
                    <a:pt x="680" y="72"/>
                  </a:lnTo>
                  <a:lnTo>
                    <a:pt x="682" y="74"/>
                  </a:lnTo>
                  <a:lnTo>
                    <a:pt x="684" y="74"/>
                  </a:lnTo>
                  <a:lnTo>
                    <a:pt x="680" y="74"/>
                  </a:lnTo>
                  <a:lnTo>
                    <a:pt x="678" y="74"/>
                  </a:lnTo>
                  <a:lnTo>
                    <a:pt x="676" y="74"/>
                  </a:lnTo>
                  <a:lnTo>
                    <a:pt x="674" y="74"/>
                  </a:lnTo>
                  <a:lnTo>
                    <a:pt x="674" y="76"/>
                  </a:lnTo>
                  <a:lnTo>
                    <a:pt x="674" y="76"/>
                  </a:lnTo>
                  <a:lnTo>
                    <a:pt x="672" y="76"/>
                  </a:lnTo>
                  <a:lnTo>
                    <a:pt x="672" y="74"/>
                  </a:lnTo>
                  <a:lnTo>
                    <a:pt x="672" y="74"/>
                  </a:lnTo>
                  <a:lnTo>
                    <a:pt x="672" y="72"/>
                  </a:lnTo>
                  <a:lnTo>
                    <a:pt x="672" y="72"/>
                  </a:lnTo>
                  <a:lnTo>
                    <a:pt x="668" y="72"/>
                  </a:lnTo>
                  <a:lnTo>
                    <a:pt x="663" y="74"/>
                  </a:lnTo>
                  <a:lnTo>
                    <a:pt x="659" y="76"/>
                  </a:lnTo>
                  <a:lnTo>
                    <a:pt x="657" y="78"/>
                  </a:lnTo>
                  <a:lnTo>
                    <a:pt x="657" y="78"/>
                  </a:lnTo>
                  <a:lnTo>
                    <a:pt x="655" y="78"/>
                  </a:lnTo>
                  <a:lnTo>
                    <a:pt x="643" y="80"/>
                  </a:lnTo>
                  <a:lnTo>
                    <a:pt x="643" y="80"/>
                  </a:lnTo>
                  <a:lnTo>
                    <a:pt x="645" y="76"/>
                  </a:lnTo>
                  <a:lnTo>
                    <a:pt x="645" y="74"/>
                  </a:lnTo>
                  <a:lnTo>
                    <a:pt x="643" y="74"/>
                  </a:lnTo>
                  <a:lnTo>
                    <a:pt x="643" y="72"/>
                  </a:lnTo>
                  <a:lnTo>
                    <a:pt x="643" y="72"/>
                  </a:lnTo>
                  <a:lnTo>
                    <a:pt x="643" y="70"/>
                  </a:lnTo>
                  <a:lnTo>
                    <a:pt x="641" y="70"/>
                  </a:lnTo>
                  <a:lnTo>
                    <a:pt x="641" y="70"/>
                  </a:lnTo>
                  <a:lnTo>
                    <a:pt x="639" y="68"/>
                  </a:lnTo>
                  <a:lnTo>
                    <a:pt x="639" y="66"/>
                  </a:lnTo>
                  <a:lnTo>
                    <a:pt x="637" y="64"/>
                  </a:lnTo>
                  <a:lnTo>
                    <a:pt x="637" y="62"/>
                  </a:lnTo>
                  <a:lnTo>
                    <a:pt x="635" y="56"/>
                  </a:lnTo>
                  <a:lnTo>
                    <a:pt x="635" y="54"/>
                  </a:lnTo>
                  <a:lnTo>
                    <a:pt x="635" y="52"/>
                  </a:lnTo>
                  <a:lnTo>
                    <a:pt x="637" y="50"/>
                  </a:lnTo>
                  <a:lnTo>
                    <a:pt x="637" y="48"/>
                  </a:lnTo>
                  <a:lnTo>
                    <a:pt x="637" y="46"/>
                  </a:lnTo>
                  <a:lnTo>
                    <a:pt x="637" y="46"/>
                  </a:lnTo>
                  <a:lnTo>
                    <a:pt x="637" y="43"/>
                  </a:lnTo>
                  <a:lnTo>
                    <a:pt x="635" y="43"/>
                  </a:lnTo>
                  <a:lnTo>
                    <a:pt x="635" y="41"/>
                  </a:lnTo>
                  <a:lnTo>
                    <a:pt x="637" y="41"/>
                  </a:lnTo>
                  <a:lnTo>
                    <a:pt x="639" y="41"/>
                  </a:lnTo>
                  <a:lnTo>
                    <a:pt x="639" y="43"/>
                  </a:lnTo>
                  <a:lnTo>
                    <a:pt x="639" y="48"/>
                  </a:lnTo>
                  <a:lnTo>
                    <a:pt x="639" y="48"/>
                  </a:lnTo>
                  <a:lnTo>
                    <a:pt x="637" y="50"/>
                  </a:lnTo>
                  <a:lnTo>
                    <a:pt x="637" y="52"/>
                  </a:lnTo>
                  <a:lnTo>
                    <a:pt x="637" y="56"/>
                  </a:lnTo>
                  <a:lnTo>
                    <a:pt x="639" y="60"/>
                  </a:lnTo>
                  <a:lnTo>
                    <a:pt x="641" y="64"/>
                  </a:lnTo>
                  <a:lnTo>
                    <a:pt x="643" y="68"/>
                  </a:lnTo>
                  <a:lnTo>
                    <a:pt x="645" y="70"/>
                  </a:lnTo>
                  <a:lnTo>
                    <a:pt x="647" y="70"/>
                  </a:lnTo>
                  <a:lnTo>
                    <a:pt x="649" y="66"/>
                  </a:lnTo>
                  <a:lnTo>
                    <a:pt x="649" y="68"/>
                  </a:lnTo>
                  <a:lnTo>
                    <a:pt x="653" y="70"/>
                  </a:lnTo>
                  <a:lnTo>
                    <a:pt x="653" y="72"/>
                  </a:lnTo>
                  <a:lnTo>
                    <a:pt x="655" y="70"/>
                  </a:lnTo>
                  <a:lnTo>
                    <a:pt x="659" y="70"/>
                  </a:lnTo>
                  <a:lnTo>
                    <a:pt x="661" y="70"/>
                  </a:lnTo>
                  <a:lnTo>
                    <a:pt x="663" y="68"/>
                  </a:lnTo>
                  <a:lnTo>
                    <a:pt x="666" y="64"/>
                  </a:lnTo>
                  <a:lnTo>
                    <a:pt x="668" y="62"/>
                  </a:lnTo>
                  <a:lnTo>
                    <a:pt x="666" y="62"/>
                  </a:lnTo>
                  <a:lnTo>
                    <a:pt x="666" y="62"/>
                  </a:lnTo>
                  <a:lnTo>
                    <a:pt x="666" y="62"/>
                  </a:lnTo>
                  <a:lnTo>
                    <a:pt x="668" y="60"/>
                  </a:lnTo>
                  <a:lnTo>
                    <a:pt x="676" y="58"/>
                  </a:lnTo>
                  <a:lnTo>
                    <a:pt x="676" y="56"/>
                  </a:lnTo>
                  <a:lnTo>
                    <a:pt x="674" y="56"/>
                  </a:lnTo>
                  <a:lnTo>
                    <a:pt x="670" y="56"/>
                  </a:lnTo>
                  <a:lnTo>
                    <a:pt x="668" y="56"/>
                  </a:lnTo>
                  <a:lnTo>
                    <a:pt x="668" y="54"/>
                  </a:lnTo>
                  <a:lnTo>
                    <a:pt x="666" y="54"/>
                  </a:lnTo>
                  <a:lnTo>
                    <a:pt x="663" y="52"/>
                  </a:lnTo>
                  <a:lnTo>
                    <a:pt x="661" y="52"/>
                  </a:lnTo>
                  <a:lnTo>
                    <a:pt x="661" y="52"/>
                  </a:lnTo>
                  <a:lnTo>
                    <a:pt x="659" y="50"/>
                  </a:lnTo>
                  <a:lnTo>
                    <a:pt x="661" y="50"/>
                  </a:lnTo>
                  <a:lnTo>
                    <a:pt x="663" y="50"/>
                  </a:lnTo>
                  <a:lnTo>
                    <a:pt x="666" y="52"/>
                  </a:lnTo>
                  <a:lnTo>
                    <a:pt x="666" y="50"/>
                  </a:lnTo>
                  <a:lnTo>
                    <a:pt x="668" y="52"/>
                  </a:lnTo>
                  <a:lnTo>
                    <a:pt x="672" y="54"/>
                  </a:lnTo>
                  <a:lnTo>
                    <a:pt x="680" y="56"/>
                  </a:lnTo>
                  <a:lnTo>
                    <a:pt x="682" y="56"/>
                  </a:lnTo>
                  <a:lnTo>
                    <a:pt x="684" y="54"/>
                  </a:lnTo>
                  <a:lnTo>
                    <a:pt x="684" y="54"/>
                  </a:lnTo>
                  <a:lnTo>
                    <a:pt x="682" y="54"/>
                  </a:lnTo>
                  <a:lnTo>
                    <a:pt x="680" y="50"/>
                  </a:lnTo>
                  <a:lnTo>
                    <a:pt x="678" y="48"/>
                  </a:lnTo>
                  <a:lnTo>
                    <a:pt x="678" y="48"/>
                  </a:lnTo>
                  <a:lnTo>
                    <a:pt x="676" y="48"/>
                  </a:lnTo>
                  <a:lnTo>
                    <a:pt x="676" y="48"/>
                  </a:lnTo>
                  <a:lnTo>
                    <a:pt x="674" y="46"/>
                  </a:lnTo>
                  <a:lnTo>
                    <a:pt x="674" y="46"/>
                  </a:lnTo>
                  <a:lnTo>
                    <a:pt x="674" y="46"/>
                  </a:lnTo>
                  <a:lnTo>
                    <a:pt x="676" y="46"/>
                  </a:lnTo>
                  <a:lnTo>
                    <a:pt x="680" y="48"/>
                  </a:lnTo>
                  <a:lnTo>
                    <a:pt x="680" y="48"/>
                  </a:lnTo>
                  <a:lnTo>
                    <a:pt x="680" y="48"/>
                  </a:lnTo>
                  <a:lnTo>
                    <a:pt x="682" y="50"/>
                  </a:lnTo>
                  <a:lnTo>
                    <a:pt x="686" y="52"/>
                  </a:lnTo>
                  <a:lnTo>
                    <a:pt x="686" y="52"/>
                  </a:lnTo>
                  <a:lnTo>
                    <a:pt x="688" y="52"/>
                  </a:lnTo>
                  <a:lnTo>
                    <a:pt x="690" y="50"/>
                  </a:lnTo>
                  <a:lnTo>
                    <a:pt x="690" y="50"/>
                  </a:lnTo>
                  <a:lnTo>
                    <a:pt x="690" y="50"/>
                  </a:lnTo>
                  <a:lnTo>
                    <a:pt x="690" y="50"/>
                  </a:lnTo>
                  <a:lnTo>
                    <a:pt x="692" y="48"/>
                  </a:lnTo>
                  <a:lnTo>
                    <a:pt x="692" y="48"/>
                  </a:lnTo>
                  <a:lnTo>
                    <a:pt x="694" y="46"/>
                  </a:lnTo>
                  <a:lnTo>
                    <a:pt x="694" y="46"/>
                  </a:lnTo>
                  <a:lnTo>
                    <a:pt x="694" y="46"/>
                  </a:lnTo>
                  <a:lnTo>
                    <a:pt x="692" y="46"/>
                  </a:lnTo>
                  <a:lnTo>
                    <a:pt x="692" y="41"/>
                  </a:lnTo>
                  <a:lnTo>
                    <a:pt x="690" y="41"/>
                  </a:lnTo>
                  <a:lnTo>
                    <a:pt x="688" y="41"/>
                  </a:lnTo>
                  <a:lnTo>
                    <a:pt x="686" y="39"/>
                  </a:lnTo>
                  <a:lnTo>
                    <a:pt x="684" y="37"/>
                  </a:lnTo>
                  <a:lnTo>
                    <a:pt x="682" y="37"/>
                  </a:lnTo>
                  <a:lnTo>
                    <a:pt x="680" y="35"/>
                  </a:lnTo>
                  <a:lnTo>
                    <a:pt x="678" y="35"/>
                  </a:lnTo>
                  <a:lnTo>
                    <a:pt x="678" y="35"/>
                  </a:lnTo>
                  <a:lnTo>
                    <a:pt x="678" y="33"/>
                  </a:lnTo>
                  <a:lnTo>
                    <a:pt x="678" y="33"/>
                  </a:lnTo>
                  <a:lnTo>
                    <a:pt x="680" y="31"/>
                  </a:lnTo>
                  <a:lnTo>
                    <a:pt x="680" y="31"/>
                  </a:lnTo>
                  <a:lnTo>
                    <a:pt x="680" y="33"/>
                  </a:lnTo>
                  <a:lnTo>
                    <a:pt x="680" y="33"/>
                  </a:lnTo>
                  <a:lnTo>
                    <a:pt x="680" y="33"/>
                  </a:lnTo>
                  <a:lnTo>
                    <a:pt x="684" y="33"/>
                  </a:lnTo>
                  <a:lnTo>
                    <a:pt x="686" y="35"/>
                  </a:lnTo>
                  <a:lnTo>
                    <a:pt x="688" y="35"/>
                  </a:lnTo>
                  <a:lnTo>
                    <a:pt x="690" y="37"/>
                  </a:lnTo>
                  <a:lnTo>
                    <a:pt x="690" y="37"/>
                  </a:lnTo>
                  <a:lnTo>
                    <a:pt x="692" y="37"/>
                  </a:lnTo>
                  <a:lnTo>
                    <a:pt x="694" y="37"/>
                  </a:lnTo>
                  <a:lnTo>
                    <a:pt x="696" y="41"/>
                  </a:lnTo>
                  <a:lnTo>
                    <a:pt x="698" y="41"/>
                  </a:lnTo>
                  <a:lnTo>
                    <a:pt x="700" y="41"/>
                  </a:lnTo>
                  <a:lnTo>
                    <a:pt x="702" y="41"/>
                  </a:lnTo>
                  <a:lnTo>
                    <a:pt x="709" y="43"/>
                  </a:lnTo>
                  <a:lnTo>
                    <a:pt x="709" y="41"/>
                  </a:lnTo>
                  <a:lnTo>
                    <a:pt x="707" y="41"/>
                  </a:lnTo>
                  <a:lnTo>
                    <a:pt x="704" y="41"/>
                  </a:lnTo>
                  <a:lnTo>
                    <a:pt x="702" y="39"/>
                  </a:lnTo>
                  <a:lnTo>
                    <a:pt x="702" y="39"/>
                  </a:lnTo>
                  <a:lnTo>
                    <a:pt x="702" y="37"/>
                  </a:lnTo>
                  <a:lnTo>
                    <a:pt x="702" y="35"/>
                  </a:lnTo>
                  <a:lnTo>
                    <a:pt x="700" y="31"/>
                  </a:lnTo>
                  <a:lnTo>
                    <a:pt x="698" y="31"/>
                  </a:lnTo>
                  <a:lnTo>
                    <a:pt x="698" y="29"/>
                  </a:lnTo>
                  <a:lnTo>
                    <a:pt x="696" y="29"/>
                  </a:lnTo>
                  <a:lnTo>
                    <a:pt x="698" y="29"/>
                  </a:lnTo>
                  <a:lnTo>
                    <a:pt x="700" y="29"/>
                  </a:lnTo>
                  <a:lnTo>
                    <a:pt x="702" y="31"/>
                  </a:lnTo>
                  <a:lnTo>
                    <a:pt x="702" y="33"/>
                  </a:lnTo>
                  <a:lnTo>
                    <a:pt x="702" y="33"/>
                  </a:lnTo>
                  <a:lnTo>
                    <a:pt x="704" y="33"/>
                  </a:lnTo>
                  <a:lnTo>
                    <a:pt x="707" y="33"/>
                  </a:lnTo>
                  <a:lnTo>
                    <a:pt x="707" y="35"/>
                  </a:lnTo>
                  <a:lnTo>
                    <a:pt x="707" y="37"/>
                  </a:lnTo>
                  <a:lnTo>
                    <a:pt x="707" y="37"/>
                  </a:lnTo>
                  <a:lnTo>
                    <a:pt x="707" y="37"/>
                  </a:lnTo>
                  <a:lnTo>
                    <a:pt x="711" y="39"/>
                  </a:lnTo>
                  <a:lnTo>
                    <a:pt x="711" y="39"/>
                  </a:lnTo>
                  <a:lnTo>
                    <a:pt x="713" y="41"/>
                  </a:lnTo>
                  <a:lnTo>
                    <a:pt x="713" y="41"/>
                  </a:lnTo>
                  <a:lnTo>
                    <a:pt x="713" y="43"/>
                  </a:lnTo>
                  <a:lnTo>
                    <a:pt x="713" y="43"/>
                  </a:lnTo>
                  <a:lnTo>
                    <a:pt x="713" y="46"/>
                  </a:lnTo>
                  <a:lnTo>
                    <a:pt x="713" y="46"/>
                  </a:lnTo>
                  <a:lnTo>
                    <a:pt x="715" y="48"/>
                  </a:lnTo>
                  <a:lnTo>
                    <a:pt x="717" y="50"/>
                  </a:lnTo>
                  <a:lnTo>
                    <a:pt x="719" y="50"/>
                  </a:lnTo>
                  <a:lnTo>
                    <a:pt x="721" y="50"/>
                  </a:lnTo>
                  <a:lnTo>
                    <a:pt x="719" y="48"/>
                  </a:lnTo>
                  <a:lnTo>
                    <a:pt x="719" y="46"/>
                  </a:lnTo>
                  <a:lnTo>
                    <a:pt x="717" y="43"/>
                  </a:lnTo>
                  <a:lnTo>
                    <a:pt x="717" y="41"/>
                  </a:lnTo>
                  <a:lnTo>
                    <a:pt x="709" y="31"/>
                  </a:lnTo>
                  <a:lnTo>
                    <a:pt x="709" y="29"/>
                  </a:lnTo>
                  <a:lnTo>
                    <a:pt x="707" y="27"/>
                  </a:lnTo>
                  <a:lnTo>
                    <a:pt x="704" y="25"/>
                  </a:lnTo>
                  <a:lnTo>
                    <a:pt x="702" y="23"/>
                  </a:lnTo>
                  <a:lnTo>
                    <a:pt x="702" y="19"/>
                  </a:lnTo>
                  <a:lnTo>
                    <a:pt x="700" y="15"/>
                  </a:lnTo>
                  <a:lnTo>
                    <a:pt x="700" y="15"/>
                  </a:lnTo>
                  <a:lnTo>
                    <a:pt x="700" y="17"/>
                  </a:lnTo>
                  <a:lnTo>
                    <a:pt x="700" y="19"/>
                  </a:lnTo>
                  <a:lnTo>
                    <a:pt x="698" y="19"/>
                  </a:lnTo>
                  <a:lnTo>
                    <a:pt x="700" y="21"/>
                  </a:lnTo>
                  <a:lnTo>
                    <a:pt x="700" y="21"/>
                  </a:lnTo>
                  <a:lnTo>
                    <a:pt x="700" y="21"/>
                  </a:lnTo>
                  <a:lnTo>
                    <a:pt x="702" y="23"/>
                  </a:lnTo>
                  <a:lnTo>
                    <a:pt x="700" y="21"/>
                  </a:lnTo>
                  <a:lnTo>
                    <a:pt x="696" y="19"/>
                  </a:lnTo>
                  <a:lnTo>
                    <a:pt x="696" y="17"/>
                  </a:lnTo>
                  <a:lnTo>
                    <a:pt x="696" y="15"/>
                  </a:lnTo>
                  <a:lnTo>
                    <a:pt x="694" y="15"/>
                  </a:lnTo>
                  <a:lnTo>
                    <a:pt x="692" y="13"/>
                  </a:lnTo>
                  <a:lnTo>
                    <a:pt x="690" y="13"/>
                  </a:lnTo>
                  <a:lnTo>
                    <a:pt x="690" y="11"/>
                  </a:lnTo>
                  <a:lnTo>
                    <a:pt x="688" y="9"/>
                  </a:lnTo>
                  <a:lnTo>
                    <a:pt x="688" y="7"/>
                  </a:lnTo>
                  <a:lnTo>
                    <a:pt x="688" y="5"/>
                  </a:lnTo>
                  <a:lnTo>
                    <a:pt x="688" y="5"/>
                  </a:lnTo>
                  <a:lnTo>
                    <a:pt x="686" y="5"/>
                  </a:lnTo>
                  <a:lnTo>
                    <a:pt x="674" y="9"/>
                  </a:lnTo>
                  <a:lnTo>
                    <a:pt x="659" y="11"/>
                  </a:lnTo>
                  <a:lnTo>
                    <a:pt x="643" y="15"/>
                  </a:lnTo>
                  <a:lnTo>
                    <a:pt x="629" y="17"/>
                  </a:lnTo>
                  <a:lnTo>
                    <a:pt x="614" y="19"/>
                  </a:lnTo>
                  <a:lnTo>
                    <a:pt x="600" y="23"/>
                  </a:lnTo>
                  <a:lnTo>
                    <a:pt x="584" y="25"/>
                  </a:lnTo>
                  <a:lnTo>
                    <a:pt x="569" y="29"/>
                  </a:lnTo>
                  <a:lnTo>
                    <a:pt x="555" y="31"/>
                  </a:lnTo>
                  <a:lnTo>
                    <a:pt x="539" y="35"/>
                  </a:lnTo>
                  <a:lnTo>
                    <a:pt x="524" y="37"/>
                  </a:lnTo>
                  <a:lnTo>
                    <a:pt x="510" y="41"/>
                  </a:lnTo>
                  <a:lnTo>
                    <a:pt x="494" y="43"/>
                  </a:lnTo>
                  <a:lnTo>
                    <a:pt x="479" y="46"/>
                  </a:lnTo>
                  <a:lnTo>
                    <a:pt x="465" y="50"/>
                  </a:lnTo>
                  <a:lnTo>
                    <a:pt x="450" y="52"/>
                  </a:lnTo>
                  <a:lnTo>
                    <a:pt x="434" y="54"/>
                  </a:lnTo>
                  <a:lnTo>
                    <a:pt x="420" y="58"/>
                  </a:lnTo>
                  <a:lnTo>
                    <a:pt x="405" y="60"/>
                  </a:lnTo>
                  <a:lnTo>
                    <a:pt x="389" y="62"/>
                  </a:lnTo>
                  <a:lnTo>
                    <a:pt x="375" y="66"/>
                  </a:lnTo>
                  <a:lnTo>
                    <a:pt x="360" y="68"/>
                  </a:lnTo>
                  <a:lnTo>
                    <a:pt x="344" y="70"/>
                  </a:lnTo>
                  <a:lnTo>
                    <a:pt x="330" y="72"/>
                  </a:lnTo>
                  <a:lnTo>
                    <a:pt x="315" y="76"/>
                  </a:lnTo>
                  <a:lnTo>
                    <a:pt x="299" y="78"/>
                  </a:lnTo>
                  <a:lnTo>
                    <a:pt x="285" y="80"/>
                  </a:lnTo>
                  <a:lnTo>
                    <a:pt x="270" y="82"/>
                  </a:lnTo>
                  <a:lnTo>
                    <a:pt x="254" y="84"/>
                  </a:lnTo>
                  <a:lnTo>
                    <a:pt x="240" y="89"/>
                  </a:lnTo>
                  <a:lnTo>
                    <a:pt x="225" y="91"/>
                  </a:lnTo>
                  <a:lnTo>
                    <a:pt x="209" y="93"/>
                  </a:lnTo>
                  <a:lnTo>
                    <a:pt x="209" y="93"/>
                  </a:lnTo>
                  <a:lnTo>
                    <a:pt x="207" y="93"/>
                  </a:lnTo>
                  <a:lnTo>
                    <a:pt x="207" y="93"/>
                  </a:lnTo>
                  <a:lnTo>
                    <a:pt x="207" y="91"/>
                  </a:lnTo>
                  <a:lnTo>
                    <a:pt x="203" y="99"/>
                  </a:lnTo>
                  <a:lnTo>
                    <a:pt x="203" y="101"/>
                  </a:lnTo>
                  <a:lnTo>
                    <a:pt x="203" y="101"/>
                  </a:lnTo>
                  <a:lnTo>
                    <a:pt x="205" y="103"/>
                  </a:lnTo>
                  <a:lnTo>
                    <a:pt x="205" y="105"/>
                  </a:lnTo>
                  <a:lnTo>
                    <a:pt x="205" y="109"/>
                  </a:lnTo>
                  <a:lnTo>
                    <a:pt x="203" y="113"/>
                  </a:lnTo>
                  <a:lnTo>
                    <a:pt x="203" y="115"/>
                  </a:lnTo>
                  <a:lnTo>
                    <a:pt x="203" y="115"/>
                  </a:lnTo>
                  <a:lnTo>
                    <a:pt x="203" y="115"/>
                  </a:lnTo>
                  <a:lnTo>
                    <a:pt x="205" y="117"/>
                  </a:lnTo>
                  <a:lnTo>
                    <a:pt x="205" y="119"/>
                  </a:lnTo>
                  <a:lnTo>
                    <a:pt x="205" y="119"/>
                  </a:lnTo>
                  <a:lnTo>
                    <a:pt x="207" y="119"/>
                  </a:lnTo>
                  <a:lnTo>
                    <a:pt x="207" y="121"/>
                  </a:lnTo>
                  <a:lnTo>
                    <a:pt x="205" y="121"/>
                  </a:lnTo>
                  <a:lnTo>
                    <a:pt x="203" y="121"/>
                  </a:lnTo>
                  <a:lnTo>
                    <a:pt x="199" y="119"/>
                  </a:lnTo>
                  <a:lnTo>
                    <a:pt x="197" y="119"/>
                  </a:lnTo>
                  <a:lnTo>
                    <a:pt x="197" y="119"/>
                  </a:lnTo>
                  <a:lnTo>
                    <a:pt x="190" y="125"/>
                  </a:lnTo>
                  <a:lnTo>
                    <a:pt x="188" y="128"/>
                  </a:lnTo>
                  <a:lnTo>
                    <a:pt x="188" y="130"/>
                  </a:lnTo>
                  <a:lnTo>
                    <a:pt x="182" y="146"/>
                  </a:lnTo>
                  <a:lnTo>
                    <a:pt x="182" y="148"/>
                  </a:lnTo>
                  <a:lnTo>
                    <a:pt x="182" y="148"/>
                  </a:lnTo>
                  <a:lnTo>
                    <a:pt x="180" y="148"/>
                  </a:lnTo>
                  <a:lnTo>
                    <a:pt x="180" y="150"/>
                  </a:lnTo>
                  <a:lnTo>
                    <a:pt x="178" y="152"/>
                  </a:lnTo>
                  <a:lnTo>
                    <a:pt x="178" y="152"/>
                  </a:lnTo>
                  <a:lnTo>
                    <a:pt x="178" y="152"/>
                  </a:lnTo>
                  <a:lnTo>
                    <a:pt x="176" y="152"/>
                  </a:lnTo>
                  <a:lnTo>
                    <a:pt x="176" y="152"/>
                  </a:lnTo>
                  <a:lnTo>
                    <a:pt x="174" y="152"/>
                  </a:lnTo>
                  <a:lnTo>
                    <a:pt x="174" y="152"/>
                  </a:lnTo>
                  <a:lnTo>
                    <a:pt x="174" y="150"/>
                  </a:lnTo>
                  <a:lnTo>
                    <a:pt x="174" y="150"/>
                  </a:lnTo>
                  <a:lnTo>
                    <a:pt x="174" y="150"/>
                  </a:lnTo>
                  <a:lnTo>
                    <a:pt x="174" y="150"/>
                  </a:lnTo>
                  <a:lnTo>
                    <a:pt x="172" y="150"/>
                  </a:lnTo>
                  <a:lnTo>
                    <a:pt x="172" y="148"/>
                  </a:lnTo>
                  <a:lnTo>
                    <a:pt x="172" y="148"/>
                  </a:lnTo>
                  <a:lnTo>
                    <a:pt x="172" y="148"/>
                  </a:lnTo>
                  <a:lnTo>
                    <a:pt x="172" y="148"/>
                  </a:lnTo>
                  <a:lnTo>
                    <a:pt x="172" y="148"/>
                  </a:lnTo>
                  <a:lnTo>
                    <a:pt x="170" y="148"/>
                  </a:lnTo>
                  <a:lnTo>
                    <a:pt x="170" y="148"/>
                  </a:lnTo>
                  <a:lnTo>
                    <a:pt x="168" y="148"/>
                  </a:lnTo>
                  <a:lnTo>
                    <a:pt x="168" y="148"/>
                  </a:lnTo>
                  <a:lnTo>
                    <a:pt x="168" y="148"/>
                  </a:lnTo>
                  <a:lnTo>
                    <a:pt x="168" y="146"/>
                  </a:lnTo>
                  <a:lnTo>
                    <a:pt x="166" y="148"/>
                  </a:lnTo>
                  <a:lnTo>
                    <a:pt x="166" y="148"/>
                  </a:lnTo>
                  <a:lnTo>
                    <a:pt x="166" y="148"/>
                  </a:lnTo>
                  <a:lnTo>
                    <a:pt x="164" y="150"/>
                  </a:lnTo>
                  <a:lnTo>
                    <a:pt x="162" y="150"/>
                  </a:lnTo>
                  <a:lnTo>
                    <a:pt x="160" y="150"/>
                  </a:lnTo>
                  <a:lnTo>
                    <a:pt x="160" y="150"/>
                  </a:lnTo>
                  <a:lnTo>
                    <a:pt x="158" y="152"/>
                  </a:lnTo>
                  <a:lnTo>
                    <a:pt x="156" y="154"/>
                  </a:lnTo>
                  <a:lnTo>
                    <a:pt x="154" y="154"/>
                  </a:lnTo>
                  <a:lnTo>
                    <a:pt x="154" y="154"/>
                  </a:lnTo>
                  <a:lnTo>
                    <a:pt x="151" y="156"/>
                  </a:lnTo>
                  <a:lnTo>
                    <a:pt x="149" y="160"/>
                  </a:lnTo>
                  <a:lnTo>
                    <a:pt x="147" y="162"/>
                  </a:lnTo>
                  <a:lnTo>
                    <a:pt x="147" y="164"/>
                  </a:lnTo>
                  <a:lnTo>
                    <a:pt x="147" y="164"/>
                  </a:lnTo>
                  <a:lnTo>
                    <a:pt x="145" y="166"/>
                  </a:lnTo>
                  <a:lnTo>
                    <a:pt x="145" y="168"/>
                  </a:lnTo>
                  <a:lnTo>
                    <a:pt x="145" y="168"/>
                  </a:lnTo>
                  <a:lnTo>
                    <a:pt x="145" y="168"/>
                  </a:lnTo>
                  <a:lnTo>
                    <a:pt x="145" y="168"/>
                  </a:lnTo>
                  <a:lnTo>
                    <a:pt x="141" y="173"/>
                  </a:lnTo>
                  <a:lnTo>
                    <a:pt x="139" y="173"/>
                  </a:lnTo>
                  <a:lnTo>
                    <a:pt x="139" y="173"/>
                  </a:lnTo>
                  <a:lnTo>
                    <a:pt x="139" y="173"/>
                  </a:lnTo>
                  <a:lnTo>
                    <a:pt x="139" y="173"/>
                  </a:lnTo>
                  <a:lnTo>
                    <a:pt x="137" y="173"/>
                  </a:lnTo>
                  <a:lnTo>
                    <a:pt x="137" y="173"/>
                  </a:lnTo>
                  <a:lnTo>
                    <a:pt x="137" y="173"/>
                  </a:lnTo>
                  <a:lnTo>
                    <a:pt x="137" y="173"/>
                  </a:lnTo>
                  <a:lnTo>
                    <a:pt x="137" y="171"/>
                  </a:lnTo>
                  <a:lnTo>
                    <a:pt x="135" y="171"/>
                  </a:lnTo>
                  <a:lnTo>
                    <a:pt x="135" y="171"/>
                  </a:lnTo>
                  <a:lnTo>
                    <a:pt x="135" y="168"/>
                  </a:lnTo>
                  <a:lnTo>
                    <a:pt x="135" y="168"/>
                  </a:lnTo>
                  <a:lnTo>
                    <a:pt x="135" y="166"/>
                  </a:lnTo>
                  <a:lnTo>
                    <a:pt x="135" y="166"/>
                  </a:lnTo>
                  <a:lnTo>
                    <a:pt x="135" y="166"/>
                  </a:lnTo>
                  <a:lnTo>
                    <a:pt x="135" y="166"/>
                  </a:lnTo>
                  <a:lnTo>
                    <a:pt x="133" y="164"/>
                  </a:lnTo>
                  <a:lnTo>
                    <a:pt x="133" y="164"/>
                  </a:lnTo>
                  <a:lnTo>
                    <a:pt x="133" y="164"/>
                  </a:lnTo>
                  <a:lnTo>
                    <a:pt x="131" y="164"/>
                  </a:lnTo>
                  <a:lnTo>
                    <a:pt x="129" y="166"/>
                  </a:lnTo>
                  <a:lnTo>
                    <a:pt x="127" y="168"/>
                  </a:lnTo>
                  <a:lnTo>
                    <a:pt x="121" y="173"/>
                  </a:lnTo>
                  <a:lnTo>
                    <a:pt x="121" y="173"/>
                  </a:lnTo>
                  <a:lnTo>
                    <a:pt x="121" y="173"/>
                  </a:lnTo>
                  <a:lnTo>
                    <a:pt x="121" y="173"/>
                  </a:lnTo>
                  <a:lnTo>
                    <a:pt x="121" y="175"/>
                  </a:lnTo>
                  <a:lnTo>
                    <a:pt x="121" y="175"/>
                  </a:lnTo>
                  <a:lnTo>
                    <a:pt x="121" y="175"/>
                  </a:lnTo>
                  <a:lnTo>
                    <a:pt x="119" y="177"/>
                  </a:lnTo>
                  <a:lnTo>
                    <a:pt x="119" y="177"/>
                  </a:lnTo>
                  <a:lnTo>
                    <a:pt x="119" y="179"/>
                  </a:lnTo>
                  <a:lnTo>
                    <a:pt x="119" y="179"/>
                  </a:lnTo>
                  <a:lnTo>
                    <a:pt x="119" y="179"/>
                  </a:lnTo>
                  <a:lnTo>
                    <a:pt x="119" y="179"/>
                  </a:lnTo>
                  <a:lnTo>
                    <a:pt x="117" y="179"/>
                  </a:lnTo>
                  <a:lnTo>
                    <a:pt x="117" y="179"/>
                  </a:lnTo>
                  <a:lnTo>
                    <a:pt x="115" y="179"/>
                  </a:lnTo>
                  <a:lnTo>
                    <a:pt x="115" y="179"/>
                  </a:lnTo>
                  <a:lnTo>
                    <a:pt x="113" y="179"/>
                  </a:lnTo>
                  <a:lnTo>
                    <a:pt x="113" y="179"/>
                  </a:lnTo>
                  <a:lnTo>
                    <a:pt x="111" y="179"/>
                  </a:lnTo>
                  <a:lnTo>
                    <a:pt x="111" y="179"/>
                  </a:lnTo>
                  <a:lnTo>
                    <a:pt x="111" y="179"/>
                  </a:lnTo>
                  <a:lnTo>
                    <a:pt x="108" y="181"/>
                  </a:lnTo>
                  <a:lnTo>
                    <a:pt x="108" y="181"/>
                  </a:lnTo>
                  <a:lnTo>
                    <a:pt x="108" y="181"/>
                  </a:lnTo>
                  <a:lnTo>
                    <a:pt x="108" y="181"/>
                  </a:lnTo>
                  <a:lnTo>
                    <a:pt x="108" y="183"/>
                  </a:lnTo>
                  <a:lnTo>
                    <a:pt x="108" y="183"/>
                  </a:lnTo>
                  <a:lnTo>
                    <a:pt x="111" y="183"/>
                  </a:lnTo>
                  <a:lnTo>
                    <a:pt x="111" y="185"/>
                  </a:lnTo>
                  <a:lnTo>
                    <a:pt x="111" y="185"/>
                  </a:lnTo>
                  <a:lnTo>
                    <a:pt x="111" y="187"/>
                  </a:lnTo>
                  <a:lnTo>
                    <a:pt x="111" y="187"/>
                  </a:lnTo>
                  <a:lnTo>
                    <a:pt x="111" y="189"/>
                  </a:lnTo>
                  <a:lnTo>
                    <a:pt x="111" y="189"/>
                  </a:lnTo>
                  <a:lnTo>
                    <a:pt x="111" y="189"/>
                  </a:lnTo>
                  <a:lnTo>
                    <a:pt x="108" y="191"/>
                  </a:lnTo>
                  <a:lnTo>
                    <a:pt x="108" y="195"/>
                  </a:lnTo>
                  <a:lnTo>
                    <a:pt x="106" y="197"/>
                  </a:lnTo>
                  <a:lnTo>
                    <a:pt x="104" y="197"/>
                  </a:lnTo>
                  <a:lnTo>
                    <a:pt x="104" y="197"/>
                  </a:lnTo>
                  <a:lnTo>
                    <a:pt x="102" y="197"/>
                  </a:lnTo>
                  <a:lnTo>
                    <a:pt x="100" y="197"/>
                  </a:lnTo>
                  <a:lnTo>
                    <a:pt x="98" y="197"/>
                  </a:lnTo>
                  <a:lnTo>
                    <a:pt x="98" y="197"/>
                  </a:lnTo>
                  <a:lnTo>
                    <a:pt x="98" y="199"/>
                  </a:lnTo>
                  <a:lnTo>
                    <a:pt x="94" y="201"/>
                  </a:lnTo>
                  <a:lnTo>
                    <a:pt x="90" y="203"/>
                  </a:lnTo>
                  <a:lnTo>
                    <a:pt x="90" y="203"/>
                  </a:lnTo>
                  <a:lnTo>
                    <a:pt x="90" y="203"/>
                  </a:lnTo>
                  <a:lnTo>
                    <a:pt x="88" y="205"/>
                  </a:lnTo>
                  <a:lnTo>
                    <a:pt x="86" y="207"/>
                  </a:lnTo>
                  <a:lnTo>
                    <a:pt x="84" y="207"/>
                  </a:lnTo>
                  <a:lnTo>
                    <a:pt x="84" y="207"/>
                  </a:lnTo>
                  <a:lnTo>
                    <a:pt x="84" y="209"/>
                  </a:lnTo>
                  <a:lnTo>
                    <a:pt x="84" y="209"/>
                  </a:lnTo>
                  <a:lnTo>
                    <a:pt x="82" y="212"/>
                  </a:lnTo>
                  <a:lnTo>
                    <a:pt x="80" y="214"/>
                  </a:lnTo>
                  <a:lnTo>
                    <a:pt x="80" y="214"/>
                  </a:lnTo>
                  <a:lnTo>
                    <a:pt x="80" y="214"/>
                  </a:lnTo>
                  <a:lnTo>
                    <a:pt x="78" y="214"/>
                  </a:lnTo>
                  <a:lnTo>
                    <a:pt x="78" y="214"/>
                  </a:lnTo>
                  <a:lnTo>
                    <a:pt x="78" y="216"/>
                  </a:lnTo>
                  <a:lnTo>
                    <a:pt x="76" y="216"/>
                  </a:lnTo>
                  <a:lnTo>
                    <a:pt x="76" y="218"/>
                  </a:lnTo>
                  <a:lnTo>
                    <a:pt x="74" y="218"/>
                  </a:lnTo>
                  <a:lnTo>
                    <a:pt x="74" y="220"/>
                  </a:lnTo>
                  <a:lnTo>
                    <a:pt x="70" y="222"/>
                  </a:lnTo>
                  <a:lnTo>
                    <a:pt x="68" y="222"/>
                  </a:lnTo>
                  <a:lnTo>
                    <a:pt x="68" y="224"/>
                  </a:lnTo>
                  <a:lnTo>
                    <a:pt x="68" y="224"/>
                  </a:lnTo>
                  <a:lnTo>
                    <a:pt x="65" y="226"/>
                  </a:lnTo>
                  <a:lnTo>
                    <a:pt x="65" y="228"/>
                  </a:lnTo>
                  <a:lnTo>
                    <a:pt x="63" y="228"/>
                  </a:lnTo>
                  <a:lnTo>
                    <a:pt x="59" y="230"/>
                  </a:lnTo>
                  <a:lnTo>
                    <a:pt x="57" y="230"/>
                  </a:lnTo>
                  <a:lnTo>
                    <a:pt x="57" y="230"/>
                  </a:lnTo>
                  <a:lnTo>
                    <a:pt x="57" y="230"/>
                  </a:lnTo>
                  <a:lnTo>
                    <a:pt x="57" y="228"/>
                  </a:lnTo>
                  <a:lnTo>
                    <a:pt x="55" y="228"/>
                  </a:lnTo>
                  <a:lnTo>
                    <a:pt x="55" y="228"/>
                  </a:lnTo>
                  <a:lnTo>
                    <a:pt x="55" y="228"/>
                  </a:lnTo>
                  <a:lnTo>
                    <a:pt x="53" y="230"/>
                  </a:lnTo>
                  <a:lnTo>
                    <a:pt x="51" y="230"/>
                  </a:lnTo>
                  <a:lnTo>
                    <a:pt x="51" y="230"/>
                  </a:lnTo>
                  <a:lnTo>
                    <a:pt x="51" y="230"/>
                  </a:lnTo>
                  <a:lnTo>
                    <a:pt x="51" y="230"/>
                  </a:lnTo>
                  <a:lnTo>
                    <a:pt x="49" y="230"/>
                  </a:lnTo>
                  <a:lnTo>
                    <a:pt x="49" y="230"/>
                  </a:lnTo>
                  <a:lnTo>
                    <a:pt x="49" y="230"/>
                  </a:lnTo>
                  <a:lnTo>
                    <a:pt x="47" y="230"/>
                  </a:lnTo>
                  <a:lnTo>
                    <a:pt x="47" y="230"/>
                  </a:lnTo>
                  <a:lnTo>
                    <a:pt x="45" y="230"/>
                  </a:lnTo>
                  <a:lnTo>
                    <a:pt x="43" y="230"/>
                  </a:lnTo>
                  <a:lnTo>
                    <a:pt x="43" y="232"/>
                  </a:lnTo>
                  <a:lnTo>
                    <a:pt x="41" y="232"/>
                  </a:lnTo>
                  <a:lnTo>
                    <a:pt x="39" y="234"/>
                  </a:lnTo>
                  <a:lnTo>
                    <a:pt x="37" y="236"/>
                  </a:lnTo>
                  <a:lnTo>
                    <a:pt x="37" y="236"/>
                  </a:lnTo>
                  <a:lnTo>
                    <a:pt x="37" y="236"/>
                  </a:lnTo>
                  <a:lnTo>
                    <a:pt x="33" y="238"/>
                  </a:lnTo>
                  <a:lnTo>
                    <a:pt x="33" y="238"/>
                  </a:lnTo>
                  <a:lnTo>
                    <a:pt x="31" y="238"/>
                  </a:lnTo>
                  <a:lnTo>
                    <a:pt x="31" y="238"/>
                  </a:lnTo>
                  <a:lnTo>
                    <a:pt x="31" y="242"/>
                  </a:lnTo>
                  <a:lnTo>
                    <a:pt x="29" y="242"/>
                  </a:lnTo>
                  <a:lnTo>
                    <a:pt x="29" y="244"/>
                  </a:lnTo>
                  <a:lnTo>
                    <a:pt x="29" y="244"/>
                  </a:lnTo>
                  <a:lnTo>
                    <a:pt x="25" y="246"/>
                  </a:lnTo>
                  <a:lnTo>
                    <a:pt x="25" y="246"/>
                  </a:lnTo>
                  <a:lnTo>
                    <a:pt x="25" y="246"/>
                  </a:lnTo>
                  <a:lnTo>
                    <a:pt x="22" y="248"/>
                  </a:lnTo>
                  <a:lnTo>
                    <a:pt x="22" y="250"/>
                  </a:lnTo>
                  <a:lnTo>
                    <a:pt x="22" y="250"/>
                  </a:lnTo>
                  <a:lnTo>
                    <a:pt x="22" y="250"/>
                  </a:lnTo>
                  <a:lnTo>
                    <a:pt x="22" y="250"/>
                  </a:lnTo>
                  <a:lnTo>
                    <a:pt x="22" y="253"/>
                  </a:lnTo>
                  <a:lnTo>
                    <a:pt x="22" y="253"/>
                  </a:lnTo>
                  <a:lnTo>
                    <a:pt x="22" y="255"/>
                  </a:lnTo>
                  <a:lnTo>
                    <a:pt x="22" y="255"/>
                  </a:lnTo>
                  <a:lnTo>
                    <a:pt x="22" y="255"/>
                  </a:lnTo>
                  <a:lnTo>
                    <a:pt x="20" y="257"/>
                  </a:lnTo>
                  <a:lnTo>
                    <a:pt x="20" y="259"/>
                  </a:lnTo>
                  <a:lnTo>
                    <a:pt x="20" y="259"/>
                  </a:lnTo>
                  <a:lnTo>
                    <a:pt x="20" y="259"/>
                  </a:lnTo>
                  <a:lnTo>
                    <a:pt x="20" y="263"/>
                  </a:lnTo>
                  <a:lnTo>
                    <a:pt x="20" y="265"/>
                  </a:lnTo>
                  <a:lnTo>
                    <a:pt x="20" y="265"/>
                  </a:lnTo>
                  <a:lnTo>
                    <a:pt x="18" y="267"/>
                  </a:lnTo>
                  <a:lnTo>
                    <a:pt x="18" y="267"/>
                  </a:lnTo>
                  <a:lnTo>
                    <a:pt x="16" y="269"/>
                  </a:lnTo>
                  <a:lnTo>
                    <a:pt x="16" y="269"/>
                  </a:lnTo>
                  <a:lnTo>
                    <a:pt x="14" y="269"/>
                  </a:lnTo>
                  <a:lnTo>
                    <a:pt x="10" y="269"/>
                  </a:lnTo>
                  <a:lnTo>
                    <a:pt x="8" y="271"/>
                  </a:lnTo>
                  <a:lnTo>
                    <a:pt x="8" y="271"/>
                  </a:lnTo>
                  <a:lnTo>
                    <a:pt x="8" y="269"/>
                  </a:lnTo>
                  <a:lnTo>
                    <a:pt x="8" y="269"/>
                  </a:lnTo>
                  <a:lnTo>
                    <a:pt x="6" y="269"/>
                  </a:lnTo>
                  <a:lnTo>
                    <a:pt x="6" y="269"/>
                  </a:lnTo>
                  <a:lnTo>
                    <a:pt x="6" y="269"/>
                  </a:lnTo>
                  <a:lnTo>
                    <a:pt x="4" y="269"/>
                  </a:lnTo>
                  <a:lnTo>
                    <a:pt x="4" y="271"/>
                  </a:lnTo>
                  <a:lnTo>
                    <a:pt x="2" y="271"/>
                  </a:lnTo>
                  <a:lnTo>
                    <a:pt x="2" y="273"/>
                  </a:lnTo>
                  <a:lnTo>
                    <a:pt x="0" y="273"/>
                  </a:lnTo>
                  <a:lnTo>
                    <a:pt x="0" y="275"/>
                  </a:lnTo>
                  <a:lnTo>
                    <a:pt x="0" y="275"/>
                  </a:lnTo>
                  <a:lnTo>
                    <a:pt x="0" y="277"/>
                  </a:lnTo>
                  <a:lnTo>
                    <a:pt x="0" y="279"/>
                  </a:lnTo>
                  <a:lnTo>
                    <a:pt x="0" y="283"/>
                  </a:lnTo>
                  <a:lnTo>
                    <a:pt x="0" y="289"/>
                  </a:lnTo>
                  <a:lnTo>
                    <a:pt x="0" y="296"/>
                  </a:lnTo>
                  <a:lnTo>
                    <a:pt x="2" y="300"/>
                  </a:lnTo>
                  <a:lnTo>
                    <a:pt x="8" y="300"/>
                  </a:lnTo>
                  <a:lnTo>
                    <a:pt x="14" y="298"/>
                  </a:lnTo>
                  <a:lnTo>
                    <a:pt x="20" y="298"/>
                  </a:lnTo>
                  <a:lnTo>
                    <a:pt x="29" y="296"/>
                  </a:lnTo>
                  <a:lnTo>
                    <a:pt x="35" y="296"/>
                  </a:lnTo>
                  <a:lnTo>
                    <a:pt x="47" y="293"/>
                  </a:lnTo>
                  <a:lnTo>
                    <a:pt x="55" y="291"/>
                  </a:lnTo>
                  <a:lnTo>
                    <a:pt x="61" y="291"/>
                  </a:lnTo>
                  <a:lnTo>
                    <a:pt x="68" y="289"/>
                  </a:lnTo>
                  <a:lnTo>
                    <a:pt x="74" y="287"/>
                  </a:lnTo>
                  <a:lnTo>
                    <a:pt x="80" y="287"/>
                  </a:lnTo>
                  <a:lnTo>
                    <a:pt x="88" y="285"/>
                  </a:lnTo>
                  <a:lnTo>
                    <a:pt x="94" y="285"/>
                  </a:lnTo>
                  <a:lnTo>
                    <a:pt x="100" y="283"/>
                  </a:lnTo>
                  <a:lnTo>
                    <a:pt x="106" y="283"/>
                  </a:lnTo>
                  <a:lnTo>
                    <a:pt x="108" y="283"/>
                  </a:lnTo>
                  <a:lnTo>
                    <a:pt x="133" y="271"/>
                  </a:lnTo>
                  <a:lnTo>
                    <a:pt x="135" y="269"/>
                  </a:lnTo>
                  <a:lnTo>
                    <a:pt x="137" y="269"/>
                  </a:lnTo>
                  <a:lnTo>
                    <a:pt x="137" y="271"/>
                  </a:lnTo>
                  <a:lnTo>
                    <a:pt x="137" y="271"/>
                  </a:lnTo>
                  <a:lnTo>
                    <a:pt x="137" y="271"/>
                  </a:lnTo>
                  <a:lnTo>
                    <a:pt x="139" y="269"/>
                  </a:lnTo>
                  <a:lnTo>
                    <a:pt x="139" y="269"/>
                  </a:lnTo>
                  <a:lnTo>
                    <a:pt x="141" y="267"/>
                  </a:lnTo>
                  <a:lnTo>
                    <a:pt x="141" y="267"/>
                  </a:lnTo>
                  <a:lnTo>
                    <a:pt x="143" y="265"/>
                  </a:lnTo>
                  <a:lnTo>
                    <a:pt x="143" y="265"/>
                  </a:lnTo>
                  <a:lnTo>
                    <a:pt x="143" y="265"/>
                  </a:lnTo>
                  <a:lnTo>
                    <a:pt x="143" y="263"/>
                  </a:lnTo>
                  <a:lnTo>
                    <a:pt x="143" y="263"/>
                  </a:lnTo>
                  <a:lnTo>
                    <a:pt x="145" y="263"/>
                  </a:lnTo>
                  <a:lnTo>
                    <a:pt x="145" y="263"/>
                  </a:lnTo>
                  <a:lnTo>
                    <a:pt x="147" y="263"/>
                  </a:lnTo>
                  <a:lnTo>
                    <a:pt x="149" y="261"/>
                  </a:lnTo>
                  <a:lnTo>
                    <a:pt x="154" y="259"/>
                  </a:lnTo>
                  <a:lnTo>
                    <a:pt x="154" y="259"/>
                  </a:lnTo>
                  <a:lnTo>
                    <a:pt x="158" y="257"/>
                  </a:lnTo>
                  <a:lnTo>
                    <a:pt x="158" y="257"/>
                  </a:lnTo>
                  <a:lnTo>
                    <a:pt x="158" y="257"/>
                  </a:lnTo>
                  <a:lnTo>
                    <a:pt x="160" y="257"/>
                  </a:lnTo>
                  <a:lnTo>
                    <a:pt x="160" y="257"/>
                  </a:lnTo>
                  <a:lnTo>
                    <a:pt x="160" y="255"/>
                  </a:lnTo>
                  <a:lnTo>
                    <a:pt x="164" y="255"/>
                  </a:lnTo>
                  <a:lnTo>
                    <a:pt x="164" y="255"/>
                  </a:lnTo>
                  <a:lnTo>
                    <a:pt x="164" y="255"/>
                  </a:lnTo>
                  <a:lnTo>
                    <a:pt x="164" y="253"/>
                  </a:lnTo>
                  <a:lnTo>
                    <a:pt x="164" y="253"/>
                  </a:lnTo>
                  <a:lnTo>
                    <a:pt x="166" y="250"/>
                  </a:lnTo>
                  <a:lnTo>
                    <a:pt x="166" y="250"/>
                  </a:lnTo>
                  <a:lnTo>
                    <a:pt x="168" y="250"/>
                  </a:lnTo>
                  <a:lnTo>
                    <a:pt x="168" y="250"/>
                  </a:lnTo>
                  <a:lnTo>
                    <a:pt x="168" y="250"/>
                  </a:lnTo>
                  <a:lnTo>
                    <a:pt x="168" y="250"/>
                  </a:lnTo>
                  <a:lnTo>
                    <a:pt x="168" y="250"/>
                  </a:lnTo>
                  <a:lnTo>
                    <a:pt x="168" y="250"/>
                  </a:lnTo>
                  <a:lnTo>
                    <a:pt x="170" y="250"/>
                  </a:lnTo>
                  <a:lnTo>
                    <a:pt x="170" y="250"/>
                  </a:lnTo>
                  <a:lnTo>
                    <a:pt x="176" y="250"/>
                  </a:lnTo>
                  <a:lnTo>
                    <a:pt x="182" y="248"/>
                  </a:lnTo>
                  <a:lnTo>
                    <a:pt x="182" y="248"/>
                  </a:lnTo>
                  <a:lnTo>
                    <a:pt x="186" y="248"/>
                  </a:lnTo>
                  <a:lnTo>
                    <a:pt x="190" y="248"/>
                  </a:lnTo>
                  <a:lnTo>
                    <a:pt x="194" y="248"/>
                  </a:lnTo>
                  <a:lnTo>
                    <a:pt x="201" y="246"/>
                  </a:lnTo>
                  <a:lnTo>
                    <a:pt x="207" y="246"/>
                  </a:lnTo>
                  <a:lnTo>
                    <a:pt x="215" y="244"/>
                  </a:lnTo>
                  <a:lnTo>
                    <a:pt x="223" y="244"/>
                  </a:lnTo>
                  <a:lnTo>
                    <a:pt x="229" y="244"/>
                  </a:lnTo>
                  <a:lnTo>
                    <a:pt x="237" y="242"/>
                  </a:lnTo>
                  <a:lnTo>
                    <a:pt x="246" y="242"/>
                  </a:lnTo>
                  <a:lnTo>
                    <a:pt x="254" y="240"/>
                  </a:lnTo>
                  <a:lnTo>
                    <a:pt x="260" y="240"/>
                  </a:lnTo>
                  <a:lnTo>
                    <a:pt x="268" y="240"/>
                  </a:lnTo>
                  <a:lnTo>
                    <a:pt x="272" y="238"/>
                  </a:lnTo>
                  <a:lnTo>
                    <a:pt x="278" y="238"/>
                  </a:lnTo>
                  <a:lnTo>
                    <a:pt x="283" y="238"/>
                  </a:lnTo>
                  <a:lnTo>
                    <a:pt x="285" y="238"/>
                  </a:lnTo>
                  <a:lnTo>
                    <a:pt x="285" y="238"/>
                  </a:lnTo>
                  <a:lnTo>
                    <a:pt x="285" y="238"/>
                  </a:lnTo>
                  <a:lnTo>
                    <a:pt x="287" y="238"/>
                  </a:lnTo>
                  <a:lnTo>
                    <a:pt x="287" y="238"/>
                  </a:lnTo>
                  <a:lnTo>
                    <a:pt x="287" y="238"/>
                  </a:lnTo>
                  <a:lnTo>
                    <a:pt x="287" y="240"/>
                  </a:lnTo>
                  <a:lnTo>
                    <a:pt x="287" y="240"/>
                  </a:lnTo>
                  <a:lnTo>
                    <a:pt x="287" y="240"/>
                  </a:lnTo>
                  <a:lnTo>
                    <a:pt x="287" y="240"/>
                  </a:lnTo>
                  <a:lnTo>
                    <a:pt x="287" y="244"/>
                  </a:lnTo>
                  <a:lnTo>
                    <a:pt x="287" y="244"/>
                  </a:lnTo>
                  <a:lnTo>
                    <a:pt x="287" y="244"/>
                  </a:lnTo>
                  <a:lnTo>
                    <a:pt x="287" y="244"/>
                  </a:lnTo>
                  <a:lnTo>
                    <a:pt x="287" y="244"/>
                  </a:lnTo>
                  <a:lnTo>
                    <a:pt x="287" y="246"/>
                  </a:lnTo>
                  <a:lnTo>
                    <a:pt x="287" y="246"/>
                  </a:lnTo>
                  <a:lnTo>
                    <a:pt x="287" y="246"/>
                  </a:lnTo>
                  <a:lnTo>
                    <a:pt x="289" y="246"/>
                  </a:lnTo>
                  <a:lnTo>
                    <a:pt x="289" y="246"/>
                  </a:lnTo>
                  <a:lnTo>
                    <a:pt x="289" y="246"/>
                  </a:lnTo>
                  <a:lnTo>
                    <a:pt x="295" y="240"/>
                  </a:lnTo>
                  <a:lnTo>
                    <a:pt x="295" y="240"/>
                  </a:lnTo>
                  <a:lnTo>
                    <a:pt x="297" y="240"/>
                  </a:lnTo>
                  <a:lnTo>
                    <a:pt x="297" y="240"/>
                  </a:lnTo>
                  <a:lnTo>
                    <a:pt x="297" y="240"/>
                  </a:lnTo>
                  <a:lnTo>
                    <a:pt x="301" y="244"/>
                  </a:lnTo>
                  <a:lnTo>
                    <a:pt x="307" y="248"/>
                  </a:lnTo>
                  <a:lnTo>
                    <a:pt x="311" y="255"/>
                  </a:lnTo>
                  <a:lnTo>
                    <a:pt x="311" y="255"/>
                  </a:lnTo>
                  <a:lnTo>
                    <a:pt x="311" y="255"/>
                  </a:lnTo>
                  <a:lnTo>
                    <a:pt x="313" y="267"/>
                  </a:lnTo>
                  <a:lnTo>
                    <a:pt x="313" y="267"/>
                  </a:lnTo>
                  <a:lnTo>
                    <a:pt x="313" y="267"/>
                  </a:lnTo>
                  <a:lnTo>
                    <a:pt x="313" y="267"/>
                  </a:lnTo>
                  <a:lnTo>
                    <a:pt x="315" y="267"/>
                  </a:lnTo>
                  <a:lnTo>
                    <a:pt x="319" y="267"/>
                  </a:lnTo>
                  <a:lnTo>
                    <a:pt x="319" y="267"/>
                  </a:lnTo>
                  <a:lnTo>
                    <a:pt x="321" y="267"/>
                  </a:lnTo>
                  <a:lnTo>
                    <a:pt x="326" y="267"/>
                  </a:lnTo>
                  <a:lnTo>
                    <a:pt x="332" y="265"/>
                  </a:lnTo>
                  <a:lnTo>
                    <a:pt x="338" y="265"/>
                  </a:lnTo>
                  <a:lnTo>
                    <a:pt x="346" y="263"/>
                  </a:lnTo>
                  <a:lnTo>
                    <a:pt x="354" y="261"/>
                  </a:lnTo>
                  <a:lnTo>
                    <a:pt x="362" y="261"/>
                  </a:lnTo>
                  <a:lnTo>
                    <a:pt x="371" y="259"/>
                  </a:lnTo>
                  <a:lnTo>
                    <a:pt x="379" y="259"/>
                  </a:lnTo>
                  <a:lnTo>
                    <a:pt x="385" y="257"/>
                  </a:lnTo>
                  <a:lnTo>
                    <a:pt x="393" y="257"/>
                  </a:lnTo>
                  <a:lnTo>
                    <a:pt x="397" y="255"/>
                  </a:lnTo>
                  <a:lnTo>
                    <a:pt x="401" y="255"/>
                  </a:lnTo>
                  <a:lnTo>
                    <a:pt x="405" y="255"/>
                  </a:lnTo>
                  <a:lnTo>
                    <a:pt x="405" y="253"/>
                  </a:lnTo>
                  <a:lnTo>
                    <a:pt x="410" y="253"/>
                  </a:lnTo>
                  <a:lnTo>
                    <a:pt x="412" y="253"/>
                  </a:lnTo>
                  <a:lnTo>
                    <a:pt x="414" y="253"/>
                  </a:lnTo>
                  <a:lnTo>
                    <a:pt x="418" y="255"/>
                  </a:lnTo>
                  <a:lnTo>
                    <a:pt x="424" y="261"/>
                  </a:lnTo>
                  <a:lnTo>
                    <a:pt x="430" y="265"/>
                  </a:lnTo>
                  <a:lnTo>
                    <a:pt x="438" y="269"/>
                  </a:lnTo>
                  <a:lnTo>
                    <a:pt x="450" y="279"/>
                  </a:lnTo>
                  <a:lnTo>
                    <a:pt x="465" y="289"/>
                  </a:lnTo>
                  <a:lnTo>
                    <a:pt x="471" y="293"/>
                  </a:lnTo>
                  <a:lnTo>
                    <a:pt x="479" y="298"/>
                  </a:lnTo>
                  <a:lnTo>
                    <a:pt x="485" y="304"/>
                  </a:lnTo>
                  <a:lnTo>
                    <a:pt x="491" y="308"/>
                  </a:lnTo>
                  <a:lnTo>
                    <a:pt x="500" y="312"/>
                  </a:lnTo>
                  <a:lnTo>
                    <a:pt x="506" y="318"/>
                  </a:lnTo>
                  <a:lnTo>
                    <a:pt x="514" y="322"/>
                  </a:lnTo>
                  <a:lnTo>
                    <a:pt x="520" y="326"/>
                  </a:lnTo>
                  <a:lnTo>
                    <a:pt x="526" y="332"/>
                  </a:lnTo>
                  <a:lnTo>
                    <a:pt x="528" y="330"/>
                  </a:lnTo>
                  <a:lnTo>
                    <a:pt x="530" y="330"/>
                  </a:lnTo>
                  <a:lnTo>
                    <a:pt x="528" y="332"/>
                  </a:lnTo>
                  <a:lnTo>
                    <a:pt x="528" y="332"/>
                  </a:lnTo>
                  <a:lnTo>
                    <a:pt x="537" y="328"/>
                  </a:lnTo>
                  <a:lnTo>
                    <a:pt x="541" y="326"/>
                  </a:lnTo>
                  <a:lnTo>
                    <a:pt x="543" y="324"/>
                  </a:lnTo>
                  <a:lnTo>
                    <a:pt x="543" y="320"/>
                  </a:lnTo>
                  <a:lnTo>
                    <a:pt x="545" y="320"/>
                  </a:lnTo>
                  <a:lnTo>
                    <a:pt x="545" y="322"/>
                  </a:lnTo>
                  <a:lnTo>
                    <a:pt x="545" y="324"/>
                  </a:lnTo>
                  <a:lnTo>
                    <a:pt x="545" y="324"/>
                  </a:lnTo>
                  <a:lnTo>
                    <a:pt x="547" y="324"/>
                  </a:lnTo>
                  <a:lnTo>
                    <a:pt x="555" y="322"/>
                  </a:lnTo>
                  <a:lnTo>
                    <a:pt x="557" y="322"/>
                  </a:lnTo>
                  <a:lnTo>
                    <a:pt x="557" y="322"/>
                  </a:lnTo>
                  <a:lnTo>
                    <a:pt x="563" y="320"/>
                  </a:lnTo>
                  <a:lnTo>
                    <a:pt x="565" y="320"/>
                  </a:lnTo>
                  <a:lnTo>
                    <a:pt x="573" y="322"/>
                  </a:lnTo>
                  <a:lnTo>
                    <a:pt x="573" y="322"/>
                  </a:lnTo>
                  <a:lnTo>
                    <a:pt x="575" y="320"/>
                  </a:lnTo>
                  <a:lnTo>
                    <a:pt x="575" y="320"/>
                  </a:lnTo>
                  <a:lnTo>
                    <a:pt x="577" y="314"/>
                  </a:lnTo>
                  <a:lnTo>
                    <a:pt x="580" y="310"/>
                  </a:lnTo>
                  <a:lnTo>
                    <a:pt x="580" y="308"/>
                  </a:lnTo>
                  <a:lnTo>
                    <a:pt x="577" y="304"/>
                  </a:lnTo>
                  <a:lnTo>
                    <a:pt x="577" y="304"/>
                  </a:lnTo>
                  <a:lnTo>
                    <a:pt x="580" y="302"/>
                  </a:lnTo>
                  <a:lnTo>
                    <a:pt x="577" y="300"/>
                  </a:lnTo>
                  <a:lnTo>
                    <a:pt x="575" y="291"/>
                  </a:lnTo>
                  <a:lnTo>
                    <a:pt x="573" y="289"/>
                  </a:lnTo>
                  <a:lnTo>
                    <a:pt x="575" y="287"/>
                  </a:lnTo>
                  <a:lnTo>
                    <a:pt x="577" y="293"/>
                  </a:lnTo>
                  <a:lnTo>
                    <a:pt x="580" y="296"/>
                  </a:lnTo>
                  <a:lnTo>
                    <a:pt x="580" y="300"/>
                  </a:lnTo>
                  <a:lnTo>
                    <a:pt x="582" y="308"/>
                  </a:lnTo>
                  <a:lnTo>
                    <a:pt x="582" y="312"/>
                  </a:lnTo>
                  <a:lnTo>
                    <a:pt x="582" y="312"/>
                  </a:lnTo>
                  <a:lnTo>
                    <a:pt x="582" y="312"/>
                  </a:lnTo>
                  <a:lnTo>
                    <a:pt x="582" y="314"/>
                  </a:lnTo>
                  <a:lnTo>
                    <a:pt x="582" y="316"/>
                  </a:lnTo>
                  <a:lnTo>
                    <a:pt x="584" y="312"/>
                  </a:lnTo>
                  <a:lnTo>
                    <a:pt x="584" y="306"/>
                  </a:lnTo>
                  <a:lnTo>
                    <a:pt x="584" y="293"/>
                  </a:lnTo>
                  <a:lnTo>
                    <a:pt x="584" y="291"/>
                  </a:lnTo>
                  <a:lnTo>
                    <a:pt x="586" y="287"/>
                  </a:lnTo>
                  <a:lnTo>
                    <a:pt x="586" y="285"/>
                  </a:lnTo>
                  <a:lnTo>
                    <a:pt x="586" y="283"/>
                  </a:lnTo>
                  <a:lnTo>
                    <a:pt x="588" y="279"/>
                  </a:lnTo>
                  <a:lnTo>
                    <a:pt x="592" y="271"/>
                  </a:lnTo>
                  <a:lnTo>
                    <a:pt x="596" y="263"/>
                  </a:lnTo>
                  <a:lnTo>
                    <a:pt x="606" y="253"/>
                  </a:lnTo>
                  <a:lnTo>
                    <a:pt x="612" y="246"/>
                  </a:lnTo>
                  <a:lnTo>
                    <a:pt x="616" y="244"/>
                  </a:lnTo>
                  <a:lnTo>
                    <a:pt x="616" y="242"/>
                  </a:lnTo>
                  <a:lnTo>
                    <a:pt x="618" y="242"/>
                  </a:lnTo>
                  <a:lnTo>
                    <a:pt x="618" y="242"/>
                  </a:lnTo>
                  <a:lnTo>
                    <a:pt x="616" y="242"/>
                  </a:lnTo>
                  <a:lnTo>
                    <a:pt x="616" y="240"/>
                  </a:lnTo>
                  <a:lnTo>
                    <a:pt x="618" y="240"/>
                  </a:lnTo>
                  <a:lnTo>
                    <a:pt x="616" y="238"/>
                  </a:lnTo>
                  <a:lnTo>
                    <a:pt x="614" y="238"/>
                  </a:lnTo>
                  <a:lnTo>
                    <a:pt x="614" y="238"/>
                  </a:lnTo>
                  <a:lnTo>
                    <a:pt x="612" y="238"/>
                  </a:lnTo>
                  <a:lnTo>
                    <a:pt x="612" y="236"/>
                  </a:lnTo>
                  <a:lnTo>
                    <a:pt x="610" y="236"/>
                  </a:lnTo>
                  <a:lnTo>
                    <a:pt x="610" y="236"/>
                  </a:lnTo>
                  <a:lnTo>
                    <a:pt x="610" y="234"/>
                  </a:lnTo>
                  <a:lnTo>
                    <a:pt x="610" y="234"/>
                  </a:lnTo>
                  <a:lnTo>
                    <a:pt x="612" y="234"/>
                  </a:lnTo>
                  <a:lnTo>
                    <a:pt x="612" y="234"/>
                  </a:lnTo>
                  <a:lnTo>
                    <a:pt x="612" y="234"/>
                  </a:lnTo>
                  <a:lnTo>
                    <a:pt x="614" y="232"/>
                  </a:lnTo>
                  <a:lnTo>
                    <a:pt x="614" y="232"/>
                  </a:lnTo>
                  <a:lnTo>
                    <a:pt x="614" y="228"/>
                  </a:lnTo>
                  <a:lnTo>
                    <a:pt x="614" y="228"/>
                  </a:lnTo>
                  <a:lnTo>
                    <a:pt x="612" y="226"/>
                  </a:lnTo>
                  <a:lnTo>
                    <a:pt x="612" y="226"/>
                  </a:lnTo>
                  <a:lnTo>
                    <a:pt x="610" y="226"/>
                  </a:lnTo>
                  <a:lnTo>
                    <a:pt x="610" y="226"/>
                  </a:lnTo>
                  <a:lnTo>
                    <a:pt x="608" y="220"/>
                  </a:lnTo>
                  <a:lnTo>
                    <a:pt x="610" y="222"/>
                  </a:lnTo>
                  <a:lnTo>
                    <a:pt x="610" y="222"/>
                  </a:lnTo>
                  <a:lnTo>
                    <a:pt x="610" y="220"/>
                  </a:lnTo>
                  <a:lnTo>
                    <a:pt x="612" y="220"/>
                  </a:lnTo>
                  <a:lnTo>
                    <a:pt x="612" y="222"/>
                  </a:lnTo>
                  <a:lnTo>
                    <a:pt x="614" y="222"/>
                  </a:lnTo>
                  <a:lnTo>
                    <a:pt x="614" y="222"/>
                  </a:lnTo>
                  <a:lnTo>
                    <a:pt x="612" y="222"/>
                  </a:lnTo>
                  <a:lnTo>
                    <a:pt x="612" y="224"/>
                  </a:lnTo>
                  <a:lnTo>
                    <a:pt x="614" y="224"/>
                  </a:lnTo>
                  <a:lnTo>
                    <a:pt x="618" y="228"/>
                  </a:lnTo>
                  <a:lnTo>
                    <a:pt x="618" y="228"/>
                  </a:lnTo>
                  <a:lnTo>
                    <a:pt x="618" y="230"/>
                  </a:lnTo>
                  <a:lnTo>
                    <a:pt x="616" y="234"/>
                  </a:lnTo>
                  <a:lnTo>
                    <a:pt x="614" y="236"/>
                  </a:lnTo>
                  <a:lnTo>
                    <a:pt x="618" y="236"/>
                  </a:lnTo>
                  <a:lnTo>
                    <a:pt x="618" y="236"/>
                  </a:lnTo>
                  <a:lnTo>
                    <a:pt x="618" y="236"/>
                  </a:lnTo>
                  <a:lnTo>
                    <a:pt x="620" y="238"/>
                  </a:lnTo>
                  <a:lnTo>
                    <a:pt x="623" y="238"/>
                  </a:lnTo>
                  <a:lnTo>
                    <a:pt x="625" y="236"/>
                  </a:lnTo>
                  <a:lnTo>
                    <a:pt x="625" y="234"/>
                  </a:lnTo>
                  <a:lnTo>
                    <a:pt x="627" y="234"/>
                  </a:lnTo>
                  <a:lnTo>
                    <a:pt x="631" y="226"/>
                  </a:lnTo>
                  <a:lnTo>
                    <a:pt x="633" y="224"/>
                  </a:lnTo>
                  <a:lnTo>
                    <a:pt x="633" y="224"/>
                  </a:lnTo>
                  <a:lnTo>
                    <a:pt x="633" y="222"/>
                  </a:lnTo>
                  <a:lnTo>
                    <a:pt x="633" y="222"/>
                  </a:lnTo>
                  <a:lnTo>
                    <a:pt x="633" y="222"/>
                  </a:lnTo>
                  <a:lnTo>
                    <a:pt x="633" y="222"/>
                  </a:lnTo>
                  <a:lnTo>
                    <a:pt x="635" y="222"/>
                  </a:lnTo>
                  <a:lnTo>
                    <a:pt x="635" y="222"/>
                  </a:lnTo>
                  <a:lnTo>
                    <a:pt x="635" y="222"/>
                  </a:lnTo>
                  <a:lnTo>
                    <a:pt x="637" y="220"/>
                  </a:lnTo>
                  <a:lnTo>
                    <a:pt x="637" y="218"/>
                  </a:lnTo>
                  <a:lnTo>
                    <a:pt x="637" y="218"/>
                  </a:lnTo>
                  <a:lnTo>
                    <a:pt x="635" y="216"/>
                  </a:lnTo>
                  <a:lnTo>
                    <a:pt x="635" y="216"/>
                  </a:lnTo>
                  <a:lnTo>
                    <a:pt x="635" y="214"/>
                  </a:lnTo>
                  <a:lnTo>
                    <a:pt x="637" y="214"/>
                  </a:lnTo>
                  <a:lnTo>
                    <a:pt x="637" y="214"/>
                  </a:lnTo>
                  <a:lnTo>
                    <a:pt x="637" y="216"/>
                  </a:lnTo>
                  <a:lnTo>
                    <a:pt x="639" y="218"/>
                  </a:lnTo>
                  <a:lnTo>
                    <a:pt x="639" y="220"/>
                  </a:lnTo>
                  <a:lnTo>
                    <a:pt x="639" y="222"/>
                  </a:lnTo>
                  <a:lnTo>
                    <a:pt x="639" y="222"/>
                  </a:lnTo>
                  <a:lnTo>
                    <a:pt x="641" y="222"/>
                  </a:lnTo>
                  <a:lnTo>
                    <a:pt x="641" y="220"/>
                  </a:lnTo>
                  <a:lnTo>
                    <a:pt x="653" y="214"/>
                  </a:lnTo>
                  <a:lnTo>
                    <a:pt x="655" y="212"/>
                  </a:lnTo>
                  <a:lnTo>
                    <a:pt x="672" y="209"/>
                  </a:lnTo>
                  <a:lnTo>
                    <a:pt x="672" y="207"/>
                  </a:lnTo>
                  <a:lnTo>
                    <a:pt x="670" y="205"/>
                  </a:lnTo>
                  <a:lnTo>
                    <a:pt x="670" y="205"/>
                  </a:lnTo>
                  <a:lnTo>
                    <a:pt x="668" y="207"/>
                  </a:lnTo>
                  <a:lnTo>
                    <a:pt x="668" y="207"/>
                  </a:lnTo>
                  <a:lnTo>
                    <a:pt x="666" y="207"/>
                  </a:lnTo>
                  <a:lnTo>
                    <a:pt x="668" y="205"/>
                  </a:lnTo>
                  <a:lnTo>
                    <a:pt x="668" y="203"/>
                  </a:lnTo>
                  <a:lnTo>
                    <a:pt x="670" y="201"/>
                  </a:lnTo>
                  <a:lnTo>
                    <a:pt x="672" y="201"/>
                  </a:lnTo>
                  <a:lnTo>
                    <a:pt x="674" y="201"/>
                  </a:lnTo>
                  <a:lnTo>
                    <a:pt x="674" y="203"/>
                  </a:lnTo>
                  <a:lnTo>
                    <a:pt x="676" y="207"/>
                  </a:lnTo>
                  <a:lnTo>
                    <a:pt x="676" y="209"/>
                  </a:lnTo>
                  <a:lnTo>
                    <a:pt x="680" y="209"/>
                  </a:lnTo>
                  <a:lnTo>
                    <a:pt x="680" y="207"/>
                  </a:lnTo>
                  <a:lnTo>
                    <a:pt x="678" y="197"/>
                  </a:lnTo>
                  <a:lnTo>
                    <a:pt x="678" y="197"/>
                  </a:lnTo>
                  <a:lnTo>
                    <a:pt x="680" y="199"/>
                  </a:lnTo>
                  <a:lnTo>
                    <a:pt x="682" y="201"/>
                  </a:lnTo>
                  <a:lnTo>
                    <a:pt x="682" y="203"/>
                  </a:lnTo>
                  <a:lnTo>
                    <a:pt x="682" y="203"/>
                  </a:lnTo>
                  <a:lnTo>
                    <a:pt x="684" y="205"/>
                  </a:lnTo>
                  <a:lnTo>
                    <a:pt x="686" y="205"/>
                  </a:lnTo>
                  <a:lnTo>
                    <a:pt x="688" y="205"/>
                  </a:lnTo>
                  <a:lnTo>
                    <a:pt x="688" y="205"/>
                  </a:lnTo>
                  <a:lnTo>
                    <a:pt x="690" y="203"/>
                  </a:lnTo>
                  <a:lnTo>
                    <a:pt x="690" y="203"/>
                  </a:lnTo>
                  <a:lnTo>
                    <a:pt x="690" y="201"/>
                  </a:lnTo>
                  <a:lnTo>
                    <a:pt x="688" y="201"/>
                  </a:lnTo>
                  <a:lnTo>
                    <a:pt x="688" y="201"/>
                  </a:lnTo>
                  <a:lnTo>
                    <a:pt x="690" y="199"/>
                  </a:lnTo>
                  <a:lnTo>
                    <a:pt x="690" y="199"/>
                  </a:lnTo>
                  <a:lnTo>
                    <a:pt x="690" y="199"/>
                  </a:lnTo>
                  <a:lnTo>
                    <a:pt x="690" y="199"/>
                  </a:lnTo>
                  <a:lnTo>
                    <a:pt x="692" y="195"/>
                  </a:lnTo>
                  <a:lnTo>
                    <a:pt x="694" y="193"/>
                  </a:lnTo>
                  <a:lnTo>
                    <a:pt x="694" y="191"/>
                  </a:lnTo>
                  <a:lnTo>
                    <a:pt x="694" y="191"/>
                  </a:lnTo>
                  <a:lnTo>
                    <a:pt x="694" y="189"/>
                  </a:lnTo>
                  <a:lnTo>
                    <a:pt x="694" y="187"/>
                  </a:lnTo>
                  <a:lnTo>
                    <a:pt x="694" y="187"/>
                  </a:lnTo>
                  <a:lnTo>
                    <a:pt x="694" y="187"/>
                  </a:lnTo>
                  <a:lnTo>
                    <a:pt x="696" y="187"/>
                  </a:lnTo>
                  <a:lnTo>
                    <a:pt x="696" y="189"/>
                  </a:lnTo>
                  <a:lnTo>
                    <a:pt x="696" y="189"/>
                  </a:lnTo>
                  <a:lnTo>
                    <a:pt x="698" y="187"/>
                  </a:lnTo>
                  <a:lnTo>
                    <a:pt x="700" y="185"/>
                  </a:lnTo>
                  <a:lnTo>
                    <a:pt x="700" y="185"/>
                  </a:lnTo>
                  <a:lnTo>
                    <a:pt x="700" y="183"/>
                  </a:lnTo>
                  <a:lnTo>
                    <a:pt x="698" y="183"/>
                  </a:lnTo>
                  <a:lnTo>
                    <a:pt x="698" y="181"/>
                  </a:lnTo>
                  <a:lnTo>
                    <a:pt x="698" y="181"/>
                  </a:lnTo>
                  <a:lnTo>
                    <a:pt x="700" y="179"/>
                  </a:lnTo>
                  <a:lnTo>
                    <a:pt x="700" y="179"/>
                  </a:lnTo>
                  <a:lnTo>
                    <a:pt x="702" y="179"/>
                  </a:lnTo>
                  <a:lnTo>
                    <a:pt x="702" y="179"/>
                  </a:lnTo>
                  <a:lnTo>
                    <a:pt x="704" y="177"/>
                  </a:lnTo>
                  <a:lnTo>
                    <a:pt x="704" y="177"/>
                  </a:lnTo>
                  <a:lnTo>
                    <a:pt x="704" y="175"/>
                  </a:lnTo>
                  <a:lnTo>
                    <a:pt x="702" y="175"/>
                  </a:lnTo>
                  <a:lnTo>
                    <a:pt x="700" y="173"/>
                  </a:lnTo>
                  <a:lnTo>
                    <a:pt x="698" y="171"/>
                  </a:lnTo>
                  <a:lnTo>
                    <a:pt x="696" y="171"/>
                  </a:lnTo>
                  <a:lnTo>
                    <a:pt x="696" y="173"/>
                  </a:lnTo>
                  <a:lnTo>
                    <a:pt x="698" y="175"/>
                  </a:lnTo>
                  <a:lnTo>
                    <a:pt x="700" y="177"/>
                  </a:lnTo>
                  <a:lnTo>
                    <a:pt x="698" y="177"/>
                  </a:lnTo>
                  <a:lnTo>
                    <a:pt x="696" y="177"/>
                  </a:lnTo>
                  <a:lnTo>
                    <a:pt x="696" y="179"/>
                  </a:lnTo>
                  <a:lnTo>
                    <a:pt x="694" y="181"/>
                  </a:lnTo>
                  <a:lnTo>
                    <a:pt x="694" y="181"/>
                  </a:lnTo>
                  <a:lnTo>
                    <a:pt x="690" y="181"/>
                  </a:lnTo>
                  <a:lnTo>
                    <a:pt x="688" y="183"/>
                  </a:lnTo>
                  <a:lnTo>
                    <a:pt x="688" y="183"/>
                  </a:lnTo>
                  <a:lnTo>
                    <a:pt x="688" y="181"/>
                  </a:lnTo>
                  <a:lnTo>
                    <a:pt x="688" y="181"/>
                  </a:lnTo>
                  <a:lnTo>
                    <a:pt x="688" y="181"/>
                  </a:lnTo>
                  <a:lnTo>
                    <a:pt x="688" y="179"/>
                  </a:lnTo>
                  <a:lnTo>
                    <a:pt x="688" y="179"/>
                  </a:lnTo>
                  <a:lnTo>
                    <a:pt x="688" y="179"/>
                  </a:lnTo>
                  <a:lnTo>
                    <a:pt x="690" y="177"/>
                  </a:lnTo>
                  <a:lnTo>
                    <a:pt x="692" y="177"/>
                  </a:lnTo>
                  <a:lnTo>
                    <a:pt x="690" y="175"/>
                  </a:lnTo>
                  <a:lnTo>
                    <a:pt x="688" y="173"/>
                  </a:lnTo>
                  <a:lnTo>
                    <a:pt x="688" y="173"/>
                  </a:lnTo>
                  <a:lnTo>
                    <a:pt x="688" y="171"/>
                  </a:lnTo>
                  <a:lnTo>
                    <a:pt x="688" y="171"/>
                  </a:lnTo>
                  <a:lnTo>
                    <a:pt x="688" y="171"/>
                  </a:lnTo>
                  <a:lnTo>
                    <a:pt x="686" y="168"/>
                  </a:lnTo>
                  <a:lnTo>
                    <a:pt x="686" y="168"/>
                  </a:lnTo>
                  <a:lnTo>
                    <a:pt x="686" y="168"/>
                  </a:lnTo>
                  <a:lnTo>
                    <a:pt x="686" y="171"/>
                  </a:lnTo>
                  <a:lnTo>
                    <a:pt x="684" y="173"/>
                  </a:lnTo>
                  <a:lnTo>
                    <a:pt x="684" y="173"/>
                  </a:lnTo>
                  <a:lnTo>
                    <a:pt x="684" y="175"/>
                  </a:lnTo>
                  <a:lnTo>
                    <a:pt x="686" y="177"/>
                  </a:lnTo>
                  <a:lnTo>
                    <a:pt x="686" y="177"/>
                  </a:lnTo>
                  <a:lnTo>
                    <a:pt x="686" y="179"/>
                  </a:lnTo>
                  <a:lnTo>
                    <a:pt x="684" y="177"/>
                  </a:lnTo>
                  <a:lnTo>
                    <a:pt x="682" y="177"/>
                  </a:lnTo>
                  <a:lnTo>
                    <a:pt x="680" y="177"/>
                  </a:lnTo>
                  <a:lnTo>
                    <a:pt x="680" y="177"/>
                  </a:lnTo>
                  <a:lnTo>
                    <a:pt x="678" y="179"/>
                  </a:lnTo>
                  <a:lnTo>
                    <a:pt x="678" y="181"/>
                  </a:lnTo>
                  <a:lnTo>
                    <a:pt x="682" y="183"/>
                  </a:lnTo>
                  <a:lnTo>
                    <a:pt x="682" y="185"/>
                  </a:lnTo>
                  <a:lnTo>
                    <a:pt x="680" y="185"/>
                  </a:lnTo>
                  <a:lnTo>
                    <a:pt x="678" y="183"/>
                  </a:lnTo>
                  <a:lnTo>
                    <a:pt x="676" y="183"/>
                  </a:lnTo>
                  <a:lnTo>
                    <a:pt x="676" y="183"/>
                  </a:lnTo>
                  <a:lnTo>
                    <a:pt x="676" y="181"/>
                  </a:lnTo>
                  <a:lnTo>
                    <a:pt x="674" y="181"/>
                  </a:lnTo>
                  <a:lnTo>
                    <a:pt x="674" y="181"/>
                  </a:lnTo>
                  <a:lnTo>
                    <a:pt x="674" y="181"/>
                  </a:lnTo>
                  <a:lnTo>
                    <a:pt x="672" y="181"/>
                  </a:lnTo>
                  <a:lnTo>
                    <a:pt x="670" y="183"/>
                  </a:lnTo>
                  <a:lnTo>
                    <a:pt x="670" y="185"/>
                  </a:lnTo>
                  <a:lnTo>
                    <a:pt x="668" y="187"/>
                  </a:lnTo>
                  <a:lnTo>
                    <a:pt x="668" y="187"/>
                  </a:lnTo>
                  <a:lnTo>
                    <a:pt x="666" y="189"/>
                  </a:lnTo>
                  <a:lnTo>
                    <a:pt x="663" y="191"/>
                  </a:lnTo>
                  <a:lnTo>
                    <a:pt x="663" y="191"/>
                  </a:lnTo>
                  <a:lnTo>
                    <a:pt x="663" y="191"/>
                  </a:lnTo>
                  <a:lnTo>
                    <a:pt x="663" y="191"/>
                  </a:lnTo>
                  <a:lnTo>
                    <a:pt x="661" y="189"/>
                  </a:lnTo>
                  <a:lnTo>
                    <a:pt x="659" y="189"/>
                  </a:lnTo>
                  <a:lnTo>
                    <a:pt x="653" y="187"/>
                  </a:lnTo>
                  <a:lnTo>
                    <a:pt x="649" y="187"/>
                  </a:lnTo>
                  <a:lnTo>
                    <a:pt x="647" y="187"/>
                  </a:lnTo>
                  <a:lnTo>
                    <a:pt x="643" y="183"/>
                  </a:lnTo>
                  <a:lnTo>
                    <a:pt x="639" y="179"/>
                  </a:lnTo>
                  <a:lnTo>
                    <a:pt x="637" y="177"/>
                  </a:lnTo>
                  <a:lnTo>
                    <a:pt x="635" y="177"/>
                  </a:lnTo>
                  <a:lnTo>
                    <a:pt x="635" y="177"/>
                  </a:lnTo>
                  <a:lnTo>
                    <a:pt x="631" y="171"/>
                  </a:lnTo>
                  <a:lnTo>
                    <a:pt x="633" y="171"/>
                  </a:lnTo>
                  <a:lnTo>
                    <a:pt x="639" y="177"/>
                  </a:lnTo>
                  <a:lnTo>
                    <a:pt x="643" y="177"/>
                  </a:lnTo>
                  <a:lnTo>
                    <a:pt x="643" y="177"/>
                  </a:lnTo>
                  <a:lnTo>
                    <a:pt x="649" y="181"/>
                  </a:lnTo>
                  <a:lnTo>
                    <a:pt x="651" y="183"/>
                  </a:lnTo>
                  <a:lnTo>
                    <a:pt x="655" y="183"/>
                  </a:lnTo>
                  <a:lnTo>
                    <a:pt x="657" y="183"/>
                  </a:lnTo>
                  <a:lnTo>
                    <a:pt x="661" y="183"/>
                  </a:lnTo>
                  <a:lnTo>
                    <a:pt x="663" y="181"/>
                  </a:lnTo>
                  <a:lnTo>
                    <a:pt x="666" y="179"/>
                  </a:lnTo>
                  <a:lnTo>
                    <a:pt x="668" y="177"/>
                  </a:lnTo>
                  <a:lnTo>
                    <a:pt x="670" y="173"/>
                  </a:lnTo>
                  <a:lnTo>
                    <a:pt x="672" y="171"/>
                  </a:lnTo>
                  <a:lnTo>
                    <a:pt x="672" y="168"/>
                  </a:lnTo>
                  <a:lnTo>
                    <a:pt x="674" y="166"/>
                  </a:lnTo>
                  <a:lnTo>
                    <a:pt x="676" y="164"/>
                  </a:lnTo>
                  <a:lnTo>
                    <a:pt x="676" y="162"/>
                  </a:lnTo>
                  <a:lnTo>
                    <a:pt x="674" y="158"/>
                  </a:lnTo>
                  <a:lnTo>
                    <a:pt x="672" y="160"/>
                  </a:lnTo>
                  <a:lnTo>
                    <a:pt x="672" y="160"/>
                  </a:lnTo>
                  <a:lnTo>
                    <a:pt x="674" y="160"/>
                  </a:lnTo>
                  <a:lnTo>
                    <a:pt x="674" y="160"/>
                  </a:lnTo>
                  <a:lnTo>
                    <a:pt x="674" y="160"/>
                  </a:lnTo>
                  <a:lnTo>
                    <a:pt x="674" y="162"/>
                  </a:lnTo>
                  <a:lnTo>
                    <a:pt x="672" y="162"/>
                  </a:lnTo>
                  <a:lnTo>
                    <a:pt x="672" y="162"/>
                  </a:lnTo>
                  <a:lnTo>
                    <a:pt x="670" y="162"/>
                  </a:lnTo>
                  <a:lnTo>
                    <a:pt x="666" y="162"/>
                  </a:lnTo>
                  <a:lnTo>
                    <a:pt x="666" y="162"/>
                  </a:lnTo>
                  <a:lnTo>
                    <a:pt x="666" y="160"/>
                  </a:lnTo>
                  <a:lnTo>
                    <a:pt x="668" y="160"/>
                  </a:lnTo>
                  <a:lnTo>
                    <a:pt x="668" y="158"/>
                  </a:lnTo>
                  <a:lnTo>
                    <a:pt x="670" y="158"/>
                  </a:lnTo>
                  <a:lnTo>
                    <a:pt x="670" y="158"/>
                  </a:lnTo>
                  <a:lnTo>
                    <a:pt x="670" y="156"/>
                  </a:lnTo>
                  <a:lnTo>
                    <a:pt x="672" y="156"/>
                  </a:lnTo>
                  <a:lnTo>
                    <a:pt x="674" y="156"/>
                  </a:lnTo>
                  <a:lnTo>
                    <a:pt x="676" y="156"/>
                  </a:lnTo>
                  <a:lnTo>
                    <a:pt x="676" y="156"/>
                  </a:lnTo>
                  <a:lnTo>
                    <a:pt x="678" y="154"/>
                  </a:lnTo>
                  <a:lnTo>
                    <a:pt x="676" y="154"/>
                  </a:lnTo>
                  <a:lnTo>
                    <a:pt x="676" y="154"/>
                  </a:lnTo>
                  <a:lnTo>
                    <a:pt x="674" y="152"/>
                  </a:lnTo>
                  <a:lnTo>
                    <a:pt x="674" y="152"/>
                  </a:lnTo>
                  <a:lnTo>
                    <a:pt x="678" y="152"/>
                  </a:lnTo>
                  <a:lnTo>
                    <a:pt x="680" y="152"/>
                  </a:lnTo>
                  <a:lnTo>
                    <a:pt x="680" y="150"/>
                  </a:lnTo>
                  <a:lnTo>
                    <a:pt x="680" y="150"/>
                  </a:lnTo>
                  <a:lnTo>
                    <a:pt x="680" y="148"/>
                  </a:lnTo>
                  <a:lnTo>
                    <a:pt x="680" y="146"/>
                  </a:lnTo>
                  <a:lnTo>
                    <a:pt x="678" y="146"/>
                  </a:lnTo>
                  <a:lnTo>
                    <a:pt x="678" y="144"/>
                  </a:lnTo>
                  <a:lnTo>
                    <a:pt x="678" y="144"/>
                  </a:lnTo>
                  <a:lnTo>
                    <a:pt x="676" y="144"/>
                  </a:lnTo>
                  <a:lnTo>
                    <a:pt x="666" y="144"/>
                  </a:lnTo>
                  <a:lnTo>
                    <a:pt x="659" y="142"/>
                  </a:lnTo>
                  <a:lnTo>
                    <a:pt x="653" y="140"/>
                  </a:lnTo>
                  <a:lnTo>
                    <a:pt x="647" y="140"/>
                  </a:lnTo>
                  <a:lnTo>
                    <a:pt x="645" y="140"/>
                  </a:lnTo>
                  <a:lnTo>
                    <a:pt x="643" y="138"/>
                  </a:lnTo>
                  <a:lnTo>
                    <a:pt x="639" y="138"/>
                  </a:lnTo>
                  <a:lnTo>
                    <a:pt x="635" y="138"/>
                  </a:lnTo>
                  <a:lnTo>
                    <a:pt x="633" y="140"/>
                  </a:lnTo>
                  <a:lnTo>
                    <a:pt x="631" y="136"/>
                  </a:lnTo>
                  <a:lnTo>
                    <a:pt x="631" y="136"/>
                  </a:lnTo>
                  <a:lnTo>
                    <a:pt x="629" y="134"/>
                  </a:lnTo>
                  <a:lnTo>
                    <a:pt x="627" y="134"/>
                  </a:lnTo>
                  <a:lnTo>
                    <a:pt x="627" y="134"/>
                  </a:lnTo>
                  <a:lnTo>
                    <a:pt x="625" y="130"/>
                  </a:lnTo>
                  <a:lnTo>
                    <a:pt x="629" y="132"/>
                  </a:lnTo>
                  <a:lnTo>
                    <a:pt x="631" y="134"/>
                  </a:lnTo>
                  <a:lnTo>
                    <a:pt x="635" y="134"/>
                  </a:lnTo>
                  <a:lnTo>
                    <a:pt x="639" y="136"/>
                  </a:lnTo>
                  <a:lnTo>
                    <a:pt x="641" y="136"/>
                  </a:lnTo>
                  <a:lnTo>
                    <a:pt x="645" y="134"/>
                  </a:lnTo>
                  <a:lnTo>
                    <a:pt x="647" y="136"/>
                  </a:lnTo>
                  <a:lnTo>
                    <a:pt x="649" y="136"/>
                  </a:lnTo>
                  <a:lnTo>
                    <a:pt x="651" y="138"/>
                  </a:lnTo>
                  <a:lnTo>
                    <a:pt x="657" y="136"/>
                  </a:lnTo>
                  <a:lnTo>
                    <a:pt x="659" y="136"/>
                  </a:lnTo>
                  <a:lnTo>
                    <a:pt x="659" y="134"/>
                  </a:lnTo>
                  <a:lnTo>
                    <a:pt x="659" y="134"/>
                  </a:lnTo>
                  <a:lnTo>
                    <a:pt x="659" y="134"/>
                  </a:lnTo>
                  <a:lnTo>
                    <a:pt x="661" y="134"/>
                  </a:lnTo>
                  <a:lnTo>
                    <a:pt x="661" y="136"/>
                  </a:lnTo>
                  <a:lnTo>
                    <a:pt x="663" y="136"/>
                  </a:lnTo>
                  <a:lnTo>
                    <a:pt x="666" y="136"/>
                  </a:lnTo>
                  <a:lnTo>
                    <a:pt x="668" y="136"/>
                  </a:lnTo>
                  <a:lnTo>
                    <a:pt x="668" y="134"/>
                  </a:lnTo>
                  <a:lnTo>
                    <a:pt x="668" y="134"/>
                  </a:lnTo>
                  <a:lnTo>
                    <a:pt x="666" y="134"/>
                  </a:lnTo>
                  <a:lnTo>
                    <a:pt x="666" y="134"/>
                  </a:lnTo>
                  <a:lnTo>
                    <a:pt x="666" y="134"/>
                  </a:lnTo>
                  <a:lnTo>
                    <a:pt x="666" y="134"/>
                  </a:lnTo>
                  <a:lnTo>
                    <a:pt x="666" y="132"/>
                  </a:lnTo>
                  <a:lnTo>
                    <a:pt x="666" y="132"/>
                  </a:lnTo>
                  <a:lnTo>
                    <a:pt x="666" y="132"/>
                  </a:lnTo>
                  <a:lnTo>
                    <a:pt x="666" y="132"/>
                  </a:lnTo>
                  <a:lnTo>
                    <a:pt x="663" y="132"/>
                  </a:lnTo>
                  <a:lnTo>
                    <a:pt x="663" y="130"/>
                  </a:lnTo>
                  <a:lnTo>
                    <a:pt x="663" y="130"/>
                  </a:lnTo>
                  <a:lnTo>
                    <a:pt x="663" y="128"/>
                  </a:lnTo>
                  <a:lnTo>
                    <a:pt x="663" y="125"/>
                  </a:lnTo>
                  <a:lnTo>
                    <a:pt x="661" y="125"/>
                  </a:lnTo>
                  <a:lnTo>
                    <a:pt x="661" y="123"/>
                  </a:lnTo>
                  <a:lnTo>
                    <a:pt x="659" y="123"/>
                  </a:lnTo>
                  <a:lnTo>
                    <a:pt x="661" y="121"/>
                  </a:lnTo>
                  <a:lnTo>
                    <a:pt x="663" y="119"/>
                  </a:lnTo>
                  <a:lnTo>
                    <a:pt x="666" y="119"/>
                  </a:lnTo>
                  <a:lnTo>
                    <a:pt x="670" y="119"/>
                  </a:lnTo>
                  <a:lnTo>
                    <a:pt x="672" y="119"/>
                  </a:lnTo>
                  <a:lnTo>
                    <a:pt x="674" y="119"/>
                  </a:lnTo>
                  <a:lnTo>
                    <a:pt x="674" y="121"/>
                  </a:lnTo>
                  <a:lnTo>
                    <a:pt x="674" y="123"/>
                  </a:lnTo>
                  <a:lnTo>
                    <a:pt x="668" y="123"/>
                  </a:lnTo>
                  <a:lnTo>
                    <a:pt x="666" y="123"/>
                  </a:lnTo>
                  <a:lnTo>
                    <a:pt x="666" y="125"/>
                  </a:lnTo>
                  <a:lnTo>
                    <a:pt x="668" y="128"/>
                  </a:lnTo>
                  <a:lnTo>
                    <a:pt x="670" y="128"/>
                  </a:lnTo>
                  <a:lnTo>
                    <a:pt x="670" y="128"/>
                  </a:lnTo>
                  <a:lnTo>
                    <a:pt x="668" y="130"/>
                  </a:lnTo>
                  <a:lnTo>
                    <a:pt x="670" y="130"/>
                  </a:lnTo>
                  <a:lnTo>
                    <a:pt x="674" y="132"/>
                  </a:lnTo>
                  <a:lnTo>
                    <a:pt x="674" y="132"/>
                  </a:lnTo>
                  <a:lnTo>
                    <a:pt x="674" y="132"/>
                  </a:lnTo>
                  <a:lnTo>
                    <a:pt x="674" y="132"/>
                  </a:lnTo>
                  <a:lnTo>
                    <a:pt x="672" y="134"/>
                  </a:lnTo>
                  <a:lnTo>
                    <a:pt x="674" y="134"/>
                  </a:lnTo>
                  <a:lnTo>
                    <a:pt x="676" y="136"/>
                  </a:lnTo>
                  <a:lnTo>
                    <a:pt x="678" y="136"/>
                  </a:lnTo>
                  <a:lnTo>
                    <a:pt x="678" y="136"/>
                  </a:lnTo>
                  <a:lnTo>
                    <a:pt x="678" y="136"/>
                  </a:lnTo>
                  <a:lnTo>
                    <a:pt x="678" y="134"/>
                  </a:lnTo>
                  <a:lnTo>
                    <a:pt x="676" y="134"/>
                  </a:lnTo>
                  <a:lnTo>
                    <a:pt x="676" y="134"/>
                  </a:lnTo>
                  <a:lnTo>
                    <a:pt x="678" y="132"/>
                  </a:lnTo>
                  <a:lnTo>
                    <a:pt x="678" y="132"/>
                  </a:lnTo>
                  <a:lnTo>
                    <a:pt x="680" y="134"/>
                  </a:lnTo>
                  <a:lnTo>
                    <a:pt x="680" y="130"/>
                  </a:lnTo>
                  <a:lnTo>
                    <a:pt x="680" y="128"/>
                  </a:lnTo>
                  <a:lnTo>
                    <a:pt x="680" y="125"/>
                  </a:lnTo>
                  <a:lnTo>
                    <a:pt x="682" y="125"/>
                  </a:lnTo>
                  <a:lnTo>
                    <a:pt x="684" y="128"/>
                  </a:lnTo>
                  <a:lnTo>
                    <a:pt x="684" y="132"/>
                  </a:lnTo>
                  <a:lnTo>
                    <a:pt x="684" y="134"/>
                  </a:lnTo>
                  <a:lnTo>
                    <a:pt x="686" y="134"/>
                  </a:lnTo>
                  <a:lnTo>
                    <a:pt x="686" y="134"/>
                  </a:lnTo>
                  <a:lnTo>
                    <a:pt x="682" y="136"/>
                  </a:lnTo>
                  <a:lnTo>
                    <a:pt x="682" y="136"/>
                  </a:lnTo>
                  <a:lnTo>
                    <a:pt x="684" y="136"/>
                  </a:lnTo>
                  <a:lnTo>
                    <a:pt x="684" y="136"/>
                  </a:lnTo>
                  <a:lnTo>
                    <a:pt x="684" y="136"/>
                  </a:lnTo>
                  <a:lnTo>
                    <a:pt x="686" y="138"/>
                  </a:lnTo>
                  <a:lnTo>
                    <a:pt x="686" y="138"/>
                  </a:lnTo>
                  <a:lnTo>
                    <a:pt x="688" y="138"/>
                  </a:lnTo>
                  <a:lnTo>
                    <a:pt x="688" y="136"/>
                  </a:lnTo>
                  <a:lnTo>
                    <a:pt x="688" y="134"/>
                  </a:lnTo>
                  <a:lnTo>
                    <a:pt x="686" y="134"/>
                  </a:lnTo>
                  <a:lnTo>
                    <a:pt x="686" y="134"/>
                  </a:lnTo>
                  <a:lnTo>
                    <a:pt x="686" y="132"/>
                  </a:lnTo>
                  <a:lnTo>
                    <a:pt x="686" y="130"/>
                  </a:lnTo>
                  <a:lnTo>
                    <a:pt x="688" y="132"/>
                  </a:lnTo>
                  <a:lnTo>
                    <a:pt x="690" y="132"/>
                  </a:lnTo>
                  <a:lnTo>
                    <a:pt x="692" y="134"/>
                  </a:lnTo>
                  <a:lnTo>
                    <a:pt x="694" y="136"/>
                  </a:lnTo>
                  <a:lnTo>
                    <a:pt x="696" y="136"/>
                  </a:lnTo>
                  <a:lnTo>
                    <a:pt x="696" y="134"/>
                  </a:lnTo>
                  <a:lnTo>
                    <a:pt x="696" y="134"/>
                  </a:lnTo>
                  <a:lnTo>
                    <a:pt x="696" y="132"/>
                  </a:lnTo>
                  <a:lnTo>
                    <a:pt x="696" y="132"/>
                  </a:lnTo>
                  <a:lnTo>
                    <a:pt x="698" y="134"/>
                  </a:lnTo>
                  <a:lnTo>
                    <a:pt x="700" y="134"/>
                  </a:lnTo>
                  <a:lnTo>
                    <a:pt x="707" y="134"/>
                  </a:lnTo>
                  <a:lnTo>
                    <a:pt x="707" y="134"/>
                  </a:lnTo>
                  <a:lnTo>
                    <a:pt x="707" y="132"/>
                  </a:lnTo>
                  <a:lnTo>
                    <a:pt x="709" y="130"/>
                  </a:lnTo>
                  <a:lnTo>
                    <a:pt x="711" y="128"/>
                  </a:lnTo>
                  <a:lnTo>
                    <a:pt x="713" y="128"/>
                  </a:lnTo>
                  <a:lnTo>
                    <a:pt x="713" y="128"/>
                  </a:lnTo>
                  <a:lnTo>
                    <a:pt x="711" y="125"/>
                  </a:lnTo>
                  <a:lnTo>
                    <a:pt x="711" y="123"/>
                  </a:lnTo>
                  <a:lnTo>
                    <a:pt x="713" y="121"/>
                  </a:lnTo>
                  <a:lnTo>
                    <a:pt x="715" y="121"/>
                  </a:lnTo>
                  <a:lnTo>
                    <a:pt x="713" y="123"/>
                  </a:lnTo>
                  <a:lnTo>
                    <a:pt x="715" y="123"/>
                  </a:lnTo>
                  <a:lnTo>
                    <a:pt x="715" y="123"/>
                  </a:lnTo>
                  <a:lnTo>
                    <a:pt x="715" y="123"/>
                  </a:lnTo>
                  <a:lnTo>
                    <a:pt x="715" y="121"/>
                  </a:lnTo>
                  <a:lnTo>
                    <a:pt x="715" y="119"/>
                  </a:lnTo>
                  <a:lnTo>
                    <a:pt x="717" y="119"/>
                  </a:lnTo>
                  <a:lnTo>
                    <a:pt x="717" y="117"/>
                  </a:lnTo>
                  <a:lnTo>
                    <a:pt x="715" y="117"/>
                  </a:lnTo>
                  <a:lnTo>
                    <a:pt x="717" y="115"/>
                  </a:lnTo>
                  <a:lnTo>
                    <a:pt x="717" y="115"/>
                  </a:lnTo>
                  <a:lnTo>
                    <a:pt x="719" y="115"/>
                  </a:lnTo>
                  <a:lnTo>
                    <a:pt x="719" y="113"/>
                  </a:lnTo>
                  <a:lnTo>
                    <a:pt x="717" y="113"/>
                  </a:lnTo>
                  <a:lnTo>
                    <a:pt x="717" y="113"/>
                  </a:lnTo>
                  <a:lnTo>
                    <a:pt x="717" y="111"/>
                  </a:lnTo>
                  <a:lnTo>
                    <a:pt x="717" y="111"/>
                  </a:lnTo>
                  <a:lnTo>
                    <a:pt x="719" y="111"/>
                  </a:lnTo>
                  <a:lnTo>
                    <a:pt x="719" y="111"/>
                  </a:lnTo>
                  <a:lnTo>
                    <a:pt x="723" y="105"/>
                  </a:lnTo>
                  <a:lnTo>
                    <a:pt x="723" y="103"/>
                  </a:lnTo>
                  <a:lnTo>
                    <a:pt x="723" y="101"/>
                  </a:lnTo>
                  <a:lnTo>
                    <a:pt x="721" y="99"/>
                  </a:lnTo>
                  <a:lnTo>
                    <a:pt x="723" y="97"/>
                  </a:lnTo>
                  <a:lnTo>
                    <a:pt x="723" y="101"/>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NC</a:t>
              </a:r>
            </a:p>
          </p:txBody>
        </p:sp>
        <p:sp>
          <p:nvSpPr>
            <p:cNvPr id="88" name="Freeform 29">
              <a:extLst>
                <a:ext uri="{FF2B5EF4-FFF2-40B4-BE49-F238E27FC236}">
                  <a16:creationId xmlns:a16="http://schemas.microsoft.com/office/drawing/2014/main" id="{C1EC1900-1DA6-B554-1224-FB293E7E43AF}"/>
                </a:ext>
              </a:extLst>
            </p:cNvPr>
            <p:cNvSpPr>
              <a:spLocks/>
            </p:cNvSpPr>
            <p:nvPr/>
          </p:nvSpPr>
          <p:spPr bwMode="auto">
            <a:xfrm>
              <a:off x="1507" y="92"/>
              <a:ext cx="915" cy="511"/>
            </a:xfrm>
            <a:custGeom>
              <a:avLst/>
              <a:gdLst>
                <a:gd name="T0" fmla="*/ 874 w 915"/>
                <a:gd name="T1" fmla="*/ 494 h 511"/>
                <a:gd name="T2" fmla="*/ 745 w 915"/>
                <a:gd name="T3" fmla="*/ 488 h 511"/>
                <a:gd name="T4" fmla="*/ 616 w 915"/>
                <a:gd name="T5" fmla="*/ 480 h 511"/>
                <a:gd name="T6" fmla="*/ 487 w 915"/>
                <a:gd name="T7" fmla="*/ 470 h 511"/>
                <a:gd name="T8" fmla="*/ 360 w 915"/>
                <a:gd name="T9" fmla="*/ 459 h 511"/>
                <a:gd name="T10" fmla="*/ 342 w 915"/>
                <a:gd name="T11" fmla="*/ 496 h 511"/>
                <a:gd name="T12" fmla="*/ 330 w 915"/>
                <a:gd name="T13" fmla="*/ 498 h 511"/>
                <a:gd name="T14" fmla="*/ 319 w 915"/>
                <a:gd name="T15" fmla="*/ 480 h 511"/>
                <a:gd name="T16" fmla="*/ 311 w 915"/>
                <a:gd name="T17" fmla="*/ 486 h 511"/>
                <a:gd name="T18" fmla="*/ 307 w 915"/>
                <a:gd name="T19" fmla="*/ 496 h 511"/>
                <a:gd name="T20" fmla="*/ 307 w 915"/>
                <a:gd name="T21" fmla="*/ 500 h 511"/>
                <a:gd name="T22" fmla="*/ 280 w 915"/>
                <a:gd name="T23" fmla="*/ 500 h 511"/>
                <a:gd name="T24" fmla="*/ 260 w 915"/>
                <a:gd name="T25" fmla="*/ 496 h 511"/>
                <a:gd name="T26" fmla="*/ 244 w 915"/>
                <a:gd name="T27" fmla="*/ 494 h 511"/>
                <a:gd name="T28" fmla="*/ 233 w 915"/>
                <a:gd name="T29" fmla="*/ 500 h 511"/>
                <a:gd name="T30" fmla="*/ 207 w 915"/>
                <a:gd name="T31" fmla="*/ 496 h 511"/>
                <a:gd name="T32" fmla="*/ 196 w 915"/>
                <a:gd name="T33" fmla="*/ 504 h 511"/>
                <a:gd name="T34" fmla="*/ 186 w 915"/>
                <a:gd name="T35" fmla="*/ 492 h 511"/>
                <a:gd name="T36" fmla="*/ 184 w 915"/>
                <a:gd name="T37" fmla="*/ 480 h 511"/>
                <a:gd name="T38" fmla="*/ 184 w 915"/>
                <a:gd name="T39" fmla="*/ 472 h 511"/>
                <a:gd name="T40" fmla="*/ 176 w 915"/>
                <a:gd name="T41" fmla="*/ 457 h 511"/>
                <a:gd name="T42" fmla="*/ 164 w 915"/>
                <a:gd name="T43" fmla="*/ 455 h 511"/>
                <a:gd name="T44" fmla="*/ 158 w 915"/>
                <a:gd name="T45" fmla="*/ 441 h 511"/>
                <a:gd name="T46" fmla="*/ 155 w 915"/>
                <a:gd name="T47" fmla="*/ 422 h 511"/>
                <a:gd name="T48" fmla="*/ 149 w 915"/>
                <a:gd name="T49" fmla="*/ 412 h 511"/>
                <a:gd name="T50" fmla="*/ 141 w 915"/>
                <a:gd name="T51" fmla="*/ 400 h 511"/>
                <a:gd name="T52" fmla="*/ 141 w 915"/>
                <a:gd name="T53" fmla="*/ 386 h 511"/>
                <a:gd name="T54" fmla="*/ 139 w 915"/>
                <a:gd name="T55" fmla="*/ 373 h 511"/>
                <a:gd name="T56" fmla="*/ 127 w 915"/>
                <a:gd name="T57" fmla="*/ 359 h 511"/>
                <a:gd name="T58" fmla="*/ 121 w 915"/>
                <a:gd name="T59" fmla="*/ 363 h 511"/>
                <a:gd name="T60" fmla="*/ 115 w 915"/>
                <a:gd name="T61" fmla="*/ 371 h 511"/>
                <a:gd name="T62" fmla="*/ 102 w 915"/>
                <a:gd name="T63" fmla="*/ 377 h 511"/>
                <a:gd name="T64" fmla="*/ 90 w 915"/>
                <a:gd name="T65" fmla="*/ 371 h 511"/>
                <a:gd name="T66" fmla="*/ 82 w 915"/>
                <a:gd name="T67" fmla="*/ 361 h 511"/>
                <a:gd name="T68" fmla="*/ 84 w 915"/>
                <a:gd name="T69" fmla="*/ 349 h 511"/>
                <a:gd name="T70" fmla="*/ 88 w 915"/>
                <a:gd name="T71" fmla="*/ 338 h 511"/>
                <a:gd name="T72" fmla="*/ 96 w 915"/>
                <a:gd name="T73" fmla="*/ 330 h 511"/>
                <a:gd name="T74" fmla="*/ 92 w 915"/>
                <a:gd name="T75" fmla="*/ 320 h 511"/>
                <a:gd name="T76" fmla="*/ 92 w 915"/>
                <a:gd name="T77" fmla="*/ 306 h 511"/>
                <a:gd name="T78" fmla="*/ 98 w 915"/>
                <a:gd name="T79" fmla="*/ 299 h 511"/>
                <a:gd name="T80" fmla="*/ 102 w 915"/>
                <a:gd name="T81" fmla="*/ 287 h 511"/>
                <a:gd name="T82" fmla="*/ 106 w 915"/>
                <a:gd name="T83" fmla="*/ 275 h 511"/>
                <a:gd name="T84" fmla="*/ 108 w 915"/>
                <a:gd name="T85" fmla="*/ 269 h 511"/>
                <a:gd name="T86" fmla="*/ 112 w 915"/>
                <a:gd name="T87" fmla="*/ 256 h 511"/>
                <a:gd name="T88" fmla="*/ 98 w 915"/>
                <a:gd name="T89" fmla="*/ 254 h 511"/>
                <a:gd name="T90" fmla="*/ 90 w 915"/>
                <a:gd name="T91" fmla="*/ 248 h 511"/>
                <a:gd name="T92" fmla="*/ 80 w 915"/>
                <a:gd name="T93" fmla="*/ 246 h 511"/>
                <a:gd name="T94" fmla="*/ 72 w 915"/>
                <a:gd name="T95" fmla="*/ 234 h 511"/>
                <a:gd name="T96" fmla="*/ 67 w 915"/>
                <a:gd name="T97" fmla="*/ 220 h 511"/>
                <a:gd name="T98" fmla="*/ 51 w 915"/>
                <a:gd name="T99" fmla="*/ 197 h 511"/>
                <a:gd name="T100" fmla="*/ 43 w 915"/>
                <a:gd name="T101" fmla="*/ 185 h 511"/>
                <a:gd name="T102" fmla="*/ 16 w 915"/>
                <a:gd name="T103" fmla="*/ 162 h 511"/>
                <a:gd name="T104" fmla="*/ 22 w 915"/>
                <a:gd name="T105" fmla="*/ 158 h 511"/>
                <a:gd name="T106" fmla="*/ 20 w 915"/>
                <a:gd name="T107" fmla="*/ 148 h 511"/>
                <a:gd name="T108" fmla="*/ 16 w 915"/>
                <a:gd name="T109" fmla="*/ 129 h 511"/>
                <a:gd name="T110" fmla="*/ 6 w 915"/>
                <a:gd name="T111" fmla="*/ 113 h 511"/>
                <a:gd name="T112" fmla="*/ 10 w 915"/>
                <a:gd name="T113" fmla="*/ 25 h 511"/>
                <a:gd name="T114" fmla="*/ 211 w 915"/>
                <a:gd name="T115" fmla="*/ 27 h 511"/>
                <a:gd name="T116" fmla="*/ 457 w 915"/>
                <a:gd name="T117" fmla="*/ 54 h 511"/>
                <a:gd name="T118" fmla="*/ 688 w 915"/>
                <a:gd name="T119" fmla="*/ 72 h 511"/>
                <a:gd name="T120" fmla="*/ 915 w 915"/>
                <a:gd name="T121" fmla="*/ 103 h 511"/>
                <a:gd name="T122" fmla="*/ 905 w 915"/>
                <a:gd name="T123" fmla="*/ 398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5" h="511">
                  <a:moveTo>
                    <a:pt x="905" y="398"/>
                  </a:moveTo>
                  <a:lnTo>
                    <a:pt x="905" y="408"/>
                  </a:lnTo>
                  <a:lnTo>
                    <a:pt x="905" y="420"/>
                  </a:lnTo>
                  <a:lnTo>
                    <a:pt x="905" y="431"/>
                  </a:lnTo>
                  <a:lnTo>
                    <a:pt x="905" y="443"/>
                  </a:lnTo>
                  <a:lnTo>
                    <a:pt x="903" y="453"/>
                  </a:lnTo>
                  <a:lnTo>
                    <a:pt x="903" y="465"/>
                  </a:lnTo>
                  <a:lnTo>
                    <a:pt x="903" y="476"/>
                  </a:lnTo>
                  <a:lnTo>
                    <a:pt x="903" y="488"/>
                  </a:lnTo>
                  <a:lnTo>
                    <a:pt x="903" y="494"/>
                  </a:lnTo>
                  <a:lnTo>
                    <a:pt x="903" y="496"/>
                  </a:lnTo>
                  <a:lnTo>
                    <a:pt x="899" y="494"/>
                  </a:lnTo>
                  <a:lnTo>
                    <a:pt x="891" y="494"/>
                  </a:lnTo>
                  <a:lnTo>
                    <a:pt x="883" y="494"/>
                  </a:lnTo>
                  <a:lnTo>
                    <a:pt x="874" y="494"/>
                  </a:lnTo>
                  <a:lnTo>
                    <a:pt x="866" y="494"/>
                  </a:lnTo>
                  <a:lnTo>
                    <a:pt x="856" y="494"/>
                  </a:lnTo>
                  <a:lnTo>
                    <a:pt x="848" y="492"/>
                  </a:lnTo>
                  <a:lnTo>
                    <a:pt x="840" y="492"/>
                  </a:lnTo>
                  <a:lnTo>
                    <a:pt x="831" y="492"/>
                  </a:lnTo>
                  <a:lnTo>
                    <a:pt x="823" y="492"/>
                  </a:lnTo>
                  <a:lnTo>
                    <a:pt x="815" y="492"/>
                  </a:lnTo>
                  <a:lnTo>
                    <a:pt x="805" y="492"/>
                  </a:lnTo>
                  <a:lnTo>
                    <a:pt x="797" y="490"/>
                  </a:lnTo>
                  <a:lnTo>
                    <a:pt x="788" y="490"/>
                  </a:lnTo>
                  <a:lnTo>
                    <a:pt x="780" y="490"/>
                  </a:lnTo>
                  <a:lnTo>
                    <a:pt x="772" y="490"/>
                  </a:lnTo>
                  <a:lnTo>
                    <a:pt x="762" y="490"/>
                  </a:lnTo>
                  <a:lnTo>
                    <a:pt x="754" y="488"/>
                  </a:lnTo>
                  <a:lnTo>
                    <a:pt x="745" y="488"/>
                  </a:lnTo>
                  <a:lnTo>
                    <a:pt x="737" y="488"/>
                  </a:lnTo>
                  <a:lnTo>
                    <a:pt x="729" y="488"/>
                  </a:lnTo>
                  <a:lnTo>
                    <a:pt x="719" y="486"/>
                  </a:lnTo>
                  <a:lnTo>
                    <a:pt x="711" y="486"/>
                  </a:lnTo>
                  <a:lnTo>
                    <a:pt x="702" y="486"/>
                  </a:lnTo>
                  <a:lnTo>
                    <a:pt x="694" y="486"/>
                  </a:lnTo>
                  <a:lnTo>
                    <a:pt x="686" y="484"/>
                  </a:lnTo>
                  <a:lnTo>
                    <a:pt x="676" y="484"/>
                  </a:lnTo>
                  <a:lnTo>
                    <a:pt x="668" y="484"/>
                  </a:lnTo>
                  <a:lnTo>
                    <a:pt x="659" y="484"/>
                  </a:lnTo>
                  <a:lnTo>
                    <a:pt x="651" y="482"/>
                  </a:lnTo>
                  <a:lnTo>
                    <a:pt x="643" y="482"/>
                  </a:lnTo>
                  <a:lnTo>
                    <a:pt x="633" y="482"/>
                  </a:lnTo>
                  <a:lnTo>
                    <a:pt x="624" y="480"/>
                  </a:lnTo>
                  <a:lnTo>
                    <a:pt x="616" y="480"/>
                  </a:lnTo>
                  <a:lnTo>
                    <a:pt x="608" y="480"/>
                  </a:lnTo>
                  <a:lnTo>
                    <a:pt x="600" y="480"/>
                  </a:lnTo>
                  <a:lnTo>
                    <a:pt x="592" y="478"/>
                  </a:lnTo>
                  <a:lnTo>
                    <a:pt x="581" y="478"/>
                  </a:lnTo>
                  <a:lnTo>
                    <a:pt x="573" y="478"/>
                  </a:lnTo>
                  <a:lnTo>
                    <a:pt x="565" y="476"/>
                  </a:lnTo>
                  <a:lnTo>
                    <a:pt x="557" y="476"/>
                  </a:lnTo>
                  <a:lnTo>
                    <a:pt x="549" y="476"/>
                  </a:lnTo>
                  <a:lnTo>
                    <a:pt x="538" y="474"/>
                  </a:lnTo>
                  <a:lnTo>
                    <a:pt x="530" y="474"/>
                  </a:lnTo>
                  <a:lnTo>
                    <a:pt x="522" y="474"/>
                  </a:lnTo>
                  <a:lnTo>
                    <a:pt x="514" y="472"/>
                  </a:lnTo>
                  <a:lnTo>
                    <a:pt x="506" y="472"/>
                  </a:lnTo>
                  <a:lnTo>
                    <a:pt x="495" y="472"/>
                  </a:lnTo>
                  <a:lnTo>
                    <a:pt x="487" y="470"/>
                  </a:lnTo>
                  <a:lnTo>
                    <a:pt x="479" y="470"/>
                  </a:lnTo>
                  <a:lnTo>
                    <a:pt x="471" y="470"/>
                  </a:lnTo>
                  <a:lnTo>
                    <a:pt x="463" y="468"/>
                  </a:lnTo>
                  <a:lnTo>
                    <a:pt x="455" y="468"/>
                  </a:lnTo>
                  <a:lnTo>
                    <a:pt x="444" y="468"/>
                  </a:lnTo>
                  <a:lnTo>
                    <a:pt x="436" y="465"/>
                  </a:lnTo>
                  <a:lnTo>
                    <a:pt x="428" y="465"/>
                  </a:lnTo>
                  <a:lnTo>
                    <a:pt x="420" y="463"/>
                  </a:lnTo>
                  <a:lnTo>
                    <a:pt x="411" y="463"/>
                  </a:lnTo>
                  <a:lnTo>
                    <a:pt x="401" y="463"/>
                  </a:lnTo>
                  <a:lnTo>
                    <a:pt x="393" y="461"/>
                  </a:lnTo>
                  <a:lnTo>
                    <a:pt x="385" y="461"/>
                  </a:lnTo>
                  <a:lnTo>
                    <a:pt x="377" y="459"/>
                  </a:lnTo>
                  <a:lnTo>
                    <a:pt x="368" y="459"/>
                  </a:lnTo>
                  <a:lnTo>
                    <a:pt x="360" y="459"/>
                  </a:lnTo>
                  <a:lnTo>
                    <a:pt x="350" y="457"/>
                  </a:lnTo>
                  <a:lnTo>
                    <a:pt x="346" y="457"/>
                  </a:lnTo>
                  <a:lnTo>
                    <a:pt x="346" y="459"/>
                  </a:lnTo>
                  <a:lnTo>
                    <a:pt x="346" y="461"/>
                  </a:lnTo>
                  <a:lnTo>
                    <a:pt x="346" y="465"/>
                  </a:lnTo>
                  <a:lnTo>
                    <a:pt x="346" y="470"/>
                  </a:lnTo>
                  <a:lnTo>
                    <a:pt x="346" y="472"/>
                  </a:lnTo>
                  <a:lnTo>
                    <a:pt x="346" y="476"/>
                  </a:lnTo>
                  <a:lnTo>
                    <a:pt x="344" y="478"/>
                  </a:lnTo>
                  <a:lnTo>
                    <a:pt x="344" y="482"/>
                  </a:lnTo>
                  <a:lnTo>
                    <a:pt x="344" y="484"/>
                  </a:lnTo>
                  <a:lnTo>
                    <a:pt x="344" y="488"/>
                  </a:lnTo>
                  <a:lnTo>
                    <a:pt x="344" y="490"/>
                  </a:lnTo>
                  <a:lnTo>
                    <a:pt x="344" y="494"/>
                  </a:lnTo>
                  <a:lnTo>
                    <a:pt x="342" y="496"/>
                  </a:lnTo>
                  <a:lnTo>
                    <a:pt x="342" y="500"/>
                  </a:lnTo>
                  <a:lnTo>
                    <a:pt x="342" y="504"/>
                  </a:lnTo>
                  <a:lnTo>
                    <a:pt x="342" y="506"/>
                  </a:lnTo>
                  <a:lnTo>
                    <a:pt x="342" y="511"/>
                  </a:lnTo>
                  <a:lnTo>
                    <a:pt x="338" y="509"/>
                  </a:lnTo>
                  <a:lnTo>
                    <a:pt x="338" y="506"/>
                  </a:lnTo>
                  <a:lnTo>
                    <a:pt x="336" y="504"/>
                  </a:lnTo>
                  <a:lnTo>
                    <a:pt x="334" y="502"/>
                  </a:lnTo>
                  <a:lnTo>
                    <a:pt x="334" y="500"/>
                  </a:lnTo>
                  <a:lnTo>
                    <a:pt x="332" y="500"/>
                  </a:lnTo>
                  <a:lnTo>
                    <a:pt x="332" y="500"/>
                  </a:lnTo>
                  <a:lnTo>
                    <a:pt x="330" y="498"/>
                  </a:lnTo>
                  <a:lnTo>
                    <a:pt x="330" y="498"/>
                  </a:lnTo>
                  <a:lnTo>
                    <a:pt x="330" y="498"/>
                  </a:lnTo>
                  <a:lnTo>
                    <a:pt x="330" y="498"/>
                  </a:lnTo>
                  <a:lnTo>
                    <a:pt x="330" y="496"/>
                  </a:lnTo>
                  <a:lnTo>
                    <a:pt x="330" y="496"/>
                  </a:lnTo>
                  <a:lnTo>
                    <a:pt x="330" y="494"/>
                  </a:lnTo>
                  <a:lnTo>
                    <a:pt x="330" y="494"/>
                  </a:lnTo>
                  <a:lnTo>
                    <a:pt x="330" y="494"/>
                  </a:lnTo>
                  <a:lnTo>
                    <a:pt x="330" y="492"/>
                  </a:lnTo>
                  <a:lnTo>
                    <a:pt x="330" y="492"/>
                  </a:lnTo>
                  <a:lnTo>
                    <a:pt x="328" y="492"/>
                  </a:lnTo>
                  <a:lnTo>
                    <a:pt x="328" y="492"/>
                  </a:lnTo>
                  <a:lnTo>
                    <a:pt x="328" y="490"/>
                  </a:lnTo>
                  <a:lnTo>
                    <a:pt x="323" y="486"/>
                  </a:lnTo>
                  <a:lnTo>
                    <a:pt x="323" y="484"/>
                  </a:lnTo>
                  <a:lnTo>
                    <a:pt x="323" y="482"/>
                  </a:lnTo>
                  <a:lnTo>
                    <a:pt x="321" y="480"/>
                  </a:lnTo>
                  <a:lnTo>
                    <a:pt x="319" y="480"/>
                  </a:lnTo>
                  <a:lnTo>
                    <a:pt x="319" y="480"/>
                  </a:lnTo>
                  <a:lnTo>
                    <a:pt x="319" y="480"/>
                  </a:lnTo>
                  <a:lnTo>
                    <a:pt x="317" y="482"/>
                  </a:lnTo>
                  <a:lnTo>
                    <a:pt x="317" y="482"/>
                  </a:lnTo>
                  <a:lnTo>
                    <a:pt x="315" y="482"/>
                  </a:lnTo>
                  <a:lnTo>
                    <a:pt x="313" y="482"/>
                  </a:lnTo>
                  <a:lnTo>
                    <a:pt x="313" y="482"/>
                  </a:lnTo>
                  <a:lnTo>
                    <a:pt x="313" y="484"/>
                  </a:lnTo>
                  <a:lnTo>
                    <a:pt x="311" y="484"/>
                  </a:lnTo>
                  <a:lnTo>
                    <a:pt x="311" y="484"/>
                  </a:lnTo>
                  <a:lnTo>
                    <a:pt x="311" y="484"/>
                  </a:lnTo>
                  <a:lnTo>
                    <a:pt x="311" y="486"/>
                  </a:lnTo>
                  <a:lnTo>
                    <a:pt x="311" y="486"/>
                  </a:lnTo>
                  <a:lnTo>
                    <a:pt x="311" y="486"/>
                  </a:lnTo>
                  <a:lnTo>
                    <a:pt x="311" y="486"/>
                  </a:lnTo>
                  <a:lnTo>
                    <a:pt x="311" y="488"/>
                  </a:lnTo>
                  <a:lnTo>
                    <a:pt x="311" y="488"/>
                  </a:lnTo>
                  <a:lnTo>
                    <a:pt x="311" y="488"/>
                  </a:lnTo>
                  <a:lnTo>
                    <a:pt x="311" y="488"/>
                  </a:lnTo>
                  <a:lnTo>
                    <a:pt x="311" y="490"/>
                  </a:lnTo>
                  <a:lnTo>
                    <a:pt x="311" y="490"/>
                  </a:lnTo>
                  <a:lnTo>
                    <a:pt x="309" y="490"/>
                  </a:lnTo>
                  <a:lnTo>
                    <a:pt x="309" y="490"/>
                  </a:lnTo>
                  <a:lnTo>
                    <a:pt x="309" y="490"/>
                  </a:lnTo>
                  <a:lnTo>
                    <a:pt x="307" y="492"/>
                  </a:lnTo>
                  <a:lnTo>
                    <a:pt x="307" y="492"/>
                  </a:lnTo>
                  <a:lnTo>
                    <a:pt x="307" y="494"/>
                  </a:lnTo>
                  <a:lnTo>
                    <a:pt x="307" y="494"/>
                  </a:lnTo>
                  <a:lnTo>
                    <a:pt x="307" y="494"/>
                  </a:lnTo>
                  <a:lnTo>
                    <a:pt x="307" y="496"/>
                  </a:lnTo>
                  <a:lnTo>
                    <a:pt x="307" y="496"/>
                  </a:lnTo>
                  <a:lnTo>
                    <a:pt x="307" y="496"/>
                  </a:lnTo>
                  <a:lnTo>
                    <a:pt x="307" y="498"/>
                  </a:lnTo>
                  <a:lnTo>
                    <a:pt x="307" y="498"/>
                  </a:lnTo>
                  <a:lnTo>
                    <a:pt x="307" y="498"/>
                  </a:lnTo>
                  <a:lnTo>
                    <a:pt x="307" y="498"/>
                  </a:lnTo>
                  <a:lnTo>
                    <a:pt x="307" y="498"/>
                  </a:lnTo>
                  <a:lnTo>
                    <a:pt x="309" y="500"/>
                  </a:lnTo>
                  <a:lnTo>
                    <a:pt x="311" y="500"/>
                  </a:lnTo>
                  <a:lnTo>
                    <a:pt x="311" y="500"/>
                  </a:lnTo>
                  <a:lnTo>
                    <a:pt x="311" y="500"/>
                  </a:lnTo>
                  <a:lnTo>
                    <a:pt x="309" y="500"/>
                  </a:lnTo>
                  <a:lnTo>
                    <a:pt x="309" y="500"/>
                  </a:lnTo>
                  <a:lnTo>
                    <a:pt x="307" y="500"/>
                  </a:lnTo>
                  <a:lnTo>
                    <a:pt x="307" y="500"/>
                  </a:lnTo>
                  <a:lnTo>
                    <a:pt x="307" y="500"/>
                  </a:lnTo>
                  <a:lnTo>
                    <a:pt x="305" y="500"/>
                  </a:lnTo>
                  <a:lnTo>
                    <a:pt x="303" y="498"/>
                  </a:lnTo>
                  <a:lnTo>
                    <a:pt x="303" y="498"/>
                  </a:lnTo>
                  <a:lnTo>
                    <a:pt x="293" y="498"/>
                  </a:lnTo>
                  <a:lnTo>
                    <a:pt x="293" y="498"/>
                  </a:lnTo>
                  <a:lnTo>
                    <a:pt x="289" y="500"/>
                  </a:lnTo>
                  <a:lnTo>
                    <a:pt x="289" y="500"/>
                  </a:lnTo>
                  <a:lnTo>
                    <a:pt x="287" y="500"/>
                  </a:lnTo>
                  <a:lnTo>
                    <a:pt x="285" y="500"/>
                  </a:lnTo>
                  <a:lnTo>
                    <a:pt x="285" y="500"/>
                  </a:lnTo>
                  <a:lnTo>
                    <a:pt x="282" y="500"/>
                  </a:lnTo>
                  <a:lnTo>
                    <a:pt x="282" y="500"/>
                  </a:lnTo>
                  <a:lnTo>
                    <a:pt x="282" y="500"/>
                  </a:lnTo>
                  <a:lnTo>
                    <a:pt x="280" y="500"/>
                  </a:lnTo>
                  <a:lnTo>
                    <a:pt x="280" y="500"/>
                  </a:lnTo>
                  <a:lnTo>
                    <a:pt x="280" y="498"/>
                  </a:lnTo>
                  <a:lnTo>
                    <a:pt x="280" y="498"/>
                  </a:lnTo>
                  <a:lnTo>
                    <a:pt x="280" y="498"/>
                  </a:lnTo>
                  <a:lnTo>
                    <a:pt x="278" y="496"/>
                  </a:lnTo>
                  <a:lnTo>
                    <a:pt x="278" y="496"/>
                  </a:lnTo>
                  <a:lnTo>
                    <a:pt x="274" y="496"/>
                  </a:lnTo>
                  <a:lnTo>
                    <a:pt x="274" y="496"/>
                  </a:lnTo>
                  <a:lnTo>
                    <a:pt x="272" y="496"/>
                  </a:lnTo>
                  <a:lnTo>
                    <a:pt x="272" y="496"/>
                  </a:lnTo>
                  <a:lnTo>
                    <a:pt x="272" y="496"/>
                  </a:lnTo>
                  <a:lnTo>
                    <a:pt x="270" y="496"/>
                  </a:lnTo>
                  <a:lnTo>
                    <a:pt x="270" y="496"/>
                  </a:lnTo>
                  <a:lnTo>
                    <a:pt x="268" y="496"/>
                  </a:lnTo>
                  <a:lnTo>
                    <a:pt x="260" y="496"/>
                  </a:lnTo>
                  <a:lnTo>
                    <a:pt x="260" y="496"/>
                  </a:lnTo>
                  <a:lnTo>
                    <a:pt x="258" y="496"/>
                  </a:lnTo>
                  <a:lnTo>
                    <a:pt x="256" y="494"/>
                  </a:lnTo>
                  <a:lnTo>
                    <a:pt x="254" y="494"/>
                  </a:lnTo>
                  <a:lnTo>
                    <a:pt x="252" y="494"/>
                  </a:lnTo>
                  <a:lnTo>
                    <a:pt x="252" y="494"/>
                  </a:lnTo>
                  <a:lnTo>
                    <a:pt x="252" y="494"/>
                  </a:lnTo>
                  <a:lnTo>
                    <a:pt x="250" y="492"/>
                  </a:lnTo>
                  <a:lnTo>
                    <a:pt x="250" y="492"/>
                  </a:lnTo>
                  <a:lnTo>
                    <a:pt x="248" y="492"/>
                  </a:lnTo>
                  <a:lnTo>
                    <a:pt x="248" y="492"/>
                  </a:lnTo>
                  <a:lnTo>
                    <a:pt x="248" y="494"/>
                  </a:lnTo>
                  <a:lnTo>
                    <a:pt x="246" y="494"/>
                  </a:lnTo>
                  <a:lnTo>
                    <a:pt x="246" y="494"/>
                  </a:lnTo>
                  <a:lnTo>
                    <a:pt x="244" y="494"/>
                  </a:lnTo>
                  <a:lnTo>
                    <a:pt x="244" y="494"/>
                  </a:lnTo>
                  <a:lnTo>
                    <a:pt x="242" y="494"/>
                  </a:lnTo>
                  <a:lnTo>
                    <a:pt x="242" y="494"/>
                  </a:lnTo>
                  <a:lnTo>
                    <a:pt x="242" y="496"/>
                  </a:lnTo>
                  <a:lnTo>
                    <a:pt x="239" y="496"/>
                  </a:lnTo>
                  <a:lnTo>
                    <a:pt x="239" y="498"/>
                  </a:lnTo>
                  <a:lnTo>
                    <a:pt x="237" y="502"/>
                  </a:lnTo>
                  <a:lnTo>
                    <a:pt x="237" y="502"/>
                  </a:lnTo>
                  <a:lnTo>
                    <a:pt x="237" y="502"/>
                  </a:lnTo>
                  <a:lnTo>
                    <a:pt x="235" y="502"/>
                  </a:lnTo>
                  <a:lnTo>
                    <a:pt x="235" y="502"/>
                  </a:lnTo>
                  <a:lnTo>
                    <a:pt x="233" y="502"/>
                  </a:lnTo>
                  <a:lnTo>
                    <a:pt x="233" y="502"/>
                  </a:lnTo>
                  <a:lnTo>
                    <a:pt x="233" y="502"/>
                  </a:lnTo>
                  <a:lnTo>
                    <a:pt x="233" y="500"/>
                  </a:lnTo>
                  <a:lnTo>
                    <a:pt x="231" y="500"/>
                  </a:lnTo>
                  <a:lnTo>
                    <a:pt x="231" y="500"/>
                  </a:lnTo>
                  <a:lnTo>
                    <a:pt x="229" y="500"/>
                  </a:lnTo>
                  <a:lnTo>
                    <a:pt x="227" y="500"/>
                  </a:lnTo>
                  <a:lnTo>
                    <a:pt x="227" y="500"/>
                  </a:lnTo>
                  <a:lnTo>
                    <a:pt x="225" y="498"/>
                  </a:lnTo>
                  <a:lnTo>
                    <a:pt x="225" y="498"/>
                  </a:lnTo>
                  <a:lnTo>
                    <a:pt x="225" y="498"/>
                  </a:lnTo>
                  <a:lnTo>
                    <a:pt x="215" y="496"/>
                  </a:lnTo>
                  <a:lnTo>
                    <a:pt x="213" y="494"/>
                  </a:lnTo>
                  <a:lnTo>
                    <a:pt x="213" y="494"/>
                  </a:lnTo>
                  <a:lnTo>
                    <a:pt x="211" y="494"/>
                  </a:lnTo>
                  <a:lnTo>
                    <a:pt x="211" y="496"/>
                  </a:lnTo>
                  <a:lnTo>
                    <a:pt x="209" y="496"/>
                  </a:lnTo>
                  <a:lnTo>
                    <a:pt x="207" y="496"/>
                  </a:lnTo>
                  <a:lnTo>
                    <a:pt x="207" y="496"/>
                  </a:lnTo>
                  <a:lnTo>
                    <a:pt x="203" y="500"/>
                  </a:lnTo>
                  <a:lnTo>
                    <a:pt x="201" y="500"/>
                  </a:lnTo>
                  <a:lnTo>
                    <a:pt x="201" y="500"/>
                  </a:lnTo>
                  <a:lnTo>
                    <a:pt x="201" y="502"/>
                  </a:lnTo>
                  <a:lnTo>
                    <a:pt x="201" y="502"/>
                  </a:lnTo>
                  <a:lnTo>
                    <a:pt x="201" y="502"/>
                  </a:lnTo>
                  <a:lnTo>
                    <a:pt x="201" y="502"/>
                  </a:lnTo>
                  <a:lnTo>
                    <a:pt x="201" y="506"/>
                  </a:lnTo>
                  <a:lnTo>
                    <a:pt x="201" y="506"/>
                  </a:lnTo>
                  <a:lnTo>
                    <a:pt x="201" y="506"/>
                  </a:lnTo>
                  <a:lnTo>
                    <a:pt x="201" y="506"/>
                  </a:lnTo>
                  <a:lnTo>
                    <a:pt x="199" y="506"/>
                  </a:lnTo>
                  <a:lnTo>
                    <a:pt x="199" y="506"/>
                  </a:lnTo>
                  <a:lnTo>
                    <a:pt x="196" y="504"/>
                  </a:lnTo>
                  <a:lnTo>
                    <a:pt x="196" y="504"/>
                  </a:lnTo>
                  <a:lnTo>
                    <a:pt x="196" y="502"/>
                  </a:lnTo>
                  <a:lnTo>
                    <a:pt x="192" y="502"/>
                  </a:lnTo>
                  <a:lnTo>
                    <a:pt x="192" y="500"/>
                  </a:lnTo>
                  <a:lnTo>
                    <a:pt x="192" y="500"/>
                  </a:lnTo>
                  <a:lnTo>
                    <a:pt x="190" y="498"/>
                  </a:lnTo>
                  <a:lnTo>
                    <a:pt x="190" y="498"/>
                  </a:lnTo>
                  <a:lnTo>
                    <a:pt x="190" y="498"/>
                  </a:lnTo>
                  <a:lnTo>
                    <a:pt x="188" y="498"/>
                  </a:lnTo>
                  <a:lnTo>
                    <a:pt x="188" y="496"/>
                  </a:lnTo>
                  <a:lnTo>
                    <a:pt x="188" y="496"/>
                  </a:lnTo>
                  <a:lnTo>
                    <a:pt x="188" y="494"/>
                  </a:lnTo>
                  <a:lnTo>
                    <a:pt x="188" y="494"/>
                  </a:lnTo>
                  <a:lnTo>
                    <a:pt x="186" y="494"/>
                  </a:lnTo>
                  <a:lnTo>
                    <a:pt x="186" y="492"/>
                  </a:lnTo>
                  <a:lnTo>
                    <a:pt x="186" y="492"/>
                  </a:lnTo>
                  <a:lnTo>
                    <a:pt x="188" y="492"/>
                  </a:lnTo>
                  <a:lnTo>
                    <a:pt x="188" y="490"/>
                  </a:lnTo>
                  <a:lnTo>
                    <a:pt x="188" y="490"/>
                  </a:lnTo>
                  <a:lnTo>
                    <a:pt x="188" y="488"/>
                  </a:lnTo>
                  <a:lnTo>
                    <a:pt x="188" y="488"/>
                  </a:lnTo>
                  <a:lnTo>
                    <a:pt x="186" y="488"/>
                  </a:lnTo>
                  <a:lnTo>
                    <a:pt x="186" y="486"/>
                  </a:lnTo>
                  <a:lnTo>
                    <a:pt x="186" y="486"/>
                  </a:lnTo>
                  <a:lnTo>
                    <a:pt x="186" y="486"/>
                  </a:lnTo>
                  <a:lnTo>
                    <a:pt x="186" y="484"/>
                  </a:lnTo>
                  <a:lnTo>
                    <a:pt x="186" y="484"/>
                  </a:lnTo>
                  <a:lnTo>
                    <a:pt x="184" y="482"/>
                  </a:lnTo>
                  <a:lnTo>
                    <a:pt x="184" y="482"/>
                  </a:lnTo>
                  <a:lnTo>
                    <a:pt x="184" y="480"/>
                  </a:lnTo>
                  <a:lnTo>
                    <a:pt x="184" y="480"/>
                  </a:lnTo>
                  <a:lnTo>
                    <a:pt x="184" y="480"/>
                  </a:lnTo>
                  <a:lnTo>
                    <a:pt x="184" y="480"/>
                  </a:lnTo>
                  <a:lnTo>
                    <a:pt x="186" y="480"/>
                  </a:lnTo>
                  <a:lnTo>
                    <a:pt x="186" y="478"/>
                  </a:lnTo>
                  <a:lnTo>
                    <a:pt x="186" y="478"/>
                  </a:lnTo>
                  <a:lnTo>
                    <a:pt x="186" y="478"/>
                  </a:lnTo>
                  <a:lnTo>
                    <a:pt x="186" y="478"/>
                  </a:lnTo>
                  <a:lnTo>
                    <a:pt x="186" y="476"/>
                  </a:lnTo>
                  <a:lnTo>
                    <a:pt x="186" y="476"/>
                  </a:lnTo>
                  <a:lnTo>
                    <a:pt x="184" y="474"/>
                  </a:lnTo>
                  <a:lnTo>
                    <a:pt x="184" y="474"/>
                  </a:lnTo>
                  <a:lnTo>
                    <a:pt x="184" y="472"/>
                  </a:lnTo>
                  <a:lnTo>
                    <a:pt x="184" y="472"/>
                  </a:lnTo>
                  <a:lnTo>
                    <a:pt x="184" y="472"/>
                  </a:lnTo>
                  <a:lnTo>
                    <a:pt x="184" y="470"/>
                  </a:lnTo>
                  <a:lnTo>
                    <a:pt x="182" y="470"/>
                  </a:lnTo>
                  <a:lnTo>
                    <a:pt x="182" y="470"/>
                  </a:lnTo>
                  <a:lnTo>
                    <a:pt x="182" y="470"/>
                  </a:lnTo>
                  <a:lnTo>
                    <a:pt x="182" y="468"/>
                  </a:lnTo>
                  <a:lnTo>
                    <a:pt x="182" y="468"/>
                  </a:lnTo>
                  <a:lnTo>
                    <a:pt x="182" y="468"/>
                  </a:lnTo>
                  <a:lnTo>
                    <a:pt x="182" y="468"/>
                  </a:lnTo>
                  <a:lnTo>
                    <a:pt x="182" y="465"/>
                  </a:lnTo>
                  <a:lnTo>
                    <a:pt x="180" y="465"/>
                  </a:lnTo>
                  <a:lnTo>
                    <a:pt x="180" y="463"/>
                  </a:lnTo>
                  <a:lnTo>
                    <a:pt x="180" y="463"/>
                  </a:lnTo>
                  <a:lnTo>
                    <a:pt x="178" y="461"/>
                  </a:lnTo>
                  <a:lnTo>
                    <a:pt x="176" y="459"/>
                  </a:lnTo>
                  <a:lnTo>
                    <a:pt x="176" y="457"/>
                  </a:lnTo>
                  <a:lnTo>
                    <a:pt x="174" y="457"/>
                  </a:lnTo>
                  <a:lnTo>
                    <a:pt x="172" y="457"/>
                  </a:lnTo>
                  <a:lnTo>
                    <a:pt x="172" y="457"/>
                  </a:lnTo>
                  <a:lnTo>
                    <a:pt x="170" y="457"/>
                  </a:lnTo>
                  <a:lnTo>
                    <a:pt x="170" y="457"/>
                  </a:lnTo>
                  <a:lnTo>
                    <a:pt x="168" y="459"/>
                  </a:lnTo>
                  <a:lnTo>
                    <a:pt x="168" y="459"/>
                  </a:lnTo>
                  <a:lnTo>
                    <a:pt x="168" y="459"/>
                  </a:lnTo>
                  <a:lnTo>
                    <a:pt x="166" y="459"/>
                  </a:lnTo>
                  <a:lnTo>
                    <a:pt x="166" y="459"/>
                  </a:lnTo>
                  <a:lnTo>
                    <a:pt x="164" y="459"/>
                  </a:lnTo>
                  <a:lnTo>
                    <a:pt x="164" y="457"/>
                  </a:lnTo>
                  <a:lnTo>
                    <a:pt x="164" y="455"/>
                  </a:lnTo>
                  <a:lnTo>
                    <a:pt x="164" y="455"/>
                  </a:lnTo>
                  <a:lnTo>
                    <a:pt x="164" y="455"/>
                  </a:lnTo>
                  <a:lnTo>
                    <a:pt x="160" y="453"/>
                  </a:lnTo>
                  <a:lnTo>
                    <a:pt x="158" y="451"/>
                  </a:lnTo>
                  <a:lnTo>
                    <a:pt x="158" y="451"/>
                  </a:lnTo>
                  <a:lnTo>
                    <a:pt x="158" y="449"/>
                  </a:lnTo>
                  <a:lnTo>
                    <a:pt x="158" y="447"/>
                  </a:lnTo>
                  <a:lnTo>
                    <a:pt x="158" y="445"/>
                  </a:lnTo>
                  <a:lnTo>
                    <a:pt x="155" y="445"/>
                  </a:lnTo>
                  <a:lnTo>
                    <a:pt x="155" y="445"/>
                  </a:lnTo>
                  <a:lnTo>
                    <a:pt x="155" y="443"/>
                  </a:lnTo>
                  <a:lnTo>
                    <a:pt x="155" y="443"/>
                  </a:lnTo>
                  <a:lnTo>
                    <a:pt x="155" y="443"/>
                  </a:lnTo>
                  <a:lnTo>
                    <a:pt x="155" y="443"/>
                  </a:lnTo>
                  <a:lnTo>
                    <a:pt x="155" y="443"/>
                  </a:lnTo>
                  <a:lnTo>
                    <a:pt x="158" y="441"/>
                  </a:lnTo>
                  <a:lnTo>
                    <a:pt x="158" y="441"/>
                  </a:lnTo>
                  <a:lnTo>
                    <a:pt x="158" y="441"/>
                  </a:lnTo>
                  <a:lnTo>
                    <a:pt x="160" y="441"/>
                  </a:lnTo>
                  <a:lnTo>
                    <a:pt x="160" y="439"/>
                  </a:lnTo>
                  <a:lnTo>
                    <a:pt x="160" y="437"/>
                  </a:lnTo>
                  <a:lnTo>
                    <a:pt x="160" y="437"/>
                  </a:lnTo>
                  <a:lnTo>
                    <a:pt x="160" y="437"/>
                  </a:lnTo>
                  <a:lnTo>
                    <a:pt x="160" y="435"/>
                  </a:lnTo>
                  <a:lnTo>
                    <a:pt x="160" y="435"/>
                  </a:lnTo>
                  <a:lnTo>
                    <a:pt x="160" y="431"/>
                  </a:lnTo>
                  <a:lnTo>
                    <a:pt x="158" y="431"/>
                  </a:lnTo>
                  <a:lnTo>
                    <a:pt x="155" y="427"/>
                  </a:lnTo>
                  <a:lnTo>
                    <a:pt x="155" y="427"/>
                  </a:lnTo>
                  <a:lnTo>
                    <a:pt x="155" y="425"/>
                  </a:lnTo>
                  <a:lnTo>
                    <a:pt x="155" y="422"/>
                  </a:lnTo>
                  <a:lnTo>
                    <a:pt x="155" y="422"/>
                  </a:lnTo>
                  <a:lnTo>
                    <a:pt x="153" y="422"/>
                  </a:lnTo>
                  <a:lnTo>
                    <a:pt x="151" y="422"/>
                  </a:lnTo>
                  <a:lnTo>
                    <a:pt x="151" y="422"/>
                  </a:lnTo>
                  <a:lnTo>
                    <a:pt x="151" y="420"/>
                  </a:lnTo>
                  <a:lnTo>
                    <a:pt x="151" y="420"/>
                  </a:lnTo>
                  <a:lnTo>
                    <a:pt x="151" y="420"/>
                  </a:lnTo>
                  <a:lnTo>
                    <a:pt x="151" y="418"/>
                  </a:lnTo>
                  <a:lnTo>
                    <a:pt x="151" y="418"/>
                  </a:lnTo>
                  <a:lnTo>
                    <a:pt x="151" y="418"/>
                  </a:lnTo>
                  <a:lnTo>
                    <a:pt x="151" y="416"/>
                  </a:lnTo>
                  <a:lnTo>
                    <a:pt x="151" y="416"/>
                  </a:lnTo>
                  <a:lnTo>
                    <a:pt x="149" y="416"/>
                  </a:lnTo>
                  <a:lnTo>
                    <a:pt x="149" y="414"/>
                  </a:lnTo>
                  <a:lnTo>
                    <a:pt x="149" y="414"/>
                  </a:lnTo>
                  <a:lnTo>
                    <a:pt x="149" y="412"/>
                  </a:lnTo>
                  <a:lnTo>
                    <a:pt x="147" y="412"/>
                  </a:lnTo>
                  <a:lnTo>
                    <a:pt x="147" y="410"/>
                  </a:lnTo>
                  <a:lnTo>
                    <a:pt x="145" y="408"/>
                  </a:lnTo>
                  <a:lnTo>
                    <a:pt x="145" y="408"/>
                  </a:lnTo>
                  <a:lnTo>
                    <a:pt x="145" y="408"/>
                  </a:lnTo>
                  <a:lnTo>
                    <a:pt x="145" y="406"/>
                  </a:lnTo>
                  <a:lnTo>
                    <a:pt x="145" y="406"/>
                  </a:lnTo>
                  <a:lnTo>
                    <a:pt x="145" y="404"/>
                  </a:lnTo>
                  <a:lnTo>
                    <a:pt x="143" y="404"/>
                  </a:lnTo>
                  <a:lnTo>
                    <a:pt x="143" y="402"/>
                  </a:lnTo>
                  <a:lnTo>
                    <a:pt x="141" y="402"/>
                  </a:lnTo>
                  <a:lnTo>
                    <a:pt x="141" y="402"/>
                  </a:lnTo>
                  <a:lnTo>
                    <a:pt x="141" y="402"/>
                  </a:lnTo>
                  <a:lnTo>
                    <a:pt x="141" y="400"/>
                  </a:lnTo>
                  <a:lnTo>
                    <a:pt x="141" y="400"/>
                  </a:lnTo>
                  <a:lnTo>
                    <a:pt x="141" y="398"/>
                  </a:lnTo>
                  <a:lnTo>
                    <a:pt x="143" y="396"/>
                  </a:lnTo>
                  <a:lnTo>
                    <a:pt x="143" y="394"/>
                  </a:lnTo>
                  <a:lnTo>
                    <a:pt x="143" y="394"/>
                  </a:lnTo>
                  <a:lnTo>
                    <a:pt x="141" y="394"/>
                  </a:lnTo>
                  <a:lnTo>
                    <a:pt x="139" y="392"/>
                  </a:lnTo>
                  <a:lnTo>
                    <a:pt x="139" y="390"/>
                  </a:lnTo>
                  <a:lnTo>
                    <a:pt x="139" y="390"/>
                  </a:lnTo>
                  <a:lnTo>
                    <a:pt x="139" y="388"/>
                  </a:lnTo>
                  <a:lnTo>
                    <a:pt x="139" y="388"/>
                  </a:lnTo>
                  <a:lnTo>
                    <a:pt x="139" y="388"/>
                  </a:lnTo>
                  <a:lnTo>
                    <a:pt x="139" y="388"/>
                  </a:lnTo>
                  <a:lnTo>
                    <a:pt x="139" y="386"/>
                  </a:lnTo>
                  <a:lnTo>
                    <a:pt x="141" y="386"/>
                  </a:lnTo>
                  <a:lnTo>
                    <a:pt x="141" y="386"/>
                  </a:lnTo>
                  <a:lnTo>
                    <a:pt x="141" y="384"/>
                  </a:lnTo>
                  <a:lnTo>
                    <a:pt x="141" y="381"/>
                  </a:lnTo>
                  <a:lnTo>
                    <a:pt x="141" y="381"/>
                  </a:lnTo>
                  <a:lnTo>
                    <a:pt x="141" y="381"/>
                  </a:lnTo>
                  <a:lnTo>
                    <a:pt x="141" y="381"/>
                  </a:lnTo>
                  <a:lnTo>
                    <a:pt x="141" y="379"/>
                  </a:lnTo>
                  <a:lnTo>
                    <a:pt x="137" y="379"/>
                  </a:lnTo>
                  <a:lnTo>
                    <a:pt x="137" y="377"/>
                  </a:lnTo>
                  <a:lnTo>
                    <a:pt x="137" y="377"/>
                  </a:lnTo>
                  <a:lnTo>
                    <a:pt x="137" y="377"/>
                  </a:lnTo>
                  <a:lnTo>
                    <a:pt x="137" y="375"/>
                  </a:lnTo>
                  <a:lnTo>
                    <a:pt x="139" y="375"/>
                  </a:lnTo>
                  <a:lnTo>
                    <a:pt x="139" y="373"/>
                  </a:lnTo>
                  <a:lnTo>
                    <a:pt x="139" y="373"/>
                  </a:lnTo>
                  <a:lnTo>
                    <a:pt x="139" y="373"/>
                  </a:lnTo>
                  <a:lnTo>
                    <a:pt x="139" y="371"/>
                  </a:lnTo>
                  <a:lnTo>
                    <a:pt x="139" y="371"/>
                  </a:lnTo>
                  <a:lnTo>
                    <a:pt x="139" y="371"/>
                  </a:lnTo>
                  <a:lnTo>
                    <a:pt x="139" y="369"/>
                  </a:lnTo>
                  <a:lnTo>
                    <a:pt x="139" y="369"/>
                  </a:lnTo>
                  <a:lnTo>
                    <a:pt x="137" y="369"/>
                  </a:lnTo>
                  <a:lnTo>
                    <a:pt x="133" y="367"/>
                  </a:lnTo>
                  <a:lnTo>
                    <a:pt x="133" y="367"/>
                  </a:lnTo>
                  <a:lnTo>
                    <a:pt x="133" y="365"/>
                  </a:lnTo>
                  <a:lnTo>
                    <a:pt x="133" y="365"/>
                  </a:lnTo>
                  <a:lnTo>
                    <a:pt x="133" y="365"/>
                  </a:lnTo>
                  <a:lnTo>
                    <a:pt x="133" y="363"/>
                  </a:lnTo>
                  <a:lnTo>
                    <a:pt x="131" y="361"/>
                  </a:lnTo>
                  <a:lnTo>
                    <a:pt x="127" y="359"/>
                  </a:lnTo>
                  <a:lnTo>
                    <a:pt x="127" y="359"/>
                  </a:lnTo>
                  <a:lnTo>
                    <a:pt x="125" y="359"/>
                  </a:lnTo>
                  <a:lnTo>
                    <a:pt x="125" y="359"/>
                  </a:lnTo>
                  <a:lnTo>
                    <a:pt x="125" y="359"/>
                  </a:lnTo>
                  <a:lnTo>
                    <a:pt x="125" y="359"/>
                  </a:lnTo>
                  <a:lnTo>
                    <a:pt x="125" y="359"/>
                  </a:lnTo>
                  <a:lnTo>
                    <a:pt x="125" y="361"/>
                  </a:lnTo>
                  <a:lnTo>
                    <a:pt x="125" y="361"/>
                  </a:lnTo>
                  <a:lnTo>
                    <a:pt x="125" y="361"/>
                  </a:lnTo>
                  <a:lnTo>
                    <a:pt x="125" y="361"/>
                  </a:lnTo>
                  <a:lnTo>
                    <a:pt x="125" y="363"/>
                  </a:lnTo>
                  <a:lnTo>
                    <a:pt x="125" y="363"/>
                  </a:lnTo>
                  <a:lnTo>
                    <a:pt x="125" y="363"/>
                  </a:lnTo>
                  <a:lnTo>
                    <a:pt x="125" y="363"/>
                  </a:lnTo>
                  <a:lnTo>
                    <a:pt x="123" y="363"/>
                  </a:lnTo>
                  <a:lnTo>
                    <a:pt x="121" y="363"/>
                  </a:lnTo>
                  <a:lnTo>
                    <a:pt x="121" y="365"/>
                  </a:lnTo>
                  <a:lnTo>
                    <a:pt x="121" y="365"/>
                  </a:lnTo>
                  <a:lnTo>
                    <a:pt x="121" y="365"/>
                  </a:lnTo>
                  <a:lnTo>
                    <a:pt x="119" y="365"/>
                  </a:lnTo>
                  <a:lnTo>
                    <a:pt x="119" y="365"/>
                  </a:lnTo>
                  <a:lnTo>
                    <a:pt x="119" y="367"/>
                  </a:lnTo>
                  <a:lnTo>
                    <a:pt x="119" y="367"/>
                  </a:lnTo>
                  <a:lnTo>
                    <a:pt x="119" y="367"/>
                  </a:lnTo>
                  <a:lnTo>
                    <a:pt x="117" y="367"/>
                  </a:lnTo>
                  <a:lnTo>
                    <a:pt x="117" y="369"/>
                  </a:lnTo>
                  <a:lnTo>
                    <a:pt x="117" y="369"/>
                  </a:lnTo>
                  <a:lnTo>
                    <a:pt x="115" y="369"/>
                  </a:lnTo>
                  <a:lnTo>
                    <a:pt x="115" y="369"/>
                  </a:lnTo>
                  <a:lnTo>
                    <a:pt x="115" y="371"/>
                  </a:lnTo>
                  <a:lnTo>
                    <a:pt x="115" y="371"/>
                  </a:lnTo>
                  <a:lnTo>
                    <a:pt x="115" y="371"/>
                  </a:lnTo>
                  <a:lnTo>
                    <a:pt x="110" y="371"/>
                  </a:lnTo>
                  <a:lnTo>
                    <a:pt x="108" y="373"/>
                  </a:lnTo>
                  <a:lnTo>
                    <a:pt x="108" y="373"/>
                  </a:lnTo>
                  <a:lnTo>
                    <a:pt x="108" y="373"/>
                  </a:lnTo>
                  <a:lnTo>
                    <a:pt x="106" y="373"/>
                  </a:lnTo>
                  <a:lnTo>
                    <a:pt x="106" y="373"/>
                  </a:lnTo>
                  <a:lnTo>
                    <a:pt x="104" y="373"/>
                  </a:lnTo>
                  <a:lnTo>
                    <a:pt x="104" y="373"/>
                  </a:lnTo>
                  <a:lnTo>
                    <a:pt x="104" y="373"/>
                  </a:lnTo>
                  <a:lnTo>
                    <a:pt x="104" y="373"/>
                  </a:lnTo>
                  <a:lnTo>
                    <a:pt x="104" y="373"/>
                  </a:lnTo>
                  <a:lnTo>
                    <a:pt x="102" y="375"/>
                  </a:lnTo>
                  <a:lnTo>
                    <a:pt x="102" y="377"/>
                  </a:lnTo>
                  <a:lnTo>
                    <a:pt x="102" y="377"/>
                  </a:lnTo>
                  <a:lnTo>
                    <a:pt x="102" y="377"/>
                  </a:lnTo>
                  <a:lnTo>
                    <a:pt x="100" y="377"/>
                  </a:lnTo>
                  <a:lnTo>
                    <a:pt x="98" y="377"/>
                  </a:lnTo>
                  <a:lnTo>
                    <a:pt x="98" y="377"/>
                  </a:lnTo>
                  <a:lnTo>
                    <a:pt x="98" y="377"/>
                  </a:lnTo>
                  <a:lnTo>
                    <a:pt x="96" y="377"/>
                  </a:lnTo>
                  <a:lnTo>
                    <a:pt x="96" y="377"/>
                  </a:lnTo>
                  <a:lnTo>
                    <a:pt x="94" y="377"/>
                  </a:lnTo>
                  <a:lnTo>
                    <a:pt x="94" y="377"/>
                  </a:lnTo>
                  <a:lnTo>
                    <a:pt x="94" y="375"/>
                  </a:lnTo>
                  <a:lnTo>
                    <a:pt x="92" y="373"/>
                  </a:lnTo>
                  <a:lnTo>
                    <a:pt x="90" y="373"/>
                  </a:lnTo>
                  <a:lnTo>
                    <a:pt x="90" y="373"/>
                  </a:lnTo>
                  <a:lnTo>
                    <a:pt x="90" y="371"/>
                  </a:lnTo>
                  <a:lnTo>
                    <a:pt x="90" y="371"/>
                  </a:lnTo>
                  <a:lnTo>
                    <a:pt x="90" y="371"/>
                  </a:lnTo>
                  <a:lnTo>
                    <a:pt x="88" y="369"/>
                  </a:lnTo>
                  <a:lnTo>
                    <a:pt x="86" y="369"/>
                  </a:lnTo>
                  <a:lnTo>
                    <a:pt x="84" y="367"/>
                  </a:lnTo>
                  <a:lnTo>
                    <a:pt x="82" y="367"/>
                  </a:lnTo>
                  <a:lnTo>
                    <a:pt x="80" y="367"/>
                  </a:lnTo>
                  <a:lnTo>
                    <a:pt x="80" y="367"/>
                  </a:lnTo>
                  <a:lnTo>
                    <a:pt x="80" y="365"/>
                  </a:lnTo>
                  <a:lnTo>
                    <a:pt x="82" y="365"/>
                  </a:lnTo>
                  <a:lnTo>
                    <a:pt x="82" y="365"/>
                  </a:lnTo>
                  <a:lnTo>
                    <a:pt x="82" y="363"/>
                  </a:lnTo>
                  <a:lnTo>
                    <a:pt x="82" y="363"/>
                  </a:lnTo>
                  <a:lnTo>
                    <a:pt x="82" y="363"/>
                  </a:lnTo>
                  <a:lnTo>
                    <a:pt x="82" y="361"/>
                  </a:lnTo>
                  <a:lnTo>
                    <a:pt x="82" y="361"/>
                  </a:lnTo>
                  <a:lnTo>
                    <a:pt x="82" y="361"/>
                  </a:lnTo>
                  <a:lnTo>
                    <a:pt x="82" y="359"/>
                  </a:lnTo>
                  <a:lnTo>
                    <a:pt x="84" y="359"/>
                  </a:lnTo>
                  <a:lnTo>
                    <a:pt x="86" y="357"/>
                  </a:lnTo>
                  <a:lnTo>
                    <a:pt x="86" y="357"/>
                  </a:lnTo>
                  <a:lnTo>
                    <a:pt x="86" y="357"/>
                  </a:lnTo>
                  <a:lnTo>
                    <a:pt x="86" y="357"/>
                  </a:lnTo>
                  <a:lnTo>
                    <a:pt x="86" y="357"/>
                  </a:lnTo>
                  <a:lnTo>
                    <a:pt x="86" y="355"/>
                  </a:lnTo>
                  <a:lnTo>
                    <a:pt x="86" y="355"/>
                  </a:lnTo>
                  <a:lnTo>
                    <a:pt x="86" y="355"/>
                  </a:lnTo>
                  <a:lnTo>
                    <a:pt x="86" y="353"/>
                  </a:lnTo>
                  <a:lnTo>
                    <a:pt x="86" y="353"/>
                  </a:lnTo>
                  <a:lnTo>
                    <a:pt x="86" y="351"/>
                  </a:lnTo>
                  <a:lnTo>
                    <a:pt x="84" y="349"/>
                  </a:lnTo>
                  <a:lnTo>
                    <a:pt x="84" y="349"/>
                  </a:lnTo>
                  <a:lnTo>
                    <a:pt x="84" y="349"/>
                  </a:lnTo>
                  <a:lnTo>
                    <a:pt x="84" y="347"/>
                  </a:lnTo>
                  <a:lnTo>
                    <a:pt x="84" y="347"/>
                  </a:lnTo>
                  <a:lnTo>
                    <a:pt x="82" y="345"/>
                  </a:lnTo>
                  <a:lnTo>
                    <a:pt x="84" y="345"/>
                  </a:lnTo>
                  <a:lnTo>
                    <a:pt x="84" y="345"/>
                  </a:lnTo>
                  <a:lnTo>
                    <a:pt x="84" y="343"/>
                  </a:lnTo>
                  <a:lnTo>
                    <a:pt x="84" y="343"/>
                  </a:lnTo>
                  <a:lnTo>
                    <a:pt x="86" y="343"/>
                  </a:lnTo>
                  <a:lnTo>
                    <a:pt x="86" y="343"/>
                  </a:lnTo>
                  <a:lnTo>
                    <a:pt x="86" y="340"/>
                  </a:lnTo>
                  <a:lnTo>
                    <a:pt x="88" y="340"/>
                  </a:lnTo>
                  <a:lnTo>
                    <a:pt x="88" y="338"/>
                  </a:lnTo>
                  <a:lnTo>
                    <a:pt x="88" y="338"/>
                  </a:lnTo>
                  <a:lnTo>
                    <a:pt x="88" y="338"/>
                  </a:lnTo>
                  <a:lnTo>
                    <a:pt x="88" y="338"/>
                  </a:lnTo>
                  <a:lnTo>
                    <a:pt x="90" y="338"/>
                  </a:lnTo>
                  <a:lnTo>
                    <a:pt x="90" y="338"/>
                  </a:lnTo>
                  <a:lnTo>
                    <a:pt x="92" y="338"/>
                  </a:lnTo>
                  <a:lnTo>
                    <a:pt x="94" y="338"/>
                  </a:lnTo>
                  <a:lnTo>
                    <a:pt x="94" y="338"/>
                  </a:lnTo>
                  <a:lnTo>
                    <a:pt x="94" y="338"/>
                  </a:lnTo>
                  <a:lnTo>
                    <a:pt x="96" y="336"/>
                  </a:lnTo>
                  <a:lnTo>
                    <a:pt x="96" y="336"/>
                  </a:lnTo>
                  <a:lnTo>
                    <a:pt x="96" y="334"/>
                  </a:lnTo>
                  <a:lnTo>
                    <a:pt x="96" y="334"/>
                  </a:lnTo>
                  <a:lnTo>
                    <a:pt x="96" y="332"/>
                  </a:lnTo>
                  <a:lnTo>
                    <a:pt x="96" y="330"/>
                  </a:lnTo>
                  <a:lnTo>
                    <a:pt x="96" y="330"/>
                  </a:lnTo>
                  <a:lnTo>
                    <a:pt x="96" y="330"/>
                  </a:lnTo>
                  <a:lnTo>
                    <a:pt x="96" y="330"/>
                  </a:lnTo>
                  <a:lnTo>
                    <a:pt x="96" y="328"/>
                  </a:lnTo>
                  <a:lnTo>
                    <a:pt x="96" y="328"/>
                  </a:lnTo>
                  <a:lnTo>
                    <a:pt x="96" y="326"/>
                  </a:lnTo>
                  <a:lnTo>
                    <a:pt x="98" y="326"/>
                  </a:lnTo>
                  <a:lnTo>
                    <a:pt x="98" y="326"/>
                  </a:lnTo>
                  <a:lnTo>
                    <a:pt x="96" y="324"/>
                  </a:lnTo>
                  <a:lnTo>
                    <a:pt x="96" y="324"/>
                  </a:lnTo>
                  <a:lnTo>
                    <a:pt x="94" y="324"/>
                  </a:lnTo>
                  <a:lnTo>
                    <a:pt x="92" y="322"/>
                  </a:lnTo>
                  <a:lnTo>
                    <a:pt x="92" y="322"/>
                  </a:lnTo>
                  <a:lnTo>
                    <a:pt x="92" y="322"/>
                  </a:lnTo>
                  <a:lnTo>
                    <a:pt x="92" y="320"/>
                  </a:lnTo>
                  <a:lnTo>
                    <a:pt x="92" y="320"/>
                  </a:lnTo>
                  <a:lnTo>
                    <a:pt x="92" y="320"/>
                  </a:lnTo>
                  <a:lnTo>
                    <a:pt x="92" y="318"/>
                  </a:lnTo>
                  <a:lnTo>
                    <a:pt x="92" y="318"/>
                  </a:lnTo>
                  <a:lnTo>
                    <a:pt x="92" y="318"/>
                  </a:lnTo>
                  <a:lnTo>
                    <a:pt x="92" y="316"/>
                  </a:lnTo>
                  <a:lnTo>
                    <a:pt x="92" y="316"/>
                  </a:lnTo>
                  <a:lnTo>
                    <a:pt x="94" y="314"/>
                  </a:lnTo>
                  <a:lnTo>
                    <a:pt x="94" y="314"/>
                  </a:lnTo>
                  <a:lnTo>
                    <a:pt x="94" y="314"/>
                  </a:lnTo>
                  <a:lnTo>
                    <a:pt x="94" y="312"/>
                  </a:lnTo>
                  <a:lnTo>
                    <a:pt x="94" y="312"/>
                  </a:lnTo>
                  <a:lnTo>
                    <a:pt x="94" y="312"/>
                  </a:lnTo>
                  <a:lnTo>
                    <a:pt x="94" y="310"/>
                  </a:lnTo>
                  <a:lnTo>
                    <a:pt x="92" y="308"/>
                  </a:lnTo>
                  <a:lnTo>
                    <a:pt x="92" y="306"/>
                  </a:lnTo>
                  <a:lnTo>
                    <a:pt x="92" y="306"/>
                  </a:lnTo>
                  <a:lnTo>
                    <a:pt x="92" y="306"/>
                  </a:lnTo>
                  <a:lnTo>
                    <a:pt x="92" y="306"/>
                  </a:lnTo>
                  <a:lnTo>
                    <a:pt x="92" y="306"/>
                  </a:lnTo>
                  <a:lnTo>
                    <a:pt x="92" y="304"/>
                  </a:lnTo>
                  <a:lnTo>
                    <a:pt x="94" y="304"/>
                  </a:lnTo>
                  <a:lnTo>
                    <a:pt x="96" y="304"/>
                  </a:lnTo>
                  <a:lnTo>
                    <a:pt x="96" y="304"/>
                  </a:lnTo>
                  <a:lnTo>
                    <a:pt x="96" y="304"/>
                  </a:lnTo>
                  <a:lnTo>
                    <a:pt x="98" y="304"/>
                  </a:lnTo>
                  <a:lnTo>
                    <a:pt x="98" y="304"/>
                  </a:lnTo>
                  <a:lnTo>
                    <a:pt x="98" y="304"/>
                  </a:lnTo>
                  <a:lnTo>
                    <a:pt x="98" y="302"/>
                  </a:lnTo>
                  <a:lnTo>
                    <a:pt x="98" y="302"/>
                  </a:lnTo>
                  <a:lnTo>
                    <a:pt x="98" y="299"/>
                  </a:lnTo>
                  <a:lnTo>
                    <a:pt x="98" y="299"/>
                  </a:lnTo>
                  <a:lnTo>
                    <a:pt x="98" y="297"/>
                  </a:lnTo>
                  <a:lnTo>
                    <a:pt x="98" y="297"/>
                  </a:lnTo>
                  <a:lnTo>
                    <a:pt x="96" y="295"/>
                  </a:lnTo>
                  <a:lnTo>
                    <a:pt x="96" y="295"/>
                  </a:lnTo>
                  <a:lnTo>
                    <a:pt x="96" y="295"/>
                  </a:lnTo>
                  <a:lnTo>
                    <a:pt x="98" y="295"/>
                  </a:lnTo>
                  <a:lnTo>
                    <a:pt x="98" y="293"/>
                  </a:lnTo>
                  <a:lnTo>
                    <a:pt x="98" y="293"/>
                  </a:lnTo>
                  <a:lnTo>
                    <a:pt x="98" y="293"/>
                  </a:lnTo>
                  <a:lnTo>
                    <a:pt x="98" y="293"/>
                  </a:lnTo>
                  <a:lnTo>
                    <a:pt x="98" y="291"/>
                  </a:lnTo>
                  <a:lnTo>
                    <a:pt x="98" y="291"/>
                  </a:lnTo>
                  <a:lnTo>
                    <a:pt x="100" y="289"/>
                  </a:lnTo>
                  <a:lnTo>
                    <a:pt x="102" y="287"/>
                  </a:lnTo>
                  <a:lnTo>
                    <a:pt x="102" y="287"/>
                  </a:lnTo>
                  <a:lnTo>
                    <a:pt x="102" y="287"/>
                  </a:lnTo>
                  <a:lnTo>
                    <a:pt x="102" y="287"/>
                  </a:lnTo>
                  <a:lnTo>
                    <a:pt x="102" y="285"/>
                  </a:lnTo>
                  <a:lnTo>
                    <a:pt x="102" y="283"/>
                  </a:lnTo>
                  <a:lnTo>
                    <a:pt x="102" y="283"/>
                  </a:lnTo>
                  <a:lnTo>
                    <a:pt x="102" y="281"/>
                  </a:lnTo>
                  <a:lnTo>
                    <a:pt x="106" y="279"/>
                  </a:lnTo>
                  <a:lnTo>
                    <a:pt x="106" y="277"/>
                  </a:lnTo>
                  <a:lnTo>
                    <a:pt x="106" y="277"/>
                  </a:lnTo>
                  <a:lnTo>
                    <a:pt x="106" y="277"/>
                  </a:lnTo>
                  <a:lnTo>
                    <a:pt x="106" y="275"/>
                  </a:lnTo>
                  <a:lnTo>
                    <a:pt x="106" y="275"/>
                  </a:lnTo>
                  <a:lnTo>
                    <a:pt x="106" y="275"/>
                  </a:lnTo>
                  <a:lnTo>
                    <a:pt x="106" y="275"/>
                  </a:lnTo>
                  <a:lnTo>
                    <a:pt x="104" y="273"/>
                  </a:lnTo>
                  <a:lnTo>
                    <a:pt x="104" y="273"/>
                  </a:lnTo>
                  <a:lnTo>
                    <a:pt x="104" y="273"/>
                  </a:lnTo>
                  <a:lnTo>
                    <a:pt x="104" y="273"/>
                  </a:lnTo>
                  <a:lnTo>
                    <a:pt x="104" y="271"/>
                  </a:lnTo>
                  <a:lnTo>
                    <a:pt x="104" y="271"/>
                  </a:lnTo>
                  <a:lnTo>
                    <a:pt x="104" y="271"/>
                  </a:lnTo>
                  <a:lnTo>
                    <a:pt x="108" y="271"/>
                  </a:lnTo>
                  <a:lnTo>
                    <a:pt x="108" y="271"/>
                  </a:lnTo>
                  <a:lnTo>
                    <a:pt x="108" y="271"/>
                  </a:lnTo>
                  <a:lnTo>
                    <a:pt x="108" y="271"/>
                  </a:lnTo>
                  <a:lnTo>
                    <a:pt x="108" y="269"/>
                  </a:lnTo>
                  <a:lnTo>
                    <a:pt x="110" y="269"/>
                  </a:lnTo>
                  <a:lnTo>
                    <a:pt x="108" y="269"/>
                  </a:lnTo>
                  <a:lnTo>
                    <a:pt x="108" y="269"/>
                  </a:lnTo>
                  <a:lnTo>
                    <a:pt x="108" y="267"/>
                  </a:lnTo>
                  <a:lnTo>
                    <a:pt x="108" y="267"/>
                  </a:lnTo>
                  <a:lnTo>
                    <a:pt x="108" y="267"/>
                  </a:lnTo>
                  <a:lnTo>
                    <a:pt x="108" y="267"/>
                  </a:lnTo>
                  <a:lnTo>
                    <a:pt x="110" y="265"/>
                  </a:lnTo>
                  <a:lnTo>
                    <a:pt x="110" y="265"/>
                  </a:lnTo>
                  <a:lnTo>
                    <a:pt x="110" y="265"/>
                  </a:lnTo>
                  <a:lnTo>
                    <a:pt x="110" y="263"/>
                  </a:lnTo>
                  <a:lnTo>
                    <a:pt x="110" y="263"/>
                  </a:lnTo>
                  <a:lnTo>
                    <a:pt x="110" y="263"/>
                  </a:lnTo>
                  <a:lnTo>
                    <a:pt x="110" y="263"/>
                  </a:lnTo>
                  <a:lnTo>
                    <a:pt x="110" y="261"/>
                  </a:lnTo>
                  <a:lnTo>
                    <a:pt x="112" y="261"/>
                  </a:lnTo>
                  <a:lnTo>
                    <a:pt x="112" y="259"/>
                  </a:lnTo>
                  <a:lnTo>
                    <a:pt x="112" y="256"/>
                  </a:lnTo>
                  <a:lnTo>
                    <a:pt x="112" y="256"/>
                  </a:lnTo>
                  <a:lnTo>
                    <a:pt x="112" y="256"/>
                  </a:lnTo>
                  <a:lnTo>
                    <a:pt x="112" y="254"/>
                  </a:lnTo>
                  <a:lnTo>
                    <a:pt x="112" y="254"/>
                  </a:lnTo>
                  <a:lnTo>
                    <a:pt x="110" y="254"/>
                  </a:lnTo>
                  <a:lnTo>
                    <a:pt x="110" y="254"/>
                  </a:lnTo>
                  <a:lnTo>
                    <a:pt x="110" y="254"/>
                  </a:lnTo>
                  <a:lnTo>
                    <a:pt x="104" y="254"/>
                  </a:lnTo>
                  <a:lnTo>
                    <a:pt x="104" y="254"/>
                  </a:lnTo>
                  <a:lnTo>
                    <a:pt x="102" y="256"/>
                  </a:lnTo>
                  <a:lnTo>
                    <a:pt x="102" y="256"/>
                  </a:lnTo>
                  <a:lnTo>
                    <a:pt x="100" y="256"/>
                  </a:lnTo>
                  <a:lnTo>
                    <a:pt x="100" y="256"/>
                  </a:lnTo>
                  <a:lnTo>
                    <a:pt x="100" y="256"/>
                  </a:lnTo>
                  <a:lnTo>
                    <a:pt x="98" y="254"/>
                  </a:lnTo>
                  <a:lnTo>
                    <a:pt x="98" y="254"/>
                  </a:lnTo>
                  <a:lnTo>
                    <a:pt x="98" y="254"/>
                  </a:lnTo>
                  <a:lnTo>
                    <a:pt x="96" y="256"/>
                  </a:lnTo>
                  <a:lnTo>
                    <a:pt x="94" y="256"/>
                  </a:lnTo>
                  <a:lnTo>
                    <a:pt x="94" y="256"/>
                  </a:lnTo>
                  <a:lnTo>
                    <a:pt x="92" y="254"/>
                  </a:lnTo>
                  <a:lnTo>
                    <a:pt x="92" y="254"/>
                  </a:lnTo>
                  <a:lnTo>
                    <a:pt x="90" y="252"/>
                  </a:lnTo>
                  <a:lnTo>
                    <a:pt x="88" y="252"/>
                  </a:lnTo>
                  <a:lnTo>
                    <a:pt x="88" y="252"/>
                  </a:lnTo>
                  <a:lnTo>
                    <a:pt x="88" y="250"/>
                  </a:lnTo>
                  <a:lnTo>
                    <a:pt x="88" y="250"/>
                  </a:lnTo>
                  <a:lnTo>
                    <a:pt x="88" y="250"/>
                  </a:lnTo>
                  <a:lnTo>
                    <a:pt x="88" y="250"/>
                  </a:lnTo>
                  <a:lnTo>
                    <a:pt x="90" y="248"/>
                  </a:lnTo>
                  <a:lnTo>
                    <a:pt x="90" y="248"/>
                  </a:lnTo>
                  <a:lnTo>
                    <a:pt x="90" y="246"/>
                  </a:lnTo>
                  <a:lnTo>
                    <a:pt x="90" y="246"/>
                  </a:lnTo>
                  <a:lnTo>
                    <a:pt x="90" y="246"/>
                  </a:lnTo>
                  <a:lnTo>
                    <a:pt x="88" y="244"/>
                  </a:lnTo>
                  <a:lnTo>
                    <a:pt x="86" y="244"/>
                  </a:lnTo>
                  <a:lnTo>
                    <a:pt x="86" y="244"/>
                  </a:lnTo>
                  <a:lnTo>
                    <a:pt x="86" y="244"/>
                  </a:lnTo>
                  <a:lnTo>
                    <a:pt x="86" y="244"/>
                  </a:lnTo>
                  <a:lnTo>
                    <a:pt x="84" y="244"/>
                  </a:lnTo>
                  <a:lnTo>
                    <a:pt x="84" y="244"/>
                  </a:lnTo>
                  <a:lnTo>
                    <a:pt x="82" y="246"/>
                  </a:lnTo>
                  <a:lnTo>
                    <a:pt x="80" y="246"/>
                  </a:lnTo>
                  <a:lnTo>
                    <a:pt x="80" y="246"/>
                  </a:lnTo>
                  <a:lnTo>
                    <a:pt x="80" y="246"/>
                  </a:lnTo>
                  <a:lnTo>
                    <a:pt x="80" y="246"/>
                  </a:lnTo>
                  <a:lnTo>
                    <a:pt x="80" y="244"/>
                  </a:lnTo>
                  <a:lnTo>
                    <a:pt x="80" y="244"/>
                  </a:lnTo>
                  <a:lnTo>
                    <a:pt x="80" y="242"/>
                  </a:lnTo>
                  <a:lnTo>
                    <a:pt x="80" y="242"/>
                  </a:lnTo>
                  <a:lnTo>
                    <a:pt x="80" y="240"/>
                  </a:lnTo>
                  <a:lnTo>
                    <a:pt x="80" y="240"/>
                  </a:lnTo>
                  <a:lnTo>
                    <a:pt x="80" y="240"/>
                  </a:lnTo>
                  <a:lnTo>
                    <a:pt x="80" y="240"/>
                  </a:lnTo>
                  <a:lnTo>
                    <a:pt x="78" y="238"/>
                  </a:lnTo>
                  <a:lnTo>
                    <a:pt x="76" y="238"/>
                  </a:lnTo>
                  <a:lnTo>
                    <a:pt x="76" y="236"/>
                  </a:lnTo>
                  <a:lnTo>
                    <a:pt x="74" y="236"/>
                  </a:lnTo>
                  <a:lnTo>
                    <a:pt x="74" y="234"/>
                  </a:lnTo>
                  <a:lnTo>
                    <a:pt x="72" y="234"/>
                  </a:lnTo>
                  <a:lnTo>
                    <a:pt x="69" y="232"/>
                  </a:lnTo>
                  <a:lnTo>
                    <a:pt x="69" y="232"/>
                  </a:lnTo>
                  <a:lnTo>
                    <a:pt x="69" y="230"/>
                  </a:lnTo>
                  <a:lnTo>
                    <a:pt x="69" y="230"/>
                  </a:lnTo>
                  <a:lnTo>
                    <a:pt x="69" y="228"/>
                  </a:lnTo>
                  <a:lnTo>
                    <a:pt x="69" y="226"/>
                  </a:lnTo>
                  <a:lnTo>
                    <a:pt x="69" y="226"/>
                  </a:lnTo>
                  <a:lnTo>
                    <a:pt x="69" y="226"/>
                  </a:lnTo>
                  <a:lnTo>
                    <a:pt x="69" y="224"/>
                  </a:lnTo>
                  <a:lnTo>
                    <a:pt x="69" y="224"/>
                  </a:lnTo>
                  <a:lnTo>
                    <a:pt x="69" y="224"/>
                  </a:lnTo>
                  <a:lnTo>
                    <a:pt x="69" y="224"/>
                  </a:lnTo>
                  <a:lnTo>
                    <a:pt x="67" y="222"/>
                  </a:lnTo>
                  <a:lnTo>
                    <a:pt x="67" y="222"/>
                  </a:lnTo>
                  <a:lnTo>
                    <a:pt x="67" y="220"/>
                  </a:lnTo>
                  <a:lnTo>
                    <a:pt x="65" y="218"/>
                  </a:lnTo>
                  <a:lnTo>
                    <a:pt x="65" y="218"/>
                  </a:lnTo>
                  <a:lnTo>
                    <a:pt x="65" y="215"/>
                  </a:lnTo>
                  <a:lnTo>
                    <a:pt x="63" y="215"/>
                  </a:lnTo>
                  <a:lnTo>
                    <a:pt x="61" y="215"/>
                  </a:lnTo>
                  <a:lnTo>
                    <a:pt x="61" y="215"/>
                  </a:lnTo>
                  <a:lnTo>
                    <a:pt x="61" y="213"/>
                  </a:lnTo>
                  <a:lnTo>
                    <a:pt x="61" y="213"/>
                  </a:lnTo>
                  <a:lnTo>
                    <a:pt x="61" y="213"/>
                  </a:lnTo>
                  <a:lnTo>
                    <a:pt x="61" y="211"/>
                  </a:lnTo>
                  <a:lnTo>
                    <a:pt x="61" y="211"/>
                  </a:lnTo>
                  <a:lnTo>
                    <a:pt x="55" y="203"/>
                  </a:lnTo>
                  <a:lnTo>
                    <a:pt x="53" y="201"/>
                  </a:lnTo>
                  <a:lnTo>
                    <a:pt x="53" y="197"/>
                  </a:lnTo>
                  <a:lnTo>
                    <a:pt x="51" y="197"/>
                  </a:lnTo>
                  <a:lnTo>
                    <a:pt x="49" y="195"/>
                  </a:lnTo>
                  <a:lnTo>
                    <a:pt x="49" y="195"/>
                  </a:lnTo>
                  <a:lnTo>
                    <a:pt x="49" y="193"/>
                  </a:lnTo>
                  <a:lnTo>
                    <a:pt x="49" y="193"/>
                  </a:lnTo>
                  <a:lnTo>
                    <a:pt x="47" y="193"/>
                  </a:lnTo>
                  <a:lnTo>
                    <a:pt x="47" y="193"/>
                  </a:lnTo>
                  <a:lnTo>
                    <a:pt x="47" y="191"/>
                  </a:lnTo>
                  <a:lnTo>
                    <a:pt x="47" y="191"/>
                  </a:lnTo>
                  <a:lnTo>
                    <a:pt x="47" y="189"/>
                  </a:lnTo>
                  <a:lnTo>
                    <a:pt x="47" y="189"/>
                  </a:lnTo>
                  <a:lnTo>
                    <a:pt x="45" y="189"/>
                  </a:lnTo>
                  <a:lnTo>
                    <a:pt x="45" y="189"/>
                  </a:lnTo>
                  <a:lnTo>
                    <a:pt x="45" y="187"/>
                  </a:lnTo>
                  <a:lnTo>
                    <a:pt x="45" y="187"/>
                  </a:lnTo>
                  <a:lnTo>
                    <a:pt x="43" y="185"/>
                  </a:lnTo>
                  <a:lnTo>
                    <a:pt x="43" y="185"/>
                  </a:lnTo>
                  <a:lnTo>
                    <a:pt x="43" y="183"/>
                  </a:lnTo>
                  <a:lnTo>
                    <a:pt x="37" y="181"/>
                  </a:lnTo>
                  <a:lnTo>
                    <a:pt x="33" y="179"/>
                  </a:lnTo>
                  <a:lnTo>
                    <a:pt x="31" y="179"/>
                  </a:lnTo>
                  <a:lnTo>
                    <a:pt x="31" y="179"/>
                  </a:lnTo>
                  <a:lnTo>
                    <a:pt x="31" y="177"/>
                  </a:lnTo>
                  <a:lnTo>
                    <a:pt x="31" y="177"/>
                  </a:lnTo>
                  <a:lnTo>
                    <a:pt x="29" y="174"/>
                  </a:lnTo>
                  <a:lnTo>
                    <a:pt x="29" y="172"/>
                  </a:lnTo>
                  <a:lnTo>
                    <a:pt x="26" y="168"/>
                  </a:lnTo>
                  <a:lnTo>
                    <a:pt x="26" y="168"/>
                  </a:lnTo>
                  <a:lnTo>
                    <a:pt x="20" y="164"/>
                  </a:lnTo>
                  <a:lnTo>
                    <a:pt x="18" y="162"/>
                  </a:lnTo>
                  <a:lnTo>
                    <a:pt x="16" y="162"/>
                  </a:lnTo>
                  <a:lnTo>
                    <a:pt x="16" y="162"/>
                  </a:lnTo>
                  <a:lnTo>
                    <a:pt x="16" y="160"/>
                  </a:lnTo>
                  <a:lnTo>
                    <a:pt x="16" y="160"/>
                  </a:lnTo>
                  <a:lnTo>
                    <a:pt x="16" y="160"/>
                  </a:lnTo>
                  <a:lnTo>
                    <a:pt x="16" y="160"/>
                  </a:lnTo>
                  <a:lnTo>
                    <a:pt x="16" y="160"/>
                  </a:lnTo>
                  <a:lnTo>
                    <a:pt x="18" y="160"/>
                  </a:lnTo>
                  <a:lnTo>
                    <a:pt x="20" y="160"/>
                  </a:lnTo>
                  <a:lnTo>
                    <a:pt x="22" y="160"/>
                  </a:lnTo>
                  <a:lnTo>
                    <a:pt x="22" y="160"/>
                  </a:lnTo>
                  <a:lnTo>
                    <a:pt x="22" y="160"/>
                  </a:lnTo>
                  <a:lnTo>
                    <a:pt x="22" y="160"/>
                  </a:lnTo>
                  <a:lnTo>
                    <a:pt x="22" y="158"/>
                  </a:lnTo>
                  <a:lnTo>
                    <a:pt x="22" y="158"/>
                  </a:lnTo>
                  <a:lnTo>
                    <a:pt x="22" y="158"/>
                  </a:lnTo>
                  <a:lnTo>
                    <a:pt x="20" y="156"/>
                  </a:lnTo>
                  <a:lnTo>
                    <a:pt x="20" y="156"/>
                  </a:lnTo>
                  <a:lnTo>
                    <a:pt x="20" y="156"/>
                  </a:lnTo>
                  <a:lnTo>
                    <a:pt x="20" y="154"/>
                  </a:lnTo>
                  <a:lnTo>
                    <a:pt x="20" y="152"/>
                  </a:lnTo>
                  <a:lnTo>
                    <a:pt x="20" y="152"/>
                  </a:lnTo>
                  <a:lnTo>
                    <a:pt x="18" y="150"/>
                  </a:lnTo>
                  <a:lnTo>
                    <a:pt x="16" y="150"/>
                  </a:lnTo>
                  <a:lnTo>
                    <a:pt x="16" y="150"/>
                  </a:lnTo>
                  <a:lnTo>
                    <a:pt x="18" y="150"/>
                  </a:lnTo>
                  <a:lnTo>
                    <a:pt x="18" y="148"/>
                  </a:lnTo>
                  <a:lnTo>
                    <a:pt x="20" y="148"/>
                  </a:lnTo>
                  <a:lnTo>
                    <a:pt x="20" y="148"/>
                  </a:lnTo>
                  <a:lnTo>
                    <a:pt x="20" y="148"/>
                  </a:lnTo>
                  <a:lnTo>
                    <a:pt x="20" y="148"/>
                  </a:lnTo>
                  <a:lnTo>
                    <a:pt x="22" y="146"/>
                  </a:lnTo>
                  <a:lnTo>
                    <a:pt x="22" y="146"/>
                  </a:lnTo>
                  <a:lnTo>
                    <a:pt x="22" y="144"/>
                  </a:lnTo>
                  <a:lnTo>
                    <a:pt x="22" y="144"/>
                  </a:lnTo>
                  <a:lnTo>
                    <a:pt x="20" y="140"/>
                  </a:lnTo>
                  <a:lnTo>
                    <a:pt x="20" y="140"/>
                  </a:lnTo>
                  <a:lnTo>
                    <a:pt x="20" y="138"/>
                  </a:lnTo>
                  <a:lnTo>
                    <a:pt x="20" y="136"/>
                  </a:lnTo>
                  <a:lnTo>
                    <a:pt x="20" y="136"/>
                  </a:lnTo>
                  <a:lnTo>
                    <a:pt x="20" y="133"/>
                  </a:lnTo>
                  <a:lnTo>
                    <a:pt x="20" y="133"/>
                  </a:lnTo>
                  <a:lnTo>
                    <a:pt x="18" y="131"/>
                  </a:lnTo>
                  <a:lnTo>
                    <a:pt x="16" y="131"/>
                  </a:lnTo>
                  <a:lnTo>
                    <a:pt x="16" y="131"/>
                  </a:lnTo>
                  <a:lnTo>
                    <a:pt x="16" y="129"/>
                  </a:lnTo>
                  <a:lnTo>
                    <a:pt x="16" y="129"/>
                  </a:lnTo>
                  <a:lnTo>
                    <a:pt x="16" y="129"/>
                  </a:lnTo>
                  <a:lnTo>
                    <a:pt x="14" y="127"/>
                  </a:lnTo>
                  <a:lnTo>
                    <a:pt x="14" y="127"/>
                  </a:lnTo>
                  <a:lnTo>
                    <a:pt x="14" y="125"/>
                  </a:lnTo>
                  <a:lnTo>
                    <a:pt x="12" y="121"/>
                  </a:lnTo>
                  <a:lnTo>
                    <a:pt x="12" y="119"/>
                  </a:lnTo>
                  <a:lnTo>
                    <a:pt x="12" y="119"/>
                  </a:lnTo>
                  <a:lnTo>
                    <a:pt x="12" y="119"/>
                  </a:lnTo>
                  <a:lnTo>
                    <a:pt x="10" y="117"/>
                  </a:lnTo>
                  <a:lnTo>
                    <a:pt x="10" y="117"/>
                  </a:lnTo>
                  <a:lnTo>
                    <a:pt x="8" y="115"/>
                  </a:lnTo>
                  <a:lnTo>
                    <a:pt x="8" y="115"/>
                  </a:lnTo>
                  <a:lnTo>
                    <a:pt x="8" y="113"/>
                  </a:lnTo>
                  <a:lnTo>
                    <a:pt x="6" y="113"/>
                  </a:lnTo>
                  <a:lnTo>
                    <a:pt x="6" y="113"/>
                  </a:lnTo>
                  <a:lnTo>
                    <a:pt x="6" y="111"/>
                  </a:lnTo>
                  <a:lnTo>
                    <a:pt x="4" y="109"/>
                  </a:lnTo>
                  <a:lnTo>
                    <a:pt x="4" y="107"/>
                  </a:lnTo>
                  <a:lnTo>
                    <a:pt x="2" y="105"/>
                  </a:lnTo>
                  <a:lnTo>
                    <a:pt x="0" y="103"/>
                  </a:lnTo>
                  <a:lnTo>
                    <a:pt x="0" y="101"/>
                  </a:lnTo>
                  <a:lnTo>
                    <a:pt x="0" y="101"/>
                  </a:lnTo>
                  <a:lnTo>
                    <a:pt x="0" y="97"/>
                  </a:lnTo>
                  <a:lnTo>
                    <a:pt x="2" y="84"/>
                  </a:lnTo>
                  <a:lnTo>
                    <a:pt x="4" y="72"/>
                  </a:lnTo>
                  <a:lnTo>
                    <a:pt x="6" y="60"/>
                  </a:lnTo>
                  <a:lnTo>
                    <a:pt x="8" y="47"/>
                  </a:lnTo>
                  <a:lnTo>
                    <a:pt x="10" y="37"/>
                  </a:lnTo>
                  <a:lnTo>
                    <a:pt x="10" y="25"/>
                  </a:lnTo>
                  <a:lnTo>
                    <a:pt x="12" y="13"/>
                  </a:lnTo>
                  <a:lnTo>
                    <a:pt x="14" y="0"/>
                  </a:lnTo>
                  <a:lnTo>
                    <a:pt x="31" y="2"/>
                  </a:lnTo>
                  <a:lnTo>
                    <a:pt x="47" y="4"/>
                  </a:lnTo>
                  <a:lnTo>
                    <a:pt x="63" y="8"/>
                  </a:lnTo>
                  <a:lnTo>
                    <a:pt x="80" y="11"/>
                  </a:lnTo>
                  <a:lnTo>
                    <a:pt x="96" y="13"/>
                  </a:lnTo>
                  <a:lnTo>
                    <a:pt x="112" y="15"/>
                  </a:lnTo>
                  <a:lnTo>
                    <a:pt x="129" y="17"/>
                  </a:lnTo>
                  <a:lnTo>
                    <a:pt x="145" y="19"/>
                  </a:lnTo>
                  <a:lnTo>
                    <a:pt x="162" y="21"/>
                  </a:lnTo>
                  <a:lnTo>
                    <a:pt x="162" y="21"/>
                  </a:lnTo>
                  <a:lnTo>
                    <a:pt x="178" y="23"/>
                  </a:lnTo>
                  <a:lnTo>
                    <a:pt x="194" y="25"/>
                  </a:lnTo>
                  <a:lnTo>
                    <a:pt x="211" y="27"/>
                  </a:lnTo>
                  <a:lnTo>
                    <a:pt x="227" y="29"/>
                  </a:lnTo>
                  <a:lnTo>
                    <a:pt x="244" y="31"/>
                  </a:lnTo>
                  <a:lnTo>
                    <a:pt x="260" y="33"/>
                  </a:lnTo>
                  <a:lnTo>
                    <a:pt x="276" y="35"/>
                  </a:lnTo>
                  <a:lnTo>
                    <a:pt x="293" y="37"/>
                  </a:lnTo>
                  <a:lnTo>
                    <a:pt x="309" y="39"/>
                  </a:lnTo>
                  <a:lnTo>
                    <a:pt x="325" y="39"/>
                  </a:lnTo>
                  <a:lnTo>
                    <a:pt x="342" y="41"/>
                  </a:lnTo>
                  <a:lnTo>
                    <a:pt x="358" y="43"/>
                  </a:lnTo>
                  <a:lnTo>
                    <a:pt x="375" y="45"/>
                  </a:lnTo>
                  <a:lnTo>
                    <a:pt x="391" y="47"/>
                  </a:lnTo>
                  <a:lnTo>
                    <a:pt x="407" y="49"/>
                  </a:lnTo>
                  <a:lnTo>
                    <a:pt x="424" y="49"/>
                  </a:lnTo>
                  <a:lnTo>
                    <a:pt x="440" y="52"/>
                  </a:lnTo>
                  <a:lnTo>
                    <a:pt x="457" y="54"/>
                  </a:lnTo>
                  <a:lnTo>
                    <a:pt x="467" y="54"/>
                  </a:lnTo>
                  <a:lnTo>
                    <a:pt x="473" y="56"/>
                  </a:lnTo>
                  <a:lnTo>
                    <a:pt x="491" y="56"/>
                  </a:lnTo>
                  <a:lnTo>
                    <a:pt x="508" y="58"/>
                  </a:lnTo>
                  <a:lnTo>
                    <a:pt x="524" y="60"/>
                  </a:lnTo>
                  <a:lnTo>
                    <a:pt x="541" y="60"/>
                  </a:lnTo>
                  <a:lnTo>
                    <a:pt x="557" y="62"/>
                  </a:lnTo>
                  <a:lnTo>
                    <a:pt x="573" y="64"/>
                  </a:lnTo>
                  <a:lnTo>
                    <a:pt x="590" y="64"/>
                  </a:lnTo>
                  <a:lnTo>
                    <a:pt x="606" y="66"/>
                  </a:lnTo>
                  <a:lnTo>
                    <a:pt x="622" y="66"/>
                  </a:lnTo>
                  <a:lnTo>
                    <a:pt x="639" y="68"/>
                  </a:lnTo>
                  <a:lnTo>
                    <a:pt x="655" y="70"/>
                  </a:lnTo>
                  <a:lnTo>
                    <a:pt x="672" y="70"/>
                  </a:lnTo>
                  <a:lnTo>
                    <a:pt x="688" y="72"/>
                  </a:lnTo>
                  <a:lnTo>
                    <a:pt x="704" y="72"/>
                  </a:lnTo>
                  <a:lnTo>
                    <a:pt x="721" y="74"/>
                  </a:lnTo>
                  <a:lnTo>
                    <a:pt x="737" y="74"/>
                  </a:lnTo>
                  <a:lnTo>
                    <a:pt x="756" y="76"/>
                  </a:lnTo>
                  <a:lnTo>
                    <a:pt x="772" y="76"/>
                  </a:lnTo>
                  <a:lnTo>
                    <a:pt x="788" y="76"/>
                  </a:lnTo>
                  <a:lnTo>
                    <a:pt x="805" y="78"/>
                  </a:lnTo>
                  <a:lnTo>
                    <a:pt x="821" y="78"/>
                  </a:lnTo>
                  <a:lnTo>
                    <a:pt x="837" y="80"/>
                  </a:lnTo>
                  <a:lnTo>
                    <a:pt x="854" y="80"/>
                  </a:lnTo>
                  <a:lnTo>
                    <a:pt x="870" y="80"/>
                  </a:lnTo>
                  <a:lnTo>
                    <a:pt x="887" y="82"/>
                  </a:lnTo>
                  <a:lnTo>
                    <a:pt x="903" y="82"/>
                  </a:lnTo>
                  <a:lnTo>
                    <a:pt x="915" y="82"/>
                  </a:lnTo>
                  <a:lnTo>
                    <a:pt x="915" y="103"/>
                  </a:lnTo>
                  <a:lnTo>
                    <a:pt x="913" y="121"/>
                  </a:lnTo>
                  <a:lnTo>
                    <a:pt x="913" y="142"/>
                  </a:lnTo>
                  <a:lnTo>
                    <a:pt x="913" y="160"/>
                  </a:lnTo>
                  <a:lnTo>
                    <a:pt x="911" y="181"/>
                  </a:lnTo>
                  <a:lnTo>
                    <a:pt x="911" y="199"/>
                  </a:lnTo>
                  <a:lnTo>
                    <a:pt x="911" y="220"/>
                  </a:lnTo>
                  <a:lnTo>
                    <a:pt x="911" y="238"/>
                  </a:lnTo>
                  <a:lnTo>
                    <a:pt x="909" y="259"/>
                  </a:lnTo>
                  <a:lnTo>
                    <a:pt x="909" y="279"/>
                  </a:lnTo>
                  <a:lnTo>
                    <a:pt x="909" y="297"/>
                  </a:lnTo>
                  <a:lnTo>
                    <a:pt x="907" y="318"/>
                  </a:lnTo>
                  <a:lnTo>
                    <a:pt x="907" y="338"/>
                  </a:lnTo>
                  <a:lnTo>
                    <a:pt x="907" y="357"/>
                  </a:lnTo>
                  <a:lnTo>
                    <a:pt x="905" y="377"/>
                  </a:lnTo>
                  <a:lnTo>
                    <a:pt x="905" y="398"/>
                  </a:lnTo>
                  <a:lnTo>
                    <a:pt x="905" y="398"/>
                  </a:lnTo>
                  <a:close/>
                </a:path>
              </a:pathLst>
            </a:custGeom>
            <a:solidFill>
              <a:schemeClr val="bg1">
                <a:lumMod val="75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MT</a:t>
              </a:r>
            </a:p>
          </p:txBody>
        </p:sp>
        <p:sp>
          <p:nvSpPr>
            <p:cNvPr id="89" name="Freeform 30">
              <a:extLst>
                <a:ext uri="{FF2B5EF4-FFF2-40B4-BE49-F238E27FC236}">
                  <a16:creationId xmlns:a16="http://schemas.microsoft.com/office/drawing/2014/main" id="{C3D7985F-54F1-738C-9BBE-342D0D537A28}"/>
                </a:ext>
              </a:extLst>
            </p:cNvPr>
            <p:cNvSpPr>
              <a:spLocks noEditPoints="1"/>
            </p:cNvSpPr>
            <p:nvPr/>
          </p:nvSpPr>
          <p:spPr bwMode="auto">
            <a:xfrm>
              <a:off x="3502" y="1603"/>
              <a:ext cx="309" cy="535"/>
            </a:xfrm>
            <a:custGeom>
              <a:avLst/>
              <a:gdLst>
                <a:gd name="T0" fmla="*/ 245 w 309"/>
                <a:gd name="T1" fmla="*/ 522 h 535"/>
                <a:gd name="T2" fmla="*/ 247 w 309"/>
                <a:gd name="T3" fmla="*/ 524 h 535"/>
                <a:gd name="T4" fmla="*/ 247 w 309"/>
                <a:gd name="T5" fmla="*/ 518 h 535"/>
                <a:gd name="T6" fmla="*/ 258 w 309"/>
                <a:gd name="T7" fmla="*/ 522 h 535"/>
                <a:gd name="T8" fmla="*/ 309 w 309"/>
                <a:gd name="T9" fmla="*/ 516 h 535"/>
                <a:gd name="T10" fmla="*/ 299 w 309"/>
                <a:gd name="T11" fmla="*/ 436 h 535"/>
                <a:gd name="T12" fmla="*/ 286 w 309"/>
                <a:gd name="T13" fmla="*/ 346 h 535"/>
                <a:gd name="T14" fmla="*/ 284 w 309"/>
                <a:gd name="T15" fmla="*/ 297 h 535"/>
                <a:gd name="T16" fmla="*/ 284 w 309"/>
                <a:gd name="T17" fmla="*/ 190 h 535"/>
                <a:gd name="T18" fmla="*/ 284 w 309"/>
                <a:gd name="T19" fmla="*/ 65 h 535"/>
                <a:gd name="T20" fmla="*/ 284 w 309"/>
                <a:gd name="T21" fmla="*/ 10 h 535"/>
                <a:gd name="T22" fmla="*/ 249 w 309"/>
                <a:gd name="T23" fmla="*/ 4 h 535"/>
                <a:gd name="T24" fmla="*/ 157 w 309"/>
                <a:gd name="T25" fmla="*/ 12 h 535"/>
                <a:gd name="T26" fmla="*/ 92 w 309"/>
                <a:gd name="T27" fmla="*/ 22 h 535"/>
                <a:gd name="T28" fmla="*/ 77 w 309"/>
                <a:gd name="T29" fmla="*/ 45 h 535"/>
                <a:gd name="T30" fmla="*/ 67 w 309"/>
                <a:gd name="T31" fmla="*/ 55 h 535"/>
                <a:gd name="T32" fmla="*/ 61 w 309"/>
                <a:gd name="T33" fmla="*/ 88 h 535"/>
                <a:gd name="T34" fmla="*/ 55 w 309"/>
                <a:gd name="T35" fmla="*/ 94 h 535"/>
                <a:gd name="T36" fmla="*/ 49 w 309"/>
                <a:gd name="T37" fmla="*/ 98 h 535"/>
                <a:gd name="T38" fmla="*/ 38 w 309"/>
                <a:gd name="T39" fmla="*/ 116 h 535"/>
                <a:gd name="T40" fmla="*/ 32 w 309"/>
                <a:gd name="T41" fmla="*/ 131 h 535"/>
                <a:gd name="T42" fmla="*/ 32 w 309"/>
                <a:gd name="T43" fmla="*/ 141 h 535"/>
                <a:gd name="T44" fmla="*/ 28 w 309"/>
                <a:gd name="T45" fmla="*/ 155 h 535"/>
                <a:gd name="T46" fmla="*/ 18 w 309"/>
                <a:gd name="T47" fmla="*/ 168 h 535"/>
                <a:gd name="T48" fmla="*/ 20 w 309"/>
                <a:gd name="T49" fmla="*/ 178 h 535"/>
                <a:gd name="T50" fmla="*/ 28 w 309"/>
                <a:gd name="T51" fmla="*/ 190 h 535"/>
                <a:gd name="T52" fmla="*/ 30 w 309"/>
                <a:gd name="T53" fmla="*/ 209 h 535"/>
                <a:gd name="T54" fmla="*/ 30 w 309"/>
                <a:gd name="T55" fmla="*/ 225 h 535"/>
                <a:gd name="T56" fmla="*/ 34 w 309"/>
                <a:gd name="T57" fmla="*/ 244 h 535"/>
                <a:gd name="T58" fmla="*/ 34 w 309"/>
                <a:gd name="T59" fmla="*/ 256 h 535"/>
                <a:gd name="T60" fmla="*/ 38 w 309"/>
                <a:gd name="T61" fmla="*/ 272 h 535"/>
                <a:gd name="T62" fmla="*/ 34 w 309"/>
                <a:gd name="T63" fmla="*/ 282 h 535"/>
                <a:gd name="T64" fmla="*/ 38 w 309"/>
                <a:gd name="T65" fmla="*/ 295 h 535"/>
                <a:gd name="T66" fmla="*/ 53 w 309"/>
                <a:gd name="T67" fmla="*/ 309 h 535"/>
                <a:gd name="T68" fmla="*/ 51 w 309"/>
                <a:gd name="T69" fmla="*/ 325 h 535"/>
                <a:gd name="T70" fmla="*/ 47 w 309"/>
                <a:gd name="T71" fmla="*/ 342 h 535"/>
                <a:gd name="T72" fmla="*/ 32 w 309"/>
                <a:gd name="T73" fmla="*/ 360 h 535"/>
                <a:gd name="T74" fmla="*/ 18 w 309"/>
                <a:gd name="T75" fmla="*/ 377 h 535"/>
                <a:gd name="T76" fmla="*/ 10 w 309"/>
                <a:gd name="T77" fmla="*/ 403 h 535"/>
                <a:gd name="T78" fmla="*/ 12 w 309"/>
                <a:gd name="T79" fmla="*/ 418 h 535"/>
                <a:gd name="T80" fmla="*/ 0 w 309"/>
                <a:gd name="T81" fmla="*/ 432 h 535"/>
                <a:gd name="T82" fmla="*/ 4 w 309"/>
                <a:gd name="T83" fmla="*/ 440 h 535"/>
                <a:gd name="T84" fmla="*/ 6 w 309"/>
                <a:gd name="T85" fmla="*/ 459 h 535"/>
                <a:gd name="T86" fmla="*/ 90 w 309"/>
                <a:gd name="T87" fmla="*/ 453 h 535"/>
                <a:gd name="T88" fmla="*/ 172 w 309"/>
                <a:gd name="T89" fmla="*/ 444 h 535"/>
                <a:gd name="T90" fmla="*/ 174 w 309"/>
                <a:gd name="T91" fmla="*/ 467 h 535"/>
                <a:gd name="T92" fmla="*/ 176 w 309"/>
                <a:gd name="T93" fmla="*/ 483 h 535"/>
                <a:gd name="T94" fmla="*/ 190 w 309"/>
                <a:gd name="T95" fmla="*/ 502 h 535"/>
                <a:gd name="T96" fmla="*/ 194 w 309"/>
                <a:gd name="T97" fmla="*/ 518 h 535"/>
                <a:gd name="T98" fmla="*/ 206 w 309"/>
                <a:gd name="T99" fmla="*/ 528 h 535"/>
                <a:gd name="T100" fmla="*/ 213 w 309"/>
                <a:gd name="T101" fmla="*/ 528 h 535"/>
                <a:gd name="T102" fmla="*/ 215 w 309"/>
                <a:gd name="T103" fmla="*/ 520 h 535"/>
                <a:gd name="T104" fmla="*/ 221 w 309"/>
                <a:gd name="T105" fmla="*/ 510 h 535"/>
                <a:gd name="T106" fmla="*/ 229 w 309"/>
                <a:gd name="T107" fmla="*/ 512 h 535"/>
                <a:gd name="T108" fmla="*/ 251 w 309"/>
                <a:gd name="T109" fmla="*/ 504 h 535"/>
                <a:gd name="T110" fmla="*/ 256 w 309"/>
                <a:gd name="T111" fmla="*/ 498 h 535"/>
                <a:gd name="T112" fmla="*/ 290 w 309"/>
                <a:gd name="T113" fmla="*/ 498 h 535"/>
                <a:gd name="T114" fmla="*/ 299 w 309"/>
                <a:gd name="T115" fmla="*/ 504 h 535"/>
                <a:gd name="T116" fmla="*/ 309 w 309"/>
                <a:gd name="T117" fmla="*/ 500 h 535"/>
                <a:gd name="T118" fmla="*/ 282 w 309"/>
                <a:gd name="T119" fmla="*/ 514 h 535"/>
                <a:gd name="T120" fmla="*/ 290 w 309"/>
                <a:gd name="T121" fmla="*/ 51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9" h="535">
                  <a:moveTo>
                    <a:pt x="247" y="518"/>
                  </a:moveTo>
                  <a:lnTo>
                    <a:pt x="247" y="520"/>
                  </a:lnTo>
                  <a:lnTo>
                    <a:pt x="245" y="520"/>
                  </a:lnTo>
                  <a:lnTo>
                    <a:pt x="241" y="520"/>
                  </a:lnTo>
                  <a:lnTo>
                    <a:pt x="241" y="522"/>
                  </a:lnTo>
                  <a:lnTo>
                    <a:pt x="243" y="520"/>
                  </a:lnTo>
                  <a:lnTo>
                    <a:pt x="245" y="520"/>
                  </a:lnTo>
                  <a:lnTo>
                    <a:pt x="245" y="522"/>
                  </a:lnTo>
                  <a:lnTo>
                    <a:pt x="245" y="522"/>
                  </a:lnTo>
                  <a:lnTo>
                    <a:pt x="247" y="522"/>
                  </a:lnTo>
                  <a:lnTo>
                    <a:pt x="247" y="522"/>
                  </a:lnTo>
                  <a:lnTo>
                    <a:pt x="245" y="524"/>
                  </a:lnTo>
                  <a:lnTo>
                    <a:pt x="245" y="524"/>
                  </a:lnTo>
                  <a:lnTo>
                    <a:pt x="245" y="524"/>
                  </a:lnTo>
                  <a:lnTo>
                    <a:pt x="247" y="524"/>
                  </a:lnTo>
                  <a:lnTo>
                    <a:pt x="247" y="524"/>
                  </a:lnTo>
                  <a:lnTo>
                    <a:pt x="247" y="524"/>
                  </a:lnTo>
                  <a:lnTo>
                    <a:pt x="249" y="520"/>
                  </a:lnTo>
                  <a:lnTo>
                    <a:pt x="249" y="520"/>
                  </a:lnTo>
                  <a:lnTo>
                    <a:pt x="249" y="518"/>
                  </a:lnTo>
                  <a:lnTo>
                    <a:pt x="249" y="518"/>
                  </a:lnTo>
                  <a:lnTo>
                    <a:pt x="249" y="518"/>
                  </a:lnTo>
                  <a:lnTo>
                    <a:pt x="249" y="518"/>
                  </a:lnTo>
                  <a:lnTo>
                    <a:pt x="247" y="518"/>
                  </a:lnTo>
                  <a:close/>
                  <a:moveTo>
                    <a:pt x="215" y="532"/>
                  </a:moveTo>
                  <a:lnTo>
                    <a:pt x="215" y="535"/>
                  </a:lnTo>
                  <a:lnTo>
                    <a:pt x="217" y="535"/>
                  </a:lnTo>
                  <a:lnTo>
                    <a:pt x="217" y="532"/>
                  </a:lnTo>
                  <a:lnTo>
                    <a:pt x="217" y="532"/>
                  </a:lnTo>
                  <a:lnTo>
                    <a:pt x="215" y="532"/>
                  </a:lnTo>
                  <a:close/>
                  <a:moveTo>
                    <a:pt x="258" y="522"/>
                  </a:moveTo>
                  <a:lnTo>
                    <a:pt x="258" y="522"/>
                  </a:lnTo>
                  <a:lnTo>
                    <a:pt x="260" y="520"/>
                  </a:lnTo>
                  <a:lnTo>
                    <a:pt x="262" y="520"/>
                  </a:lnTo>
                  <a:lnTo>
                    <a:pt x="260" y="520"/>
                  </a:lnTo>
                  <a:lnTo>
                    <a:pt x="258" y="522"/>
                  </a:lnTo>
                  <a:close/>
                  <a:moveTo>
                    <a:pt x="301" y="516"/>
                  </a:moveTo>
                  <a:lnTo>
                    <a:pt x="305" y="516"/>
                  </a:lnTo>
                  <a:lnTo>
                    <a:pt x="307" y="516"/>
                  </a:lnTo>
                  <a:lnTo>
                    <a:pt x="309" y="516"/>
                  </a:lnTo>
                  <a:lnTo>
                    <a:pt x="301" y="516"/>
                  </a:lnTo>
                  <a:lnTo>
                    <a:pt x="301" y="516"/>
                  </a:lnTo>
                  <a:close/>
                  <a:moveTo>
                    <a:pt x="309" y="498"/>
                  </a:moveTo>
                  <a:lnTo>
                    <a:pt x="305" y="477"/>
                  </a:lnTo>
                  <a:lnTo>
                    <a:pt x="305" y="467"/>
                  </a:lnTo>
                  <a:lnTo>
                    <a:pt x="303" y="457"/>
                  </a:lnTo>
                  <a:lnTo>
                    <a:pt x="301" y="446"/>
                  </a:lnTo>
                  <a:lnTo>
                    <a:pt x="299" y="436"/>
                  </a:lnTo>
                  <a:lnTo>
                    <a:pt x="296" y="428"/>
                  </a:lnTo>
                  <a:lnTo>
                    <a:pt x="296" y="418"/>
                  </a:lnTo>
                  <a:lnTo>
                    <a:pt x="292" y="397"/>
                  </a:lnTo>
                  <a:lnTo>
                    <a:pt x="292" y="387"/>
                  </a:lnTo>
                  <a:lnTo>
                    <a:pt x="290" y="377"/>
                  </a:lnTo>
                  <a:lnTo>
                    <a:pt x="288" y="366"/>
                  </a:lnTo>
                  <a:lnTo>
                    <a:pt x="286" y="356"/>
                  </a:lnTo>
                  <a:lnTo>
                    <a:pt x="286" y="346"/>
                  </a:lnTo>
                  <a:lnTo>
                    <a:pt x="284" y="338"/>
                  </a:lnTo>
                  <a:lnTo>
                    <a:pt x="284" y="336"/>
                  </a:lnTo>
                  <a:lnTo>
                    <a:pt x="284" y="334"/>
                  </a:lnTo>
                  <a:lnTo>
                    <a:pt x="284" y="330"/>
                  </a:lnTo>
                  <a:lnTo>
                    <a:pt x="284" y="323"/>
                  </a:lnTo>
                  <a:lnTo>
                    <a:pt x="284" y="315"/>
                  </a:lnTo>
                  <a:lnTo>
                    <a:pt x="284" y="307"/>
                  </a:lnTo>
                  <a:lnTo>
                    <a:pt x="284" y="297"/>
                  </a:lnTo>
                  <a:lnTo>
                    <a:pt x="284" y="287"/>
                  </a:lnTo>
                  <a:lnTo>
                    <a:pt x="284" y="274"/>
                  </a:lnTo>
                  <a:lnTo>
                    <a:pt x="284" y="262"/>
                  </a:lnTo>
                  <a:lnTo>
                    <a:pt x="284" y="250"/>
                  </a:lnTo>
                  <a:lnTo>
                    <a:pt x="284" y="235"/>
                  </a:lnTo>
                  <a:lnTo>
                    <a:pt x="284" y="221"/>
                  </a:lnTo>
                  <a:lnTo>
                    <a:pt x="284" y="207"/>
                  </a:lnTo>
                  <a:lnTo>
                    <a:pt x="284" y="190"/>
                  </a:lnTo>
                  <a:lnTo>
                    <a:pt x="284" y="162"/>
                  </a:lnTo>
                  <a:lnTo>
                    <a:pt x="284" y="145"/>
                  </a:lnTo>
                  <a:lnTo>
                    <a:pt x="284" y="131"/>
                  </a:lnTo>
                  <a:lnTo>
                    <a:pt x="284" y="116"/>
                  </a:lnTo>
                  <a:lnTo>
                    <a:pt x="284" y="102"/>
                  </a:lnTo>
                  <a:lnTo>
                    <a:pt x="284" y="90"/>
                  </a:lnTo>
                  <a:lnTo>
                    <a:pt x="284" y="78"/>
                  </a:lnTo>
                  <a:lnTo>
                    <a:pt x="284" y="65"/>
                  </a:lnTo>
                  <a:lnTo>
                    <a:pt x="284" y="55"/>
                  </a:lnTo>
                  <a:lnTo>
                    <a:pt x="284" y="45"/>
                  </a:lnTo>
                  <a:lnTo>
                    <a:pt x="284" y="37"/>
                  </a:lnTo>
                  <a:lnTo>
                    <a:pt x="284" y="28"/>
                  </a:lnTo>
                  <a:lnTo>
                    <a:pt x="284" y="18"/>
                  </a:lnTo>
                  <a:lnTo>
                    <a:pt x="284" y="16"/>
                  </a:lnTo>
                  <a:lnTo>
                    <a:pt x="284" y="10"/>
                  </a:lnTo>
                  <a:lnTo>
                    <a:pt x="284" y="10"/>
                  </a:lnTo>
                  <a:lnTo>
                    <a:pt x="284" y="10"/>
                  </a:lnTo>
                  <a:lnTo>
                    <a:pt x="280" y="8"/>
                  </a:lnTo>
                  <a:lnTo>
                    <a:pt x="278" y="4"/>
                  </a:lnTo>
                  <a:lnTo>
                    <a:pt x="276" y="0"/>
                  </a:lnTo>
                  <a:lnTo>
                    <a:pt x="276" y="0"/>
                  </a:lnTo>
                  <a:lnTo>
                    <a:pt x="272" y="0"/>
                  </a:lnTo>
                  <a:lnTo>
                    <a:pt x="260" y="2"/>
                  </a:lnTo>
                  <a:lnTo>
                    <a:pt x="249" y="4"/>
                  </a:lnTo>
                  <a:lnTo>
                    <a:pt x="237" y="4"/>
                  </a:lnTo>
                  <a:lnTo>
                    <a:pt x="227" y="6"/>
                  </a:lnTo>
                  <a:lnTo>
                    <a:pt x="215" y="6"/>
                  </a:lnTo>
                  <a:lnTo>
                    <a:pt x="202" y="8"/>
                  </a:lnTo>
                  <a:lnTo>
                    <a:pt x="192" y="8"/>
                  </a:lnTo>
                  <a:lnTo>
                    <a:pt x="180" y="10"/>
                  </a:lnTo>
                  <a:lnTo>
                    <a:pt x="169" y="12"/>
                  </a:lnTo>
                  <a:lnTo>
                    <a:pt x="157" y="12"/>
                  </a:lnTo>
                  <a:lnTo>
                    <a:pt x="145" y="14"/>
                  </a:lnTo>
                  <a:lnTo>
                    <a:pt x="135" y="14"/>
                  </a:lnTo>
                  <a:lnTo>
                    <a:pt x="122" y="16"/>
                  </a:lnTo>
                  <a:lnTo>
                    <a:pt x="112" y="16"/>
                  </a:lnTo>
                  <a:lnTo>
                    <a:pt x="100" y="18"/>
                  </a:lnTo>
                  <a:lnTo>
                    <a:pt x="88" y="18"/>
                  </a:lnTo>
                  <a:lnTo>
                    <a:pt x="90" y="18"/>
                  </a:lnTo>
                  <a:lnTo>
                    <a:pt x="92" y="22"/>
                  </a:lnTo>
                  <a:lnTo>
                    <a:pt x="92" y="26"/>
                  </a:lnTo>
                  <a:lnTo>
                    <a:pt x="90" y="30"/>
                  </a:lnTo>
                  <a:lnTo>
                    <a:pt x="86" y="32"/>
                  </a:lnTo>
                  <a:lnTo>
                    <a:pt x="75" y="39"/>
                  </a:lnTo>
                  <a:lnTo>
                    <a:pt x="75" y="39"/>
                  </a:lnTo>
                  <a:lnTo>
                    <a:pt x="75" y="41"/>
                  </a:lnTo>
                  <a:lnTo>
                    <a:pt x="77" y="43"/>
                  </a:lnTo>
                  <a:lnTo>
                    <a:pt x="77" y="45"/>
                  </a:lnTo>
                  <a:lnTo>
                    <a:pt x="75" y="47"/>
                  </a:lnTo>
                  <a:lnTo>
                    <a:pt x="75" y="49"/>
                  </a:lnTo>
                  <a:lnTo>
                    <a:pt x="73" y="49"/>
                  </a:lnTo>
                  <a:lnTo>
                    <a:pt x="71" y="49"/>
                  </a:lnTo>
                  <a:lnTo>
                    <a:pt x="69" y="47"/>
                  </a:lnTo>
                  <a:lnTo>
                    <a:pt x="69" y="49"/>
                  </a:lnTo>
                  <a:lnTo>
                    <a:pt x="67" y="51"/>
                  </a:lnTo>
                  <a:lnTo>
                    <a:pt x="67" y="55"/>
                  </a:lnTo>
                  <a:lnTo>
                    <a:pt x="67" y="59"/>
                  </a:lnTo>
                  <a:lnTo>
                    <a:pt x="69" y="65"/>
                  </a:lnTo>
                  <a:lnTo>
                    <a:pt x="69" y="75"/>
                  </a:lnTo>
                  <a:lnTo>
                    <a:pt x="69" y="80"/>
                  </a:lnTo>
                  <a:lnTo>
                    <a:pt x="69" y="82"/>
                  </a:lnTo>
                  <a:lnTo>
                    <a:pt x="65" y="86"/>
                  </a:lnTo>
                  <a:lnTo>
                    <a:pt x="63" y="88"/>
                  </a:lnTo>
                  <a:lnTo>
                    <a:pt x="61" y="88"/>
                  </a:lnTo>
                  <a:lnTo>
                    <a:pt x="57" y="90"/>
                  </a:lnTo>
                  <a:lnTo>
                    <a:pt x="55" y="90"/>
                  </a:lnTo>
                  <a:lnTo>
                    <a:pt x="55" y="90"/>
                  </a:lnTo>
                  <a:lnTo>
                    <a:pt x="53" y="88"/>
                  </a:lnTo>
                  <a:lnTo>
                    <a:pt x="53" y="90"/>
                  </a:lnTo>
                  <a:lnTo>
                    <a:pt x="53" y="90"/>
                  </a:lnTo>
                  <a:lnTo>
                    <a:pt x="55" y="92"/>
                  </a:lnTo>
                  <a:lnTo>
                    <a:pt x="55" y="94"/>
                  </a:lnTo>
                  <a:lnTo>
                    <a:pt x="55" y="94"/>
                  </a:lnTo>
                  <a:lnTo>
                    <a:pt x="55" y="96"/>
                  </a:lnTo>
                  <a:lnTo>
                    <a:pt x="55" y="98"/>
                  </a:lnTo>
                  <a:lnTo>
                    <a:pt x="53" y="98"/>
                  </a:lnTo>
                  <a:lnTo>
                    <a:pt x="53" y="100"/>
                  </a:lnTo>
                  <a:lnTo>
                    <a:pt x="53" y="100"/>
                  </a:lnTo>
                  <a:lnTo>
                    <a:pt x="51" y="98"/>
                  </a:lnTo>
                  <a:lnTo>
                    <a:pt x="49" y="98"/>
                  </a:lnTo>
                  <a:lnTo>
                    <a:pt x="49" y="98"/>
                  </a:lnTo>
                  <a:lnTo>
                    <a:pt x="49" y="100"/>
                  </a:lnTo>
                  <a:lnTo>
                    <a:pt x="47" y="108"/>
                  </a:lnTo>
                  <a:lnTo>
                    <a:pt x="45" y="108"/>
                  </a:lnTo>
                  <a:lnTo>
                    <a:pt x="45" y="110"/>
                  </a:lnTo>
                  <a:lnTo>
                    <a:pt x="38" y="112"/>
                  </a:lnTo>
                  <a:lnTo>
                    <a:pt x="38" y="114"/>
                  </a:lnTo>
                  <a:lnTo>
                    <a:pt x="38" y="116"/>
                  </a:lnTo>
                  <a:lnTo>
                    <a:pt x="45" y="118"/>
                  </a:lnTo>
                  <a:lnTo>
                    <a:pt x="47" y="123"/>
                  </a:lnTo>
                  <a:lnTo>
                    <a:pt x="45" y="125"/>
                  </a:lnTo>
                  <a:lnTo>
                    <a:pt x="43" y="127"/>
                  </a:lnTo>
                  <a:lnTo>
                    <a:pt x="43" y="127"/>
                  </a:lnTo>
                  <a:lnTo>
                    <a:pt x="40" y="127"/>
                  </a:lnTo>
                  <a:lnTo>
                    <a:pt x="38" y="127"/>
                  </a:lnTo>
                  <a:lnTo>
                    <a:pt x="32" y="131"/>
                  </a:lnTo>
                  <a:lnTo>
                    <a:pt x="28" y="133"/>
                  </a:lnTo>
                  <a:lnTo>
                    <a:pt x="28" y="133"/>
                  </a:lnTo>
                  <a:lnTo>
                    <a:pt x="28" y="135"/>
                  </a:lnTo>
                  <a:lnTo>
                    <a:pt x="28" y="135"/>
                  </a:lnTo>
                  <a:lnTo>
                    <a:pt x="30" y="135"/>
                  </a:lnTo>
                  <a:lnTo>
                    <a:pt x="32" y="137"/>
                  </a:lnTo>
                  <a:lnTo>
                    <a:pt x="32" y="139"/>
                  </a:lnTo>
                  <a:lnTo>
                    <a:pt x="32" y="141"/>
                  </a:lnTo>
                  <a:lnTo>
                    <a:pt x="30" y="143"/>
                  </a:lnTo>
                  <a:lnTo>
                    <a:pt x="32" y="147"/>
                  </a:lnTo>
                  <a:lnTo>
                    <a:pt x="32" y="149"/>
                  </a:lnTo>
                  <a:lnTo>
                    <a:pt x="32" y="151"/>
                  </a:lnTo>
                  <a:lnTo>
                    <a:pt x="32" y="153"/>
                  </a:lnTo>
                  <a:lnTo>
                    <a:pt x="32" y="153"/>
                  </a:lnTo>
                  <a:lnTo>
                    <a:pt x="28" y="155"/>
                  </a:lnTo>
                  <a:lnTo>
                    <a:pt x="28" y="155"/>
                  </a:lnTo>
                  <a:lnTo>
                    <a:pt x="28" y="155"/>
                  </a:lnTo>
                  <a:lnTo>
                    <a:pt x="26" y="157"/>
                  </a:lnTo>
                  <a:lnTo>
                    <a:pt x="24" y="157"/>
                  </a:lnTo>
                  <a:lnTo>
                    <a:pt x="24" y="159"/>
                  </a:lnTo>
                  <a:lnTo>
                    <a:pt x="22" y="164"/>
                  </a:lnTo>
                  <a:lnTo>
                    <a:pt x="20" y="166"/>
                  </a:lnTo>
                  <a:lnTo>
                    <a:pt x="18" y="166"/>
                  </a:lnTo>
                  <a:lnTo>
                    <a:pt x="18" y="168"/>
                  </a:lnTo>
                  <a:lnTo>
                    <a:pt x="20" y="170"/>
                  </a:lnTo>
                  <a:lnTo>
                    <a:pt x="24" y="170"/>
                  </a:lnTo>
                  <a:lnTo>
                    <a:pt x="26" y="172"/>
                  </a:lnTo>
                  <a:lnTo>
                    <a:pt x="26" y="174"/>
                  </a:lnTo>
                  <a:lnTo>
                    <a:pt x="26" y="176"/>
                  </a:lnTo>
                  <a:lnTo>
                    <a:pt x="24" y="178"/>
                  </a:lnTo>
                  <a:lnTo>
                    <a:pt x="22" y="178"/>
                  </a:lnTo>
                  <a:lnTo>
                    <a:pt x="20" y="178"/>
                  </a:lnTo>
                  <a:lnTo>
                    <a:pt x="18" y="180"/>
                  </a:lnTo>
                  <a:lnTo>
                    <a:pt x="18" y="182"/>
                  </a:lnTo>
                  <a:lnTo>
                    <a:pt x="20" y="182"/>
                  </a:lnTo>
                  <a:lnTo>
                    <a:pt x="22" y="184"/>
                  </a:lnTo>
                  <a:lnTo>
                    <a:pt x="24" y="184"/>
                  </a:lnTo>
                  <a:lnTo>
                    <a:pt x="26" y="186"/>
                  </a:lnTo>
                  <a:lnTo>
                    <a:pt x="28" y="188"/>
                  </a:lnTo>
                  <a:lnTo>
                    <a:pt x="28" y="190"/>
                  </a:lnTo>
                  <a:lnTo>
                    <a:pt x="30" y="192"/>
                  </a:lnTo>
                  <a:lnTo>
                    <a:pt x="30" y="196"/>
                  </a:lnTo>
                  <a:lnTo>
                    <a:pt x="28" y="198"/>
                  </a:lnTo>
                  <a:lnTo>
                    <a:pt x="26" y="203"/>
                  </a:lnTo>
                  <a:lnTo>
                    <a:pt x="26" y="205"/>
                  </a:lnTo>
                  <a:lnTo>
                    <a:pt x="26" y="207"/>
                  </a:lnTo>
                  <a:lnTo>
                    <a:pt x="28" y="207"/>
                  </a:lnTo>
                  <a:lnTo>
                    <a:pt x="30" y="209"/>
                  </a:lnTo>
                  <a:lnTo>
                    <a:pt x="32" y="209"/>
                  </a:lnTo>
                  <a:lnTo>
                    <a:pt x="32" y="211"/>
                  </a:lnTo>
                  <a:lnTo>
                    <a:pt x="32" y="217"/>
                  </a:lnTo>
                  <a:lnTo>
                    <a:pt x="34" y="219"/>
                  </a:lnTo>
                  <a:lnTo>
                    <a:pt x="34" y="221"/>
                  </a:lnTo>
                  <a:lnTo>
                    <a:pt x="34" y="223"/>
                  </a:lnTo>
                  <a:lnTo>
                    <a:pt x="32" y="225"/>
                  </a:lnTo>
                  <a:lnTo>
                    <a:pt x="30" y="225"/>
                  </a:lnTo>
                  <a:lnTo>
                    <a:pt x="30" y="225"/>
                  </a:lnTo>
                  <a:lnTo>
                    <a:pt x="28" y="227"/>
                  </a:lnTo>
                  <a:lnTo>
                    <a:pt x="30" y="237"/>
                  </a:lnTo>
                  <a:lnTo>
                    <a:pt x="30" y="241"/>
                  </a:lnTo>
                  <a:lnTo>
                    <a:pt x="30" y="244"/>
                  </a:lnTo>
                  <a:lnTo>
                    <a:pt x="32" y="244"/>
                  </a:lnTo>
                  <a:lnTo>
                    <a:pt x="32" y="244"/>
                  </a:lnTo>
                  <a:lnTo>
                    <a:pt x="34" y="244"/>
                  </a:lnTo>
                  <a:lnTo>
                    <a:pt x="36" y="244"/>
                  </a:lnTo>
                  <a:lnTo>
                    <a:pt x="36" y="246"/>
                  </a:lnTo>
                  <a:lnTo>
                    <a:pt x="38" y="248"/>
                  </a:lnTo>
                  <a:lnTo>
                    <a:pt x="38" y="250"/>
                  </a:lnTo>
                  <a:lnTo>
                    <a:pt x="36" y="252"/>
                  </a:lnTo>
                  <a:lnTo>
                    <a:pt x="36" y="254"/>
                  </a:lnTo>
                  <a:lnTo>
                    <a:pt x="34" y="254"/>
                  </a:lnTo>
                  <a:lnTo>
                    <a:pt x="34" y="256"/>
                  </a:lnTo>
                  <a:lnTo>
                    <a:pt x="32" y="260"/>
                  </a:lnTo>
                  <a:lnTo>
                    <a:pt x="32" y="264"/>
                  </a:lnTo>
                  <a:lnTo>
                    <a:pt x="32" y="266"/>
                  </a:lnTo>
                  <a:lnTo>
                    <a:pt x="34" y="266"/>
                  </a:lnTo>
                  <a:lnTo>
                    <a:pt x="38" y="268"/>
                  </a:lnTo>
                  <a:lnTo>
                    <a:pt x="40" y="268"/>
                  </a:lnTo>
                  <a:lnTo>
                    <a:pt x="40" y="270"/>
                  </a:lnTo>
                  <a:lnTo>
                    <a:pt x="38" y="272"/>
                  </a:lnTo>
                  <a:lnTo>
                    <a:pt x="38" y="272"/>
                  </a:lnTo>
                  <a:lnTo>
                    <a:pt x="34" y="274"/>
                  </a:lnTo>
                  <a:lnTo>
                    <a:pt x="32" y="274"/>
                  </a:lnTo>
                  <a:lnTo>
                    <a:pt x="32" y="276"/>
                  </a:lnTo>
                  <a:lnTo>
                    <a:pt x="32" y="278"/>
                  </a:lnTo>
                  <a:lnTo>
                    <a:pt x="32" y="280"/>
                  </a:lnTo>
                  <a:lnTo>
                    <a:pt x="34" y="282"/>
                  </a:lnTo>
                  <a:lnTo>
                    <a:pt x="34" y="282"/>
                  </a:lnTo>
                  <a:lnTo>
                    <a:pt x="36" y="284"/>
                  </a:lnTo>
                  <a:lnTo>
                    <a:pt x="38" y="284"/>
                  </a:lnTo>
                  <a:lnTo>
                    <a:pt x="38" y="287"/>
                  </a:lnTo>
                  <a:lnTo>
                    <a:pt x="40" y="287"/>
                  </a:lnTo>
                  <a:lnTo>
                    <a:pt x="38" y="289"/>
                  </a:lnTo>
                  <a:lnTo>
                    <a:pt x="38" y="291"/>
                  </a:lnTo>
                  <a:lnTo>
                    <a:pt x="38" y="291"/>
                  </a:lnTo>
                  <a:lnTo>
                    <a:pt x="38" y="295"/>
                  </a:lnTo>
                  <a:lnTo>
                    <a:pt x="40" y="297"/>
                  </a:lnTo>
                  <a:lnTo>
                    <a:pt x="40" y="299"/>
                  </a:lnTo>
                  <a:lnTo>
                    <a:pt x="45" y="301"/>
                  </a:lnTo>
                  <a:lnTo>
                    <a:pt x="47" y="301"/>
                  </a:lnTo>
                  <a:lnTo>
                    <a:pt x="49" y="303"/>
                  </a:lnTo>
                  <a:lnTo>
                    <a:pt x="51" y="307"/>
                  </a:lnTo>
                  <a:lnTo>
                    <a:pt x="51" y="307"/>
                  </a:lnTo>
                  <a:lnTo>
                    <a:pt x="53" y="309"/>
                  </a:lnTo>
                  <a:lnTo>
                    <a:pt x="55" y="309"/>
                  </a:lnTo>
                  <a:lnTo>
                    <a:pt x="57" y="309"/>
                  </a:lnTo>
                  <a:lnTo>
                    <a:pt x="59" y="311"/>
                  </a:lnTo>
                  <a:lnTo>
                    <a:pt x="59" y="313"/>
                  </a:lnTo>
                  <a:lnTo>
                    <a:pt x="57" y="313"/>
                  </a:lnTo>
                  <a:lnTo>
                    <a:pt x="57" y="313"/>
                  </a:lnTo>
                  <a:lnTo>
                    <a:pt x="55" y="317"/>
                  </a:lnTo>
                  <a:lnTo>
                    <a:pt x="51" y="325"/>
                  </a:lnTo>
                  <a:lnTo>
                    <a:pt x="49" y="332"/>
                  </a:lnTo>
                  <a:lnTo>
                    <a:pt x="45" y="332"/>
                  </a:lnTo>
                  <a:lnTo>
                    <a:pt x="43" y="332"/>
                  </a:lnTo>
                  <a:lnTo>
                    <a:pt x="43" y="334"/>
                  </a:lnTo>
                  <a:lnTo>
                    <a:pt x="43" y="334"/>
                  </a:lnTo>
                  <a:lnTo>
                    <a:pt x="43" y="334"/>
                  </a:lnTo>
                  <a:lnTo>
                    <a:pt x="47" y="338"/>
                  </a:lnTo>
                  <a:lnTo>
                    <a:pt x="47" y="342"/>
                  </a:lnTo>
                  <a:lnTo>
                    <a:pt x="45" y="346"/>
                  </a:lnTo>
                  <a:lnTo>
                    <a:pt x="43" y="348"/>
                  </a:lnTo>
                  <a:lnTo>
                    <a:pt x="38" y="350"/>
                  </a:lnTo>
                  <a:lnTo>
                    <a:pt x="38" y="350"/>
                  </a:lnTo>
                  <a:lnTo>
                    <a:pt x="38" y="350"/>
                  </a:lnTo>
                  <a:lnTo>
                    <a:pt x="36" y="354"/>
                  </a:lnTo>
                  <a:lnTo>
                    <a:pt x="36" y="354"/>
                  </a:lnTo>
                  <a:lnTo>
                    <a:pt x="32" y="360"/>
                  </a:lnTo>
                  <a:lnTo>
                    <a:pt x="30" y="360"/>
                  </a:lnTo>
                  <a:lnTo>
                    <a:pt x="28" y="362"/>
                  </a:lnTo>
                  <a:lnTo>
                    <a:pt x="26" y="362"/>
                  </a:lnTo>
                  <a:lnTo>
                    <a:pt x="24" y="364"/>
                  </a:lnTo>
                  <a:lnTo>
                    <a:pt x="22" y="366"/>
                  </a:lnTo>
                  <a:lnTo>
                    <a:pt x="22" y="369"/>
                  </a:lnTo>
                  <a:lnTo>
                    <a:pt x="20" y="373"/>
                  </a:lnTo>
                  <a:lnTo>
                    <a:pt x="18" y="377"/>
                  </a:lnTo>
                  <a:lnTo>
                    <a:pt x="18" y="379"/>
                  </a:lnTo>
                  <a:lnTo>
                    <a:pt x="18" y="381"/>
                  </a:lnTo>
                  <a:lnTo>
                    <a:pt x="18" y="391"/>
                  </a:lnTo>
                  <a:lnTo>
                    <a:pt x="18" y="393"/>
                  </a:lnTo>
                  <a:lnTo>
                    <a:pt x="18" y="395"/>
                  </a:lnTo>
                  <a:lnTo>
                    <a:pt x="18" y="395"/>
                  </a:lnTo>
                  <a:lnTo>
                    <a:pt x="12" y="401"/>
                  </a:lnTo>
                  <a:lnTo>
                    <a:pt x="10" y="403"/>
                  </a:lnTo>
                  <a:lnTo>
                    <a:pt x="10" y="409"/>
                  </a:lnTo>
                  <a:lnTo>
                    <a:pt x="10" y="409"/>
                  </a:lnTo>
                  <a:lnTo>
                    <a:pt x="12" y="409"/>
                  </a:lnTo>
                  <a:lnTo>
                    <a:pt x="12" y="414"/>
                  </a:lnTo>
                  <a:lnTo>
                    <a:pt x="14" y="414"/>
                  </a:lnTo>
                  <a:lnTo>
                    <a:pt x="14" y="416"/>
                  </a:lnTo>
                  <a:lnTo>
                    <a:pt x="12" y="416"/>
                  </a:lnTo>
                  <a:lnTo>
                    <a:pt x="12" y="418"/>
                  </a:lnTo>
                  <a:lnTo>
                    <a:pt x="12" y="424"/>
                  </a:lnTo>
                  <a:lnTo>
                    <a:pt x="12" y="426"/>
                  </a:lnTo>
                  <a:lnTo>
                    <a:pt x="10" y="428"/>
                  </a:lnTo>
                  <a:lnTo>
                    <a:pt x="8" y="428"/>
                  </a:lnTo>
                  <a:lnTo>
                    <a:pt x="4" y="428"/>
                  </a:lnTo>
                  <a:lnTo>
                    <a:pt x="2" y="428"/>
                  </a:lnTo>
                  <a:lnTo>
                    <a:pt x="0" y="430"/>
                  </a:lnTo>
                  <a:lnTo>
                    <a:pt x="0" y="432"/>
                  </a:lnTo>
                  <a:lnTo>
                    <a:pt x="2" y="434"/>
                  </a:lnTo>
                  <a:lnTo>
                    <a:pt x="4" y="434"/>
                  </a:lnTo>
                  <a:lnTo>
                    <a:pt x="4" y="436"/>
                  </a:lnTo>
                  <a:lnTo>
                    <a:pt x="4" y="436"/>
                  </a:lnTo>
                  <a:lnTo>
                    <a:pt x="4" y="438"/>
                  </a:lnTo>
                  <a:lnTo>
                    <a:pt x="4" y="438"/>
                  </a:lnTo>
                  <a:lnTo>
                    <a:pt x="4" y="438"/>
                  </a:lnTo>
                  <a:lnTo>
                    <a:pt x="4" y="440"/>
                  </a:lnTo>
                  <a:lnTo>
                    <a:pt x="4" y="442"/>
                  </a:lnTo>
                  <a:lnTo>
                    <a:pt x="4" y="442"/>
                  </a:lnTo>
                  <a:lnTo>
                    <a:pt x="4" y="446"/>
                  </a:lnTo>
                  <a:lnTo>
                    <a:pt x="8" y="448"/>
                  </a:lnTo>
                  <a:lnTo>
                    <a:pt x="8" y="453"/>
                  </a:lnTo>
                  <a:lnTo>
                    <a:pt x="2" y="459"/>
                  </a:lnTo>
                  <a:lnTo>
                    <a:pt x="2" y="459"/>
                  </a:lnTo>
                  <a:lnTo>
                    <a:pt x="6" y="459"/>
                  </a:lnTo>
                  <a:lnTo>
                    <a:pt x="8" y="459"/>
                  </a:lnTo>
                  <a:lnTo>
                    <a:pt x="14" y="459"/>
                  </a:lnTo>
                  <a:lnTo>
                    <a:pt x="22" y="457"/>
                  </a:lnTo>
                  <a:lnTo>
                    <a:pt x="32" y="457"/>
                  </a:lnTo>
                  <a:lnTo>
                    <a:pt x="45" y="455"/>
                  </a:lnTo>
                  <a:lnTo>
                    <a:pt x="59" y="455"/>
                  </a:lnTo>
                  <a:lnTo>
                    <a:pt x="73" y="453"/>
                  </a:lnTo>
                  <a:lnTo>
                    <a:pt x="90" y="453"/>
                  </a:lnTo>
                  <a:lnTo>
                    <a:pt x="104" y="450"/>
                  </a:lnTo>
                  <a:lnTo>
                    <a:pt x="118" y="448"/>
                  </a:lnTo>
                  <a:lnTo>
                    <a:pt x="133" y="448"/>
                  </a:lnTo>
                  <a:lnTo>
                    <a:pt x="145" y="446"/>
                  </a:lnTo>
                  <a:lnTo>
                    <a:pt x="155" y="446"/>
                  </a:lnTo>
                  <a:lnTo>
                    <a:pt x="163" y="444"/>
                  </a:lnTo>
                  <a:lnTo>
                    <a:pt x="169" y="444"/>
                  </a:lnTo>
                  <a:lnTo>
                    <a:pt x="172" y="444"/>
                  </a:lnTo>
                  <a:lnTo>
                    <a:pt x="176" y="444"/>
                  </a:lnTo>
                  <a:lnTo>
                    <a:pt x="178" y="444"/>
                  </a:lnTo>
                  <a:lnTo>
                    <a:pt x="180" y="444"/>
                  </a:lnTo>
                  <a:lnTo>
                    <a:pt x="180" y="448"/>
                  </a:lnTo>
                  <a:lnTo>
                    <a:pt x="178" y="453"/>
                  </a:lnTo>
                  <a:lnTo>
                    <a:pt x="176" y="457"/>
                  </a:lnTo>
                  <a:lnTo>
                    <a:pt x="176" y="463"/>
                  </a:lnTo>
                  <a:lnTo>
                    <a:pt x="174" y="467"/>
                  </a:lnTo>
                  <a:lnTo>
                    <a:pt x="174" y="469"/>
                  </a:lnTo>
                  <a:lnTo>
                    <a:pt x="174" y="471"/>
                  </a:lnTo>
                  <a:lnTo>
                    <a:pt x="172" y="475"/>
                  </a:lnTo>
                  <a:lnTo>
                    <a:pt x="172" y="477"/>
                  </a:lnTo>
                  <a:lnTo>
                    <a:pt x="172" y="479"/>
                  </a:lnTo>
                  <a:lnTo>
                    <a:pt x="174" y="481"/>
                  </a:lnTo>
                  <a:lnTo>
                    <a:pt x="174" y="481"/>
                  </a:lnTo>
                  <a:lnTo>
                    <a:pt x="176" y="483"/>
                  </a:lnTo>
                  <a:lnTo>
                    <a:pt x="174" y="485"/>
                  </a:lnTo>
                  <a:lnTo>
                    <a:pt x="178" y="491"/>
                  </a:lnTo>
                  <a:lnTo>
                    <a:pt x="178" y="491"/>
                  </a:lnTo>
                  <a:lnTo>
                    <a:pt x="182" y="494"/>
                  </a:lnTo>
                  <a:lnTo>
                    <a:pt x="184" y="494"/>
                  </a:lnTo>
                  <a:lnTo>
                    <a:pt x="184" y="498"/>
                  </a:lnTo>
                  <a:lnTo>
                    <a:pt x="188" y="500"/>
                  </a:lnTo>
                  <a:lnTo>
                    <a:pt x="190" y="502"/>
                  </a:lnTo>
                  <a:lnTo>
                    <a:pt x="190" y="502"/>
                  </a:lnTo>
                  <a:lnTo>
                    <a:pt x="190" y="504"/>
                  </a:lnTo>
                  <a:lnTo>
                    <a:pt x="190" y="506"/>
                  </a:lnTo>
                  <a:lnTo>
                    <a:pt x="190" y="506"/>
                  </a:lnTo>
                  <a:lnTo>
                    <a:pt x="190" y="508"/>
                  </a:lnTo>
                  <a:lnTo>
                    <a:pt x="194" y="512"/>
                  </a:lnTo>
                  <a:lnTo>
                    <a:pt x="194" y="514"/>
                  </a:lnTo>
                  <a:lnTo>
                    <a:pt x="194" y="518"/>
                  </a:lnTo>
                  <a:lnTo>
                    <a:pt x="196" y="520"/>
                  </a:lnTo>
                  <a:lnTo>
                    <a:pt x="200" y="526"/>
                  </a:lnTo>
                  <a:lnTo>
                    <a:pt x="202" y="528"/>
                  </a:lnTo>
                  <a:lnTo>
                    <a:pt x="202" y="528"/>
                  </a:lnTo>
                  <a:lnTo>
                    <a:pt x="204" y="528"/>
                  </a:lnTo>
                  <a:lnTo>
                    <a:pt x="206" y="528"/>
                  </a:lnTo>
                  <a:lnTo>
                    <a:pt x="206" y="528"/>
                  </a:lnTo>
                  <a:lnTo>
                    <a:pt x="206" y="528"/>
                  </a:lnTo>
                  <a:lnTo>
                    <a:pt x="206" y="528"/>
                  </a:lnTo>
                  <a:lnTo>
                    <a:pt x="208" y="528"/>
                  </a:lnTo>
                  <a:lnTo>
                    <a:pt x="208" y="528"/>
                  </a:lnTo>
                  <a:lnTo>
                    <a:pt x="210" y="528"/>
                  </a:lnTo>
                  <a:lnTo>
                    <a:pt x="210" y="526"/>
                  </a:lnTo>
                  <a:lnTo>
                    <a:pt x="213" y="528"/>
                  </a:lnTo>
                  <a:lnTo>
                    <a:pt x="213" y="528"/>
                  </a:lnTo>
                  <a:lnTo>
                    <a:pt x="213" y="528"/>
                  </a:lnTo>
                  <a:lnTo>
                    <a:pt x="213" y="528"/>
                  </a:lnTo>
                  <a:lnTo>
                    <a:pt x="215" y="528"/>
                  </a:lnTo>
                  <a:lnTo>
                    <a:pt x="215" y="528"/>
                  </a:lnTo>
                  <a:lnTo>
                    <a:pt x="215" y="526"/>
                  </a:lnTo>
                  <a:lnTo>
                    <a:pt x="215" y="524"/>
                  </a:lnTo>
                  <a:lnTo>
                    <a:pt x="217" y="522"/>
                  </a:lnTo>
                  <a:lnTo>
                    <a:pt x="217" y="522"/>
                  </a:lnTo>
                  <a:lnTo>
                    <a:pt x="215" y="520"/>
                  </a:lnTo>
                  <a:lnTo>
                    <a:pt x="223" y="514"/>
                  </a:lnTo>
                  <a:lnTo>
                    <a:pt x="225" y="514"/>
                  </a:lnTo>
                  <a:lnTo>
                    <a:pt x="225" y="512"/>
                  </a:lnTo>
                  <a:lnTo>
                    <a:pt x="225" y="510"/>
                  </a:lnTo>
                  <a:lnTo>
                    <a:pt x="223" y="510"/>
                  </a:lnTo>
                  <a:lnTo>
                    <a:pt x="221" y="510"/>
                  </a:lnTo>
                  <a:lnTo>
                    <a:pt x="221" y="510"/>
                  </a:lnTo>
                  <a:lnTo>
                    <a:pt x="221" y="510"/>
                  </a:lnTo>
                  <a:lnTo>
                    <a:pt x="221" y="508"/>
                  </a:lnTo>
                  <a:lnTo>
                    <a:pt x="223" y="508"/>
                  </a:lnTo>
                  <a:lnTo>
                    <a:pt x="223" y="506"/>
                  </a:lnTo>
                  <a:lnTo>
                    <a:pt x="225" y="506"/>
                  </a:lnTo>
                  <a:lnTo>
                    <a:pt x="229" y="508"/>
                  </a:lnTo>
                  <a:lnTo>
                    <a:pt x="231" y="510"/>
                  </a:lnTo>
                  <a:lnTo>
                    <a:pt x="229" y="510"/>
                  </a:lnTo>
                  <a:lnTo>
                    <a:pt x="229" y="512"/>
                  </a:lnTo>
                  <a:lnTo>
                    <a:pt x="229" y="512"/>
                  </a:lnTo>
                  <a:lnTo>
                    <a:pt x="231" y="512"/>
                  </a:lnTo>
                  <a:lnTo>
                    <a:pt x="231" y="512"/>
                  </a:lnTo>
                  <a:lnTo>
                    <a:pt x="237" y="510"/>
                  </a:lnTo>
                  <a:lnTo>
                    <a:pt x="243" y="508"/>
                  </a:lnTo>
                  <a:lnTo>
                    <a:pt x="249" y="506"/>
                  </a:lnTo>
                  <a:lnTo>
                    <a:pt x="251" y="504"/>
                  </a:lnTo>
                  <a:lnTo>
                    <a:pt x="251" y="504"/>
                  </a:lnTo>
                  <a:lnTo>
                    <a:pt x="256" y="502"/>
                  </a:lnTo>
                  <a:lnTo>
                    <a:pt x="256" y="502"/>
                  </a:lnTo>
                  <a:lnTo>
                    <a:pt x="262" y="502"/>
                  </a:lnTo>
                  <a:lnTo>
                    <a:pt x="264" y="502"/>
                  </a:lnTo>
                  <a:lnTo>
                    <a:pt x="266" y="500"/>
                  </a:lnTo>
                  <a:lnTo>
                    <a:pt x="253" y="500"/>
                  </a:lnTo>
                  <a:lnTo>
                    <a:pt x="253" y="498"/>
                  </a:lnTo>
                  <a:lnTo>
                    <a:pt x="256" y="498"/>
                  </a:lnTo>
                  <a:lnTo>
                    <a:pt x="258" y="498"/>
                  </a:lnTo>
                  <a:lnTo>
                    <a:pt x="260" y="496"/>
                  </a:lnTo>
                  <a:lnTo>
                    <a:pt x="268" y="498"/>
                  </a:lnTo>
                  <a:lnTo>
                    <a:pt x="278" y="504"/>
                  </a:lnTo>
                  <a:lnTo>
                    <a:pt x="280" y="504"/>
                  </a:lnTo>
                  <a:lnTo>
                    <a:pt x="284" y="504"/>
                  </a:lnTo>
                  <a:lnTo>
                    <a:pt x="288" y="502"/>
                  </a:lnTo>
                  <a:lnTo>
                    <a:pt x="290" y="498"/>
                  </a:lnTo>
                  <a:lnTo>
                    <a:pt x="290" y="498"/>
                  </a:lnTo>
                  <a:lnTo>
                    <a:pt x="290" y="500"/>
                  </a:lnTo>
                  <a:lnTo>
                    <a:pt x="292" y="500"/>
                  </a:lnTo>
                  <a:lnTo>
                    <a:pt x="294" y="502"/>
                  </a:lnTo>
                  <a:lnTo>
                    <a:pt x="294" y="504"/>
                  </a:lnTo>
                  <a:lnTo>
                    <a:pt x="296" y="504"/>
                  </a:lnTo>
                  <a:lnTo>
                    <a:pt x="296" y="504"/>
                  </a:lnTo>
                  <a:lnTo>
                    <a:pt x="299" y="504"/>
                  </a:lnTo>
                  <a:lnTo>
                    <a:pt x="301" y="504"/>
                  </a:lnTo>
                  <a:lnTo>
                    <a:pt x="303" y="504"/>
                  </a:lnTo>
                  <a:lnTo>
                    <a:pt x="305" y="504"/>
                  </a:lnTo>
                  <a:lnTo>
                    <a:pt x="305" y="504"/>
                  </a:lnTo>
                  <a:lnTo>
                    <a:pt x="305" y="502"/>
                  </a:lnTo>
                  <a:lnTo>
                    <a:pt x="307" y="502"/>
                  </a:lnTo>
                  <a:lnTo>
                    <a:pt x="307" y="502"/>
                  </a:lnTo>
                  <a:lnTo>
                    <a:pt x="309" y="500"/>
                  </a:lnTo>
                  <a:lnTo>
                    <a:pt x="309" y="500"/>
                  </a:lnTo>
                  <a:lnTo>
                    <a:pt x="309" y="498"/>
                  </a:lnTo>
                  <a:lnTo>
                    <a:pt x="309" y="498"/>
                  </a:lnTo>
                  <a:lnTo>
                    <a:pt x="309" y="498"/>
                  </a:lnTo>
                  <a:close/>
                  <a:moveTo>
                    <a:pt x="290" y="516"/>
                  </a:moveTo>
                  <a:lnTo>
                    <a:pt x="288" y="516"/>
                  </a:lnTo>
                  <a:lnTo>
                    <a:pt x="286" y="514"/>
                  </a:lnTo>
                  <a:lnTo>
                    <a:pt x="282" y="514"/>
                  </a:lnTo>
                  <a:lnTo>
                    <a:pt x="280" y="514"/>
                  </a:lnTo>
                  <a:lnTo>
                    <a:pt x="278" y="516"/>
                  </a:lnTo>
                  <a:lnTo>
                    <a:pt x="278" y="516"/>
                  </a:lnTo>
                  <a:lnTo>
                    <a:pt x="296" y="516"/>
                  </a:lnTo>
                  <a:lnTo>
                    <a:pt x="296" y="516"/>
                  </a:lnTo>
                  <a:lnTo>
                    <a:pt x="299" y="516"/>
                  </a:lnTo>
                  <a:lnTo>
                    <a:pt x="296" y="516"/>
                  </a:lnTo>
                  <a:lnTo>
                    <a:pt x="290" y="516"/>
                  </a:lnTo>
                  <a:close/>
                  <a:moveTo>
                    <a:pt x="266" y="518"/>
                  </a:moveTo>
                  <a:lnTo>
                    <a:pt x="264" y="518"/>
                  </a:lnTo>
                  <a:lnTo>
                    <a:pt x="264" y="520"/>
                  </a:lnTo>
                  <a:lnTo>
                    <a:pt x="264" y="518"/>
                  </a:lnTo>
                  <a:lnTo>
                    <a:pt x="266" y="518"/>
                  </a:lnTo>
                  <a:lnTo>
                    <a:pt x="266" y="518"/>
                  </a:lnTo>
                  <a:lnTo>
                    <a:pt x="266" y="518"/>
                  </a:lnTo>
                  <a:close/>
                </a:path>
              </a:pathLst>
            </a:custGeom>
            <a:solidFill>
              <a:schemeClr val="tx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MS</a:t>
              </a:r>
            </a:p>
          </p:txBody>
        </p:sp>
        <p:sp>
          <p:nvSpPr>
            <p:cNvPr id="90" name="Freeform 31">
              <a:extLst>
                <a:ext uri="{FF2B5EF4-FFF2-40B4-BE49-F238E27FC236}">
                  <a16:creationId xmlns:a16="http://schemas.microsoft.com/office/drawing/2014/main" id="{B0AFEE39-B47F-CA6B-CE16-F6485986C23A}"/>
                </a:ext>
              </a:extLst>
            </p:cNvPr>
            <p:cNvSpPr>
              <a:spLocks/>
            </p:cNvSpPr>
            <p:nvPr/>
          </p:nvSpPr>
          <p:spPr bwMode="auto">
            <a:xfrm>
              <a:off x="3081" y="1029"/>
              <a:ext cx="592" cy="488"/>
            </a:xfrm>
            <a:custGeom>
              <a:avLst/>
              <a:gdLst>
                <a:gd name="T0" fmla="*/ 360 w 592"/>
                <a:gd name="T1" fmla="*/ 65 h 488"/>
                <a:gd name="T2" fmla="*/ 364 w 592"/>
                <a:gd name="T3" fmla="*/ 80 h 488"/>
                <a:gd name="T4" fmla="*/ 374 w 592"/>
                <a:gd name="T5" fmla="*/ 96 h 488"/>
                <a:gd name="T6" fmla="*/ 426 w 592"/>
                <a:gd name="T7" fmla="*/ 137 h 488"/>
                <a:gd name="T8" fmla="*/ 434 w 592"/>
                <a:gd name="T9" fmla="*/ 156 h 488"/>
                <a:gd name="T10" fmla="*/ 440 w 592"/>
                <a:gd name="T11" fmla="*/ 174 h 488"/>
                <a:gd name="T12" fmla="*/ 467 w 592"/>
                <a:gd name="T13" fmla="*/ 170 h 488"/>
                <a:gd name="T14" fmla="*/ 481 w 592"/>
                <a:gd name="T15" fmla="*/ 190 h 488"/>
                <a:gd name="T16" fmla="*/ 469 w 592"/>
                <a:gd name="T17" fmla="*/ 240 h 488"/>
                <a:gd name="T18" fmla="*/ 481 w 592"/>
                <a:gd name="T19" fmla="*/ 256 h 488"/>
                <a:gd name="T20" fmla="*/ 504 w 592"/>
                <a:gd name="T21" fmla="*/ 272 h 488"/>
                <a:gd name="T22" fmla="*/ 532 w 592"/>
                <a:gd name="T23" fmla="*/ 287 h 488"/>
                <a:gd name="T24" fmla="*/ 549 w 592"/>
                <a:gd name="T25" fmla="*/ 307 h 488"/>
                <a:gd name="T26" fmla="*/ 555 w 592"/>
                <a:gd name="T27" fmla="*/ 336 h 488"/>
                <a:gd name="T28" fmla="*/ 559 w 592"/>
                <a:gd name="T29" fmla="*/ 350 h 488"/>
                <a:gd name="T30" fmla="*/ 577 w 592"/>
                <a:gd name="T31" fmla="*/ 369 h 488"/>
                <a:gd name="T32" fmla="*/ 577 w 592"/>
                <a:gd name="T33" fmla="*/ 361 h 488"/>
                <a:gd name="T34" fmla="*/ 583 w 592"/>
                <a:gd name="T35" fmla="*/ 371 h 488"/>
                <a:gd name="T36" fmla="*/ 592 w 592"/>
                <a:gd name="T37" fmla="*/ 381 h 488"/>
                <a:gd name="T38" fmla="*/ 587 w 592"/>
                <a:gd name="T39" fmla="*/ 406 h 488"/>
                <a:gd name="T40" fmla="*/ 571 w 592"/>
                <a:gd name="T41" fmla="*/ 410 h 488"/>
                <a:gd name="T42" fmla="*/ 565 w 592"/>
                <a:gd name="T43" fmla="*/ 430 h 488"/>
                <a:gd name="T44" fmla="*/ 555 w 592"/>
                <a:gd name="T45" fmla="*/ 424 h 488"/>
                <a:gd name="T46" fmla="*/ 561 w 592"/>
                <a:gd name="T47" fmla="*/ 440 h 488"/>
                <a:gd name="T48" fmla="*/ 559 w 592"/>
                <a:gd name="T49" fmla="*/ 449 h 488"/>
                <a:gd name="T50" fmla="*/ 555 w 592"/>
                <a:gd name="T51" fmla="*/ 467 h 488"/>
                <a:gd name="T52" fmla="*/ 547 w 592"/>
                <a:gd name="T53" fmla="*/ 481 h 488"/>
                <a:gd name="T54" fmla="*/ 491 w 592"/>
                <a:gd name="T55" fmla="*/ 486 h 488"/>
                <a:gd name="T56" fmla="*/ 497 w 592"/>
                <a:gd name="T57" fmla="*/ 471 h 488"/>
                <a:gd name="T58" fmla="*/ 501 w 592"/>
                <a:gd name="T59" fmla="*/ 467 h 488"/>
                <a:gd name="T60" fmla="*/ 510 w 592"/>
                <a:gd name="T61" fmla="*/ 461 h 488"/>
                <a:gd name="T62" fmla="*/ 514 w 592"/>
                <a:gd name="T63" fmla="*/ 455 h 488"/>
                <a:gd name="T64" fmla="*/ 514 w 592"/>
                <a:gd name="T65" fmla="*/ 449 h 488"/>
                <a:gd name="T66" fmla="*/ 514 w 592"/>
                <a:gd name="T67" fmla="*/ 440 h 488"/>
                <a:gd name="T68" fmla="*/ 508 w 592"/>
                <a:gd name="T69" fmla="*/ 434 h 488"/>
                <a:gd name="T70" fmla="*/ 499 w 592"/>
                <a:gd name="T71" fmla="*/ 430 h 488"/>
                <a:gd name="T72" fmla="*/ 284 w 592"/>
                <a:gd name="T73" fmla="*/ 447 h 488"/>
                <a:gd name="T74" fmla="*/ 116 w 592"/>
                <a:gd name="T75" fmla="*/ 430 h 488"/>
                <a:gd name="T76" fmla="*/ 110 w 592"/>
                <a:gd name="T77" fmla="*/ 307 h 488"/>
                <a:gd name="T78" fmla="*/ 104 w 592"/>
                <a:gd name="T79" fmla="*/ 184 h 488"/>
                <a:gd name="T80" fmla="*/ 102 w 592"/>
                <a:gd name="T81" fmla="*/ 172 h 488"/>
                <a:gd name="T82" fmla="*/ 92 w 592"/>
                <a:gd name="T83" fmla="*/ 170 h 488"/>
                <a:gd name="T84" fmla="*/ 78 w 592"/>
                <a:gd name="T85" fmla="*/ 151 h 488"/>
                <a:gd name="T86" fmla="*/ 67 w 592"/>
                <a:gd name="T87" fmla="*/ 141 h 488"/>
                <a:gd name="T88" fmla="*/ 63 w 592"/>
                <a:gd name="T89" fmla="*/ 129 h 488"/>
                <a:gd name="T90" fmla="*/ 69 w 592"/>
                <a:gd name="T91" fmla="*/ 117 h 488"/>
                <a:gd name="T92" fmla="*/ 78 w 592"/>
                <a:gd name="T93" fmla="*/ 108 h 488"/>
                <a:gd name="T94" fmla="*/ 71 w 592"/>
                <a:gd name="T95" fmla="*/ 96 h 488"/>
                <a:gd name="T96" fmla="*/ 59 w 592"/>
                <a:gd name="T97" fmla="*/ 98 h 488"/>
                <a:gd name="T98" fmla="*/ 49 w 592"/>
                <a:gd name="T99" fmla="*/ 92 h 488"/>
                <a:gd name="T100" fmla="*/ 32 w 592"/>
                <a:gd name="T101" fmla="*/ 82 h 488"/>
                <a:gd name="T102" fmla="*/ 28 w 592"/>
                <a:gd name="T103" fmla="*/ 67 h 488"/>
                <a:gd name="T104" fmla="*/ 18 w 592"/>
                <a:gd name="T105" fmla="*/ 55 h 488"/>
                <a:gd name="T106" fmla="*/ 12 w 592"/>
                <a:gd name="T107" fmla="*/ 49 h 488"/>
                <a:gd name="T108" fmla="*/ 8 w 592"/>
                <a:gd name="T109" fmla="*/ 37 h 488"/>
                <a:gd name="T110" fmla="*/ 0 w 592"/>
                <a:gd name="T111" fmla="*/ 24 h 488"/>
                <a:gd name="T112" fmla="*/ 0 w 592"/>
                <a:gd name="T113" fmla="*/ 22 h 488"/>
                <a:gd name="T114" fmla="*/ 20 w 592"/>
                <a:gd name="T115" fmla="*/ 20 h 488"/>
                <a:gd name="T116" fmla="*/ 202 w 592"/>
                <a:gd name="T117" fmla="*/ 10 h 488"/>
                <a:gd name="T118" fmla="*/ 336 w 592"/>
                <a:gd name="T119" fmla="*/ 2 h 488"/>
                <a:gd name="T120" fmla="*/ 342 w 592"/>
                <a:gd name="T121" fmla="*/ 8 h 488"/>
                <a:gd name="T122" fmla="*/ 348 w 592"/>
                <a:gd name="T123" fmla="*/ 14 h 488"/>
                <a:gd name="T124" fmla="*/ 352 w 592"/>
                <a:gd name="T125" fmla="*/ 1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2" h="488">
                  <a:moveTo>
                    <a:pt x="362" y="24"/>
                  </a:moveTo>
                  <a:lnTo>
                    <a:pt x="362" y="24"/>
                  </a:lnTo>
                  <a:lnTo>
                    <a:pt x="358" y="26"/>
                  </a:lnTo>
                  <a:lnTo>
                    <a:pt x="358" y="33"/>
                  </a:lnTo>
                  <a:lnTo>
                    <a:pt x="356" y="39"/>
                  </a:lnTo>
                  <a:lnTo>
                    <a:pt x="356" y="43"/>
                  </a:lnTo>
                  <a:lnTo>
                    <a:pt x="356" y="47"/>
                  </a:lnTo>
                  <a:lnTo>
                    <a:pt x="360" y="65"/>
                  </a:lnTo>
                  <a:lnTo>
                    <a:pt x="360" y="65"/>
                  </a:lnTo>
                  <a:lnTo>
                    <a:pt x="362" y="67"/>
                  </a:lnTo>
                  <a:lnTo>
                    <a:pt x="364" y="70"/>
                  </a:lnTo>
                  <a:lnTo>
                    <a:pt x="364" y="70"/>
                  </a:lnTo>
                  <a:lnTo>
                    <a:pt x="364" y="72"/>
                  </a:lnTo>
                  <a:lnTo>
                    <a:pt x="364" y="72"/>
                  </a:lnTo>
                  <a:lnTo>
                    <a:pt x="364" y="74"/>
                  </a:lnTo>
                  <a:lnTo>
                    <a:pt x="364" y="76"/>
                  </a:lnTo>
                  <a:lnTo>
                    <a:pt x="364" y="78"/>
                  </a:lnTo>
                  <a:lnTo>
                    <a:pt x="364" y="80"/>
                  </a:lnTo>
                  <a:lnTo>
                    <a:pt x="366" y="80"/>
                  </a:lnTo>
                  <a:lnTo>
                    <a:pt x="366" y="82"/>
                  </a:lnTo>
                  <a:lnTo>
                    <a:pt x="366" y="84"/>
                  </a:lnTo>
                  <a:lnTo>
                    <a:pt x="370" y="84"/>
                  </a:lnTo>
                  <a:lnTo>
                    <a:pt x="370" y="86"/>
                  </a:lnTo>
                  <a:lnTo>
                    <a:pt x="370" y="88"/>
                  </a:lnTo>
                  <a:lnTo>
                    <a:pt x="370" y="90"/>
                  </a:lnTo>
                  <a:lnTo>
                    <a:pt x="372" y="92"/>
                  </a:lnTo>
                  <a:lnTo>
                    <a:pt x="374" y="96"/>
                  </a:lnTo>
                  <a:lnTo>
                    <a:pt x="397" y="113"/>
                  </a:lnTo>
                  <a:lnTo>
                    <a:pt x="399" y="115"/>
                  </a:lnTo>
                  <a:lnTo>
                    <a:pt x="399" y="117"/>
                  </a:lnTo>
                  <a:lnTo>
                    <a:pt x="399" y="119"/>
                  </a:lnTo>
                  <a:lnTo>
                    <a:pt x="401" y="121"/>
                  </a:lnTo>
                  <a:lnTo>
                    <a:pt x="401" y="121"/>
                  </a:lnTo>
                  <a:lnTo>
                    <a:pt x="422" y="133"/>
                  </a:lnTo>
                  <a:lnTo>
                    <a:pt x="424" y="135"/>
                  </a:lnTo>
                  <a:lnTo>
                    <a:pt x="426" y="137"/>
                  </a:lnTo>
                  <a:lnTo>
                    <a:pt x="430" y="141"/>
                  </a:lnTo>
                  <a:lnTo>
                    <a:pt x="430" y="143"/>
                  </a:lnTo>
                  <a:lnTo>
                    <a:pt x="432" y="145"/>
                  </a:lnTo>
                  <a:lnTo>
                    <a:pt x="432" y="147"/>
                  </a:lnTo>
                  <a:lnTo>
                    <a:pt x="432" y="149"/>
                  </a:lnTo>
                  <a:lnTo>
                    <a:pt x="432" y="151"/>
                  </a:lnTo>
                  <a:lnTo>
                    <a:pt x="432" y="154"/>
                  </a:lnTo>
                  <a:lnTo>
                    <a:pt x="434" y="156"/>
                  </a:lnTo>
                  <a:lnTo>
                    <a:pt x="434" y="156"/>
                  </a:lnTo>
                  <a:lnTo>
                    <a:pt x="434" y="158"/>
                  </a:lnTo>
                  <a:lnTo>
                    <a:pt x="434" y="158"/>
                  </a:lnTo>
                  <a:lnTo>
                    <a:pt x="434" y="160"/>
                  </a:lnTo>
                  <a:lnTo>
                    <a:pt x="434" y="162"/>
                  </a:lnTo>
                  <a:lnTo>
                    <a:pt x="434" y="162"/>
                  </a:lnTo>
                  <a:lnTo>
                    <a:pt x="436" y="164"/>
                  </a:lnTo>
                  <a:lnTo>
                    <a:pt x="436" y="166"/>
                  </a:lnTo>
                  <a:lnTo>
                    <a:pt x="436" y="168"/>
                  </a:lnTo>
                  <a:lnTo>
                    <a:pt x="440" y="174"/>
                  </a:lnTo>
                  <a:lnTo>
                    <a:pt x="442" y="178"/>
                  </a:lnTo>
                  <a:lnTo>
                    <a:pt x="446" y="178"/>
                  </a:lnTo>
                  <a:lnTo>
                    <a:pt x="450" y="176"/>
                  </a:lnTo>
                  <a:lnTo>
                    <a:pt x="454" y="170"/>
                  </a:lnTo>
                  <a:lnTo>
                    <a:pt x="458" y="168"/>
                  </a:lnTo>
                  <a:lnTo>
                    <a:pt x="461" y="168"/>
                  </a:lnTo>
                  <a:lnTo>
                    <a:pt x="463" y="170"/>
                  </a:lnTo>
                  <a:lnTo>
                    <a:pt x="465" y="170"/>
                  </a:lnTo>
                  <a:lnTo>
                    <a:pt x="467" y="170"/>
                  </a:lnTo>
                  <a:lnTo>
                    <a:pt x="471" y="172"/>
                  </a:lnTo>
                  <a:lnTo>
                    <a:pt x="481" y="176"/>
                  </a:lnTo>
                  <a:lnTo>
                    <a:pt x="483" y="178"/>
                  </a:lnTo>
                  <a:lnTo>
                    <a:pt x="485" y="180"/>
                  </a:lnTo>
                  <a:lnTo>
                    <a:pt x="485" y="182"/>
                  </a:lnTo>
                  <a:lnTo>
                    <a:pt x="483" y="186"/>
                  </a:lnTo>
                  <a:lnTo>
                    <a:pt x="483" y="188"/>
                  </a:lnTo>
                  <a:lnTo>
                    <a:pt x="481" y="188"/>
                  </a:lnTo>
                  <a:lnTo>
                    <a:pt x="481" y="190"/>
                  </a:lnTo>
                  <a:lnTo>
                    <a:pt x="481" y="192"/>
                  </a:lnTo>
                  <a:lnTo>
                    <a:pt x="481" y="197"/>
                  </a:lnTo>
                  <a:lnTo>
                    <a:pt x="481" y="203"/>
                  </a:lnTo>
                  <a:lnTo>
                    <a:pt x="481" y="205"/>
                  </a:lnTo>
                  <a:lnTo>
                    <a:pt x="477" y="213"/>
                  </a:lnTo>
                  <a:lnTo>
                    <a:pt x="473" y="225"/>
                  </a:lnTo>
                  <a:lnTo>
                    <a:pt x="471" y="231"/>
                  </a:lnTo>
                  <a:lnTo>
                    <a:pt x="469" y="235"/>
                  </a:lnTo>
                  <a:lnTo>
                    <a:pt x="469" y="240"/>
                  </a:lnTo>
                  <a:lnTo>
                    <a:pt x="471" y="244"/>
                  </a:lnTo>
                  <a:lnTo>
                    <a:pt x="471" y="246"/>
                  </a:lnTo>
                  <a:lnTo>
                    <a:pt x="471" y="248"/>
                  </a:lnTo>
                  <a:lnTo>
                    <a:pt x="473" y="248"/>
                  </a:lnTo>
                  <a:lnTo>
                    <a:pt x="473" y="250"/>
                  </a:lnTo>
                  <a:lnTo>
                    <a:pt x="477" y="252"/>
                  </a:lnTo>
                  <a:lnTo>
                    <a:pt x="479" y="254"/>
                  </a:lnTo>
                  <a:lnTo>
                    <a:pt x="481" y="256"/>
                  </a:lnTo>
                  <a:lnTo>
                    <a:pt x="481" y="256"/>
                  </a:lnTo>
                  <a:lnTo>
                    <a:pt x="483" y="258"/>
                  </a:lnTo>
                  <a:lnTo>
                    <a:pt x="483" y="260"/>
                  </a:lnTo>
                  <a:lnTo>
                    <a:pt x="487" y="260"/>
                  </a:lnTo>
                  <a:lnTo>
                    <a:pt x="489" y="262"/>
                  </a:lnTo>
                  <a:lnTo>
                    <a:pt x="491" y="266"/>
                  </a:lnTo>
                  <a:lnTo>
                    <a:pt x="495" y="268"/>
                  </a:lnTo>
                  <a:lnTo>
                    <a:pt x="497" y="268"/>
                  </a:lnTo>
                  <a:lnTo>
                    <a:pt x="504" y="272"/>
                  </a:lnTo>
                  <a:lnTo>
                    <a:pt x="504" y="272"/>
                  </a:lnTo>
                  <a:lnTo>
                    <a:pt x="508" y="272"/>
                  </a:lnTo>
                  <a:lnTo>
                    <a:pt x="508" y="272"/>
                  </a:lnTo>
                  <a:lnTo>
                    <a:pt x="512" y="272"/>
                  </a:lnTo>
                  <a:lnTo>
                    <a:pt x="514" y="274"/>
                  </a:lnTo>
                  <a:lnTo>
                    <a:pt x="520" y="279"/>
                  </a:lnTo>
                  <a:lnTo>
                    <a:pt x="522" y="281"/>
                  </a:lnTo>
                  <a:lnTo>
                    <a:pt x="528" y="283"/>
                  </a:lnTo>
                  <a:lnTo>
                    <a:pt x="530" y="285"/>
                  </a:lnTo>
                  <a:lnTo>
                    <a:pt x="532" y="287"/>
                  </a:lnTo>
                  <a:lnTo>
                    <a:pt x="534" y="293"/>
                  </a:lnTo>
                  <a:lnTo>
                    <a:pt x="536" y="295"/>
                  </a:lnTo>
                  <a:lnTo>
                    <a:pt x="547" y="297"/>
                  </a:lnTo>
                  <a:lnTo>
                    <a:pt x="549" y="299"/>
                  </a:lnTo>
                  <a:lnTo>
                    <a:pt x="549" y="301"/>
                  </a:lnTo>
                  <a:lnTo>
                    <a:pt x="549" y="301"/>
                  </a:lnTo>
                  <a:lnTo>
                    <a:pt x="549" y="303"/>
                  </a:lnTo>
                  <a:lnTo>
                    <a:pt x="549" y="305"/>
                  </a:lnTo>
                  <a:lnTo>
                    <a:pt x="549" y="307"/>
                  </a:lnTo>
                  <a:lnTo>
                    <a:pt x="549" y="309"/>
                  </a:lnTo>
                  <a:lnTo>
                    <a:pt x="549" y="311"/>
                  </a:lnTo>
                  <a:lnTo>
                    <a:pt x="549" y="313"/>
                  </a:lnTo>
                  <a:lnTo>
                    <a:pt x="553" y="317"/>
                  </a:lnTo>
                  <a:lnTo>
                    <a:pt x="555" y="320"/>
                  </a:lnTo>
                  <a:lnTo>
                    <a:pt x="557" y="324"/>
                  </a:lnTo>
                  <a:lnTo>
                    <a:pt x="559" y="328"/>
                  </a:lnTo>
                  <a:lnTo>
                    <a:pt x="557" y="332"/>
                  </a:lnTo>
                  <a:lnTo>
                    <a:pt x="555" y="336"/>
                  </a:lnTo>
                  <a:lnTo>
                    <a:pt x="553" y="338"/>
                  </a:lnTo>
                  <a:lnTo>
                    <a:pt x="553" y="342"/>
                  </a:lnTo>
                  <a:lnTo>
                    <a:pt x="553" y="344"/>
                  </a:lnTo>
                  <a:lnTo>
                    <a:pt x="555" y="344"/>
                  </a:lnTo>
                  <a:lnTo>
                    <a:pt x="555" y="344"/>
                  </a:lnTo>
                  <a:lnTo>
                    <a:pt x="557" y="344"/>
                  </a:lnTo>
                  <a:lnTo>
                    <a:pt x="557" y="346"/>
                  </a:lnTo>
                  <a:lnTo>
                    <a:pt x="557" y="348"/>
                  </a:lnTo>
                  <a:lnTo>
                    <a:pt x="559" y="350"/>
                  </a:lnTo>
                  <a:lnTo>
                    <a:pt x="561" y="352"/>
                  </a:lnTo>
                  <a:lnTo>
                    <a:pt x="565" y="358"/>
                  </a:lnTo>
                  <a:lnTo>
                    <a:pt x="565" y="361"/>
                  </a:lnTo>
                  <a:lnTo>
                    <a:pt x="565" y="365"/>
                  </a:lnTo>
                  <a:lnTo>
                    <a:pt x="567" y="365"/>
                  </a:lnTo>
                  <a:lnTo>
                    <a:pt x="571" y="369"/>
                  </a:lnTo>
                  <a:lnTo>
                    <a:pt x="575" y="369"/>
                  </a:lnTo>
                  <a:lnTo>
                    <a:pt x="577" y="369"/>
                  </a:lnTo>
                  <a:lnTo>
                    <a:pt x="577" y="369"/>
                  </a:lnTo>
                  <a:lnTo>
                    <a:pt x="577" y="367"/>
                  </a:lnTo>
                  <a:lnTo>
                    <a:pt x="575" y="367"/>
                  </a:lnTo>
                  <a:lnTo>
                    <a:pt x="575" y="365"/>
                  </a:lnTo>
                  <a:lnTo>
                    <a:pt x="573" y="365"/>
                  </a:lnTo>
                  <a:lnTo>
                    <a:pt x="573" y="363"/>
                  </a:lnTo>
                  <a:lnTo>
                    <a:pt x="573" y="361"/>
                  </a:lnTo>
                  <a:lnTo>
                    <a:pt x="575" y="361"/>
                  </a:lnTo>
                  <a:lnTo>
                    <a:pt x="577" y="361"/>
                  </a:lnTo>
                  <a:lnTo>
                    <a:pt x="577" y="361"/>
                  </a:lnTo>
                  <a:lnTo>
                    <a:pt x="577" y="363"/>
                  </a:lnTo>
                  <a:lnTo>
                    <a:pt x="579" y="365"/>
                  </a:lnTo>
                  <a:lnTo>
                    <a:pt x="579" y="365"/>
                  </a:lnTo>
                  <a:lnTo>
                    <a:pt x="581" y="367"/>
                  </a:lnTo>
                  <a:lnTo>
                    <a:pt x="581" y="367"/>
                  </a:lnTo>
                  <a:lnTo>
                    <a:pt x="583" y="369"/>
                  </a:lnTo>
                  <a:lnTo>
                    <a:pt x="583" y="369"/>
                  </a:lnTo>
                  <a:lnTo>
                    <a:pt x="583" y="371"/>
                  </a:lnTo>
                  <a:lnTo>
                    <a:pt x="583" y="371"/>
                  </a:lnTo>
                  <a:lnTo>
                    <a:pt x="585" y="371"/>
                  </a:lnTo>
                  <a:lnTo>
                    <a:pt x="585" y="371"/>
                  </a:lnTo>
                  <a:lnTo>
                    <a:pt x="587" y="371"/>
                  </a:lnTo>
                  <a:lnTo>
                    <a:pt x="587" y="371"/>
                  </a:lnTo>
                  <a:lnTo>
                    <a:pt x="590" y="371"/>
                  </a:lnTo>
                  <a:lnTo>
                    <a:pt x="590" y="373"/>
                  </a:lnTo>
                  <a:lnTo>
                    <a:pt x="590" y="377"/>
                  </a:lnTo>
                  <a:lnTo>
                    <a:pt x="592" y="381"/>
                  </a:lnTo>
                  <a:lnTo>
                    <a:pt x="592" y="381"/>
                  </a:lnTo>
                  <a:lnTo>
                    <a:pt x="590" y="383"/>
                  </a:lnTo>
                  <a:lnTo>
                    <a:pt x="590" y="383"/>
                  </a:lnTo>
                  <a:lnTo>
                    <a:pt x="590" y="385"/>
                  </a:lnTo>
                  <a:lnTo>
                    <a:pt x="590" y="385"/>
                  </a:lnTo>
                  <a:lnTo>
                    <a:pt x="590" y="387"/>
                  </a:lnTo>
                  <a:lnTo>
                    <a:pt x="592" y="391"/>
                  </a:lnTo>
                  <a:lnTo>
                    <a:pt x="592" y="393"/>
                  </a:lnTo>
                  <a:lnTo>
                    <a:pt x="592" y="397"/>
                  </a:lnTo>
                  <a:lnTo>
                    <a:pt x="587" y="406"/>
                  </a:lnTo>
                  <a:lnTo>
                    <a:pt x="587" y="412"/>
                  </a:lnTo>
                  <a:lnTo>
                    <a:pt x="585" y="414"/>
                  </a:lnTo>
                  <a:lnTo>
                    <a:pt x="583" y="416"/>
                  </a:lnTo>
                  <a:lnTo>
                    <a:pt x="579" y="414"/>
                  </a:lnTo>
                  <a:lnTo>
                    <a:pt x="577" y="414"/>
                  </a:lnTo>
                  <a:lnTo>
                    <a:pt x="575" y="410"/>
                  </a:lnTo>
                  <a:lnTo>
                    <a:pt x="573" y="410"/>
                  </a:lnTo>
                  <a:lnTo>
                    <a:pt x="571" y="410"/>
                  </a:lnTo>
                  <a:lnTo>
                    <a:pt x="571" y="410"/>
                  </a:lnTo>
                  <a:lnTo>
                    <a:pt x="571" y="412"/>
                  </a:lnTo>
                  <a:lnTo>
                    <a:pt x="569" y="416"/>
                  </a:lnTo>
                  <a:lnTo>
                    <a:pt x="569" y="418"/>
                  </a:lnTo>
                  <a:lnTo>
                    <a:pt x="569" y="424"/>
                  </a:lnTo>
                  <a:lnTo>
                    <a:pt x="569" y="424"/>
                  </a:lnTo>
                  <a:lnTo>
                    <a:pt x="569" y="426"/>
                  </a:lnTo>
                  <a:lnTo>
                    <a:pt x="567" y="428"/>
                  </a:lnTo>
                  <a:lnTo>
                    <a:pt x="565" y="428"/>
                  </a:lnTo>
                  <a:lnTo>
                    <a:pt x="565" y="430"/>
                  </a:lnTo>
                  <a:lnTo>
                    <a:pt x="563" y="430"/>
                  </a:lnTo>
                  <a:lnTo>
                    <a:pt x="561" y="428"/>
                  </a:lnTo>
                  <a:lnTo>
                    <a:pt x="563" y="426"/>
                  </a:lnTo>
                  <a:lnTo>
                    <a:pt x="563" y="424"/>
                  </a:lnTo>
                  <a:lnTo>
                    <a:pt x="563" y="424"/>
                  </a:lnTo>
                  <a:lnTo>
                    <a:pt x="561" y="420"/>
                  </a:lnTo>
                  <a:lnTo>
                    <a:pt x="559" y="418"/>
                  </a:lnTo>
                  <a:lnTo>
                    <a:pt x="555" y="420"/>
                  </a:lnTo>
                  <a:lnTo>
                    <a:pt x="555" y="424"/>
                  </a:lnTo>
                  <a:lnTo>
                    <a:pt x="557" y="424"/>
                  </a:lnTo>
                  <a:lnTo>
                    <a:pt x="557" y="426"/>
                  </a:lnTo>
                  <a:lnTo>
                    <a:pt x="557" y="426"/>
                  </a:lnTo>
                  <a:lnTo>
                    <a:pt x="559" y="428"/>
                  </a:lnTo>
                  <a:lnTo>
                    <a:pt x="557" y="430"/>
                  </a:lnTo>
                  <a:lnTo>
                    <a:pt x="559" y="430"/>
                  </a:lnTo>
                  <a:lnTo>
                    <a:pt x="561" y="436"/>
                  </a:lnTo>
                  <a:lnTo>
                    <a:pt x="561" y="438"/>
                  </a:lnTo>
                  <a:lnTo>
                    <a:pt x="561" y="440"/>
                  </a:lnTo>
                  <a:lnTo>
                    <a:pt x="559" y="440"/>
                  </a:lnTo>
                  <a:lnTo>
                    <a:pt x="557" y="442"/>
                  </a:lnTo>
                  <a:lnTo>
                    <a:pt x="555" y="442"/>
                  </a:lnTo>
                  <a:lnTo>
                    <a:pt x="553" y="442"/>
                  </a:lnTo>
                  <a:lnTo>
                    <a:pt x="553" y="445"/>
                  </a:lnTo>
                  <a:lnTo>
                    <a:pt x="555" y="447"/>
                  </a:lnTo>
                  <a:lnTo>
                    <a:pt x="557" y="449"/>
                  </a:lnTo>
                  <a:lnTo>
                    <a:pt x="559" y="449"/>
                  </a:lnTo>
                  <a:lnTo>
                    <a:pt x="559" y="449"/>
                  </a:lnTo>
                  <a:lnTo>
                    <a:pt x="559" y="451"/>
                  </a:lnTo>
                  <a:lnTo>
                    <a:pt x="559" y="451"/>
                  </a:lnTo>
                  <a:lnTo>
                    <a:pt x="557" y="453"/>
                  </a:lnTo>
                  <a:lnTo>
                    <a:pt x="549" y="453"/>
                  </a:lnTo>
                  <a:lnTo>
                    <a:pt x="549" y="453"/>
                  </a:lnTo>
                  <a:lnTo>
                    <a:pt x="553" y="461"/>
                  </a:lnTo>
                  <a:lnTo>
                    <a:pt x="557" y="465"/>
                  </a:lnTo>
                  <a:lnTo>
                    <a:pt x="555" y="467"/>
                  </a:lnTo>
                  <a:lnTo>
                    <a:pt x="555" y="467"/>
                  </a:lnTo>
                  <a:lnTo>
                    <a:pt x="553" y="467"/>
                  </a:lnTo>
                  <a:lnTo>
                    <a:pt x="551" y="469"/>
                  </a:lnTo>
                  <a:lnTo>
                    <a:pt x="551" y="469"/>
                  </a:lnTo>
                  <a:lnTo>
                    <a:pt x="551" y="471"/>
                  </a:lnTo>
                  <a:lnTo>
                    <a:pt x="549" y="477"/>
                  </a:lnTo>
                  <a:lnTo>
                    <a:pt x="549" y="479"/>
                  </a:lnTo>
                  <a:lnTo>
                    <a:pt x="547" y="479"/>
                  </a:lnTo>
                  <a:lnTo>
                    <a:pt x="547" y="479"/>
                  </a:lnTo>
                  <a:lnTo>
                    <a:pt x="547" y="481"/>
                  </a:lnTo>
                  <a:lnTo>
                    <a:pt x="547" y="481"/>
                  </a:lnTo>
                  <a:lnTo>
                    <a:pt x="534" y="481"/>
                  </a:lnTo>
                  <a:lnTo>
                    <a:pt x="522" y="483"/>
                  </a:lnTo>
                  <a:lnTo>
                    <a:pt x="510" y="486"/>
                  </a:lnTo>
                  <a:lnTo>
                    <a:pt x="497" y="486"/>
                  </a:lnTo>
                  <a:lnTo>
                    <a:pt x="491" y="488"/>
                  </a:lnTo>
                  <a:lnTo>
                    <a:pt x="491" y="488"/>
                  </a:lnTo>
                  <a:lnTo>
                    <a:pt x="491" y="486"/>
                  </a:lnTo>
                  <a:lnTo>
                    <a:pt x="491" y="486"/>
                  </a:lnTo>
                  <a:lnTo>
                    <a:pt x="491" y="486"/>
                  </a:lnTo>
                  <a:lnTo>
                    <a:pt x="493" y="479"/>
                  </a:lnTo>
                  <a:lnTo>
                    <a:pt x="493" y="477"/>
                  </a:lnTo>
                  <a:lnTo>
                    <a:pt x="495" y="475"/>
                  </a:lnTo>
                  <a:lnTo>
                    <a:pt x="495" y="473"/>
                  </a:lnTo>
                  <a:lnTo>
                    <a:pt x="497" y="473"/>
                  </a:lnTo>
                  <a:lnTo>
                    <a:pt x="497" y="473"/>
                  </a:lnTo>
                  <a:lnTo>
                    <a:pt x="497" y="471"/>
                  </a:lnTo>
                  <a:lnTo>
                    <a:pt x="497" y="471"/>
                  </a:lnTo>
                  <a:lnTo>
                    <a:pt x="499" y="471"/>
                  </a:lnTo>
                  <a:lnTo>
                    <a:pt x="499" y="471"/>
                  </a:lnTo>
                  <a:lnTo>
                    <a:pt x="499" y="471"/>
                  </a:lnTo>
                  <a:lnTo>
                    <a:pt x="501" y="471"/>
                  </a:lnTo>
                  <a:lnTo>
                    <a:pt x="501" y="469"/>
                  </a:lnTo>
                  <a:lnTo>
                    <a:pt x="501" y="469"/>
                  </a:lnTo>
                  <a:lnTo>
                    <a:pt x="501" y="469"/>
                  </a:lnTo>
                  <a:lnTo>
                    <a:pt x="501" y="469"/>
                  </a:lnTo>
                  <a:lnTo>
                    <a:pt x="501" y="467"/>
                  </a:lnTo>
                  <a:lnTo>
                    <a:pt x="501" y="467"/>
                  </a:lnTo>
                  <a:lnTo>
                    <a:pt x="501" y="465"/>
                  </a:lnTo>
                  <a:lnTo>
                    <a:pt x="501" y="465"/>
                  </a:lnTo>
                  <a:lnTo>
                    <a:pt x="501" y="465"/>
                  </a:lnTo>
                  <a:lnTo>
                    <a:pt x="504" y="465"/>
                  </a:lnTo>
                  <a:lnTo>
                    <a:pt x="504" y="465"/>
                  </a:lnTo>
                  <a:lnTo>
                    <a:pt x="506" y="463"/>
                  </a:lnTo>
                  <a:lnTo>
                    <a:pt x="506" y="463"/>
                  </a:lnTo>
                  <a:lnTo>
                    <a:pt x="510" y="461"/>
                  </a:lnTo>
                  <a:lnTo>
                    <a:pt x="510" y="461"/>
                  </a:lnTo>
                  <a:lnTo>
                    <a:pt x="510" y="461"/>
                  </a:lnTo>
                  <a:lnTo>
                    <a:pt x="510" y="459"/>
                  </a:lnTo>
                  <a:lnTo>
                    <a:pt x="510" y="459"/>
                  </a:lnTo>
                  <a:lnTo>
                    <a:pt x="510" y="457"/>
                  </a:lnTo>
                  <a:lnTo>
                    <a:pt x="510" y="457"/>
                  </a:lnTo>
                  <a:lnTo>
                    <a:pt x="510" y="457"/>
                  </a:lnTo>
                  <a:lnTo>
                    <a:pt x="512" y="455"/>
                  </a:lnTo>
                  <a:lnTo>
                    <a:pt x="514" y="455"/>
                  </a:lnTo>
                  <a:lnTo>
                    <a:pt x="514" y="455"/>
                  </a:lnTo>
                  <a:lnTo>
                    <a:pt x="514" y="455"/>
                  </a:lnTo>
                  <a:lnTo>
                    <a:pt x="514" y="455"/>
                  </a:lnTo>
                  <a:lnTo>
                    <a:pt x="514" y="453"/>
                  </a:lnTo>
                  <a:lnTo>
                    <a:pt x="514" y="453"/>
                  </a:lnTo>
                  <a:lnTo>
                    <a:pt x="516" y="453"/>
                  </a:lnTo>
                  <a:lnTo>
                    <a:pt x="516" y="453"/>
                  </a:lnTo>
                  <a:lnTo>
                    <a:pt x="516" y="451"/>
                  </a:lnTo>
                  <a:lnTo>
                    <a:pt x="514" y="449"/>
                  </a:lnTo>
                  <a:lnTo>
                    <a:pt x="514" y="447"/>
                  </a:lnTo>
                  <a:lnTo>
                    <a:pt x="514" y="445"/>
                  </a:lnTo>
                  <a:lnTo>
                    <a:pt x="514" y="445"/>
                  </a:lnTo>
                  <a:lnTo>
                    <a:pt x="514" y="445"/>
                  </a:lnTo>
                  <a:lnTo>
                    <a:pt x="514" y="442"/>
                  </a:lnTo>
                  <a:lnTo>
                    <a:pt x="514" y="442"/>
                  </a:lnTo>
                  <a:lnTo>
                    <a:pt x="514" y="442"/>
                  </a:lnTo>
                  <a:lnTo>
                    <a:pt x="514" y="442"/>
                  </a:lnTo>
                  <a:lnTo>
                    <a:pt x="514" y="440"/>
                  </a:lnTo>
                  <a:lnTo>
                    <a:pt x="512" y="440"/>
                  </a:lnTo>
                  <a:lnTo>
                    <a:pt x="510" y="440"/>
                  </a:lnTo>
                  <a:lnTo>
                    <a:pt x="510" y="438"/>
                  </a:lnTo>
                  <a:lnTo>
                    <a:pt x="510" y="438"/>
                  </a:lnTo>
                  <a:lnTo>
                    <a:pt x="510" y="438"/>
                  </a:lnTo>
                  <a:lnTo>
                    <a:pt x="508" y="438"/>
                  </a:lnTo>
                  <a:lnTo>
                    <a:pt x="508" y="436"/>
                  </a:lnTo>
                  <a:lnTo>
                    <a:pt x="508" y="436"/>
                  </a:lnTo>
                  <a:lnTo>
                    <a:pt x="508" y="434"/>
                  </a:lnTo>
                  <a:lnTo>
                    <a:pt x="508" y="434"/>
                  </a:lnTo>
                  <a:lnTo>
                    <a:pt x="508" y="434"/>
                  </a:lnTo>
                  <a:lnTo>
                    <a:pt x="508" y="434"/>
                  </a:lnTo>
                  <a:lnTo>
                    <a:pt x="506" y="434"/>
                  </a:lnTo>
                  <a:lnTo>
                    <a:pt x="506" y="432"/>
                  </a:lnTo>
                  <a:lnTo>
                    <a:pt x="506" y="430"/>
                  </a:lnTo>
                  <a:lnTo>
                    <a:pt x="506" y="430"/>
                  </a:lnTo>
                  <a:lnTo>
                    <a:pt x="506" y="430"/>
                  </a:lnTo>
                  <a:lnTo>
                    <a:pt x="499" y="430"/>
                  </a:lnTo>
                  <a:lnTo>
                    <a:pt x="475" y="432"/>
                  </a:lnTo>
                  <a:lnTo>
                    <a:pt x="450" y="434"/>
                  </a:lnTo>
                  <a:lnTo>
                    <a:pt x="428" y="436"/>
                  </a:lnTo>
                  <a:lnTo>
                    <a:pt x="403" y="438"/>
                  </a:lnTo>
                  <a:lnTo>
                    <a:pt x="379" y="440"/>
                  </a:lnTo>
                  <a:lnTo>
                    <a:pt x="356" y="442"/>
                  </a:lnTo>
                  <a:lnTo>
                    <a:pt x="331" y="445"/>
                  </a:lnTo>
                  <a:lnTo>
                    <a:pt x="309" y="447"/>
                  </a:lnTo>
                  <a:lnTo>
                    <a:pt x="284" y="447"/>
                  </a:lnTo>
                  <a:lnTo>
                    <a:pt x="260" y="449"/>
                  </a:lnTo>
                  <a:lnTo>
                    <a:pt x="237" y="451"/>
                  </a:lnTo>
                  <a:lnTo>
                    <a:pt x="213" y="453"/>
                  </a:lnTo>
                  <a:lnTo>
                    <a:pt x="188" y="453"/>
                  </a:lnTo>
                  <a:lnTo>
                    <a:pt x="166" y="455"/>
                  </a:lnTo>
                  <a:lnTo>
                    <a:pt x="141" y="455"/>
                  </a:lnTo>
                  <a:lnTo>
                    <a:pt x="116" y="457"/>
                  </a:lnTo>
                  <a:lnTo>
                    <a:pt x="116" y="445"/>
                  </a:lnTo>
                  <a:lnTo>
                    <a:pt x="116" y="430"/>
                  </a:lnTo>
                  <a:lnTo>
                    <a:pt x="114" y="416"/>
                  </a:lnTo>
                  <a:lnTo>
                    <a:pt x="114" y="404"/>
                  </a:lnTo>
                  <a:lnTo>
                    <a:pt x="114" y="389"/>
                  </a:lnTo>
                  <a:lnTo>
                    <a:pt x="112" y="375"/>
                  </a:lnTo>
                  <a:lnTo>
                    <a:pt x="112" y="363"/>
                  </a:lnTo>
                  <a:lnTo>
                    <a:pt x="112" y="348"/>
                  </a:lnTo>
                  <a:lnTo>
                    <a:pt x="110" y="334"/>
                  </a:lnTo>
                  <a:lnTo>
                    <a:pt x="110" y="322"/>
                  </a:lnTo>
                  <a:lnTo>
                    <a:pt x="110" y="307"/>
                  </a:lnTo>
                  <a:lnTo>
                    <a:pt x="108" y="293"/>
                  </a:lnTo>
                  <a:lnTo>
                    <a:pt x="108" y="281"/>
                  </a:lnTo>
                  <a:lnTo>
                    <a:pt x="108" y="266"/>
                  </a:lnTo>
                  <a:lnTo>
                    <a:pt x="106" y="252"/>
                  </a:lnTo>
                  <a:lnTo>
                    <a:pt x="106" y="240"/>
                  </a:lnTo>
                  <a:lnTo>
                    <a:pt x="106" y="225"/>
                  </a:lnTo>
                  <a:lnTo>
                    <a:pt x="104" y="211"/>
                  </a:lnTo>
                  <a:lnTo>
                    <a:pt x="104" y="199"/>
                  </a:lnTo>
                  <a:lnTo>
                    <a:pt x="104" y="184"/>
                  </a:lnTo>
                  <a:lnTo>
                    <a:pt x="104" y="176"/>
                  </a:lnTo>
                  <a:lnTo>
                    <a:pt x="104" y="176"/>
                  </a:lnTo>
                  <a:lnTo>
                    <a:pt x="102" y="176"/>
                  </a:lnTo>
                  <a:lnTo>
                    <a:pt x="102" y="176"/>
                  </a:lnTo>
                  <a:lnTo>
                    <a:pt x="102" y="174"/>
                  </a:lnTo>
                  <a:lnTo>
                    <a:pt x="102" y="174"/>
                  </a:lnTo>
                  <a:lnTo>
                    <a:pt x="104" y="174"/>
                  </a:lnTo>
                  <a:lnTo>
                    <a:pt x="104" y="172"/>
                  </a:lnTo>
                  <a:lnTo>
                    <a:pt x="102" y="172"/>
                  </a:lnTo>
                  <a:lnTo>
                    <a:pt x="100" y="172"/>
                  </a:lnTo>
                  <a:lnTo>
                    <a:pt x="100" y="172"/>
                  </a:lnTo>
                  <a:lnTo>
                    <a:pt x="100" y="170"/>
                  </a:lnTo>
                  <a:lnTo>
                    <a:pt x="100" y="170"/>
                  </a:lnTo>
                  <a:lnTo>
                    <a:pt x="98" y="170"/>
                  </a:lnTo>
                  <a:lnTo>
                    <a:pt x="98" y="170"/>
                  </a:lnTo>
                  <a:lnTo>
                    <a:pt x="96" y="170"/>
                  </a:lnTo>
                  <a:lnTo>
                    <a:pt x="94" y="170"/>
                  </a:lnTo>
                  <a:lnTo>
                    <a:pt x="92" y="170"/>
                  </a:lnTo>
                  <a:lnTo>
                    <a:pt x="88" y="168"/>
                  </a:lnTo>
                  <a:lnTo>
                    <a:pt x="86" y="168"/>
                  </a:lnTo>
                  <a:lnTo>
                    <a:pt x="86" y="166"/>
                  </a:lnTo>
                  <a:lnTo>
                    <a:pt x="84" y="164"/>
                  </a:lnTo>
                  <a:lnTo>
                    <a:pt x="84" y="162"/>
                  </a:lnTo>
                  <a:lnTo>
                    <a:pt x="84" y="162"/>
                  </a:lnTo>
                  <a:lnTo>
                    <a:pt x="80" y="160"/>
                  </a:lnTo>
                  <a:lnTo>
                    <a:pt x="78" y="156"/>
                  </a:lnTo>
                  <a:lnTo>
                    <a:pt x="78" y="151"/>
                  </a:lnTo>
                  <a:lnTo>
                    <a:pt x="78" y="149"/>
                  </a:lnTo>
                  <a:lnTo>
                    <a:pt x="75" y="147"/>
                  </a:lnTo>
                  <a:lnTo>
                    <a:pt x="73" y="147"/>
                  </a:lnTo>
                  <a:lnTo>
                    <a:pt x="73" y="145"/>
                  </a:lnTo>
                  <a:lnTo>
                    <a:pt x="73" y="145"/>
                  </a:lnTo>
                  <a:lnTo>
                    <a:pt x="69" y="143"/>
                  </a:lnTo>
                  <a:lnTo>
                    <a:pt x="67" y="143"/>
                  </a:lnTo>
                  <a:lnTo>
                    <a:pt x="67" y="141"/>
                  </a:lnTo>
                  <a:lnTo>
                    <a:pt x="67" y="141"/>
                  </a:lnTo>
                  <a:lnTo>
                    <a:pt x="65" y="137"/>
                  </a:lnTo>
                  <a:lnTo>
                    <a:pt x="63" y="137"/>
                  </a:lnTo>
                  <a:lnTo>
                    <a:pt x="63" y="135"/>
                  </a:lnTo>
                  <a:lnTo>
                    <a:pt x="61" y="135"/>
                  </a:lnTo>
                  <a:lnTo>
                    <a:pt x="59" y="133"/>
                  </a:lnTo>
                  <a:lnTo>
                    <a:pt x="59" y="129"/>
                  </a:lnTo>
                  <a:lnTo>
                    <a:pt x="61" y="129"/>
                  </a:lnTo>
                  <a:lnTo>
                    <a:pt x="63" y="129"/>
                  </a:lnTo>
                  <a:lnTo>
                    <a:pt x="63" y="129"/>
                  </a:lnTo>
                  <a:lnTo>
                    <a:pt x="63" y="127"/>
                  </a:lnTo>
                  <a:lnTo>
                    <a:pt x="63" y="127"/>
                  </a:lnTo>
                  <a:lnTo>
                    <a:pt x="63" y="125"/>
                  </a:lnTo>
                  <a:lnTo>
                    <a:pt x="63" y="123"/>
                  </a:lnTo>
                  <a:lnTo>
                    <a:pt x="65" y="121"/>
                  </a:lnTo>
                  <a:lnTo>
                    <a:pt x="67" y="119"/>
                  </a:lnTo>
                  <a:lnTo>
                    <a:pt x="69" y="117"/>
                  </a:lnTo>
                  <a:lnTo>
                    <a:pt x="69" y="117"/>
                  </a:lnTo>
                  <a:lnTo>
                    <a:pt x="69" y="117"/>
                  </a:lnTo>
                  <a:lnTo>
                    <a:pt x="69" y="113"/>
                  </a:lnTo>
                  <a:lnTo>
                    <a:pt x="69" y="113"/>
                  </a:lnTo>
                  <a:lnTo>
                    <a:pt x="71" y="110"/>
                  </a:lnTo>
                  <a:lnTo>
                    <a:pt x="71" y="110"/>
                  </a:lnTo>
                  <a:lnTo>
                    <a:pt x="75" y="113"/>
                  </a:lnTo>
                  <a:lnTo>
                    <a:pt x="78" y="113"/>
                  </a:lnTo>
                  <a:lnTo>
                    <a:pt x="80" y="110"/>
                  </a:lnTo>
                  <a:lnTo>
                    <a:pt x="80" y="108"/>
                  </a:lnTo>
                  <a:lnTo>
                    <a:pt x="78" y="108"/>
                  </a:lnTo>
                  <a:lnTo>
                    <a:pt x="78" y="108"/>
                  </a:lnTo>
                  <a:lnTo>
                    <a:pt x="78" y="106"/>
                  </a:lnTo>
                  <a:lnTo>
                    <a:pt x="78" y="106"/>
                  </a:lnTo>
                  <a:lnTo>
                    <a:pt x="78" y="102"/>
                  </a:lnTo>
                  <a:lnTo>
                    <a:pt x="78" y="102"/>
                  </a:lnTo>
                  <a:lnTo>
                    <a:pt x="78" y="100"/>
                  </a:lnTo>
                  <a:lnTo>
                    <a:pt x="73" y="98"/>
                  </a:lnTo>
                  <a:lnTo>
                    <a:pt x="71" y="98"/>
                  </a:lnTo>
                  <a:lnTo>
                    <a:pt x="71" y="96"/>
                  </a:lnTo>
                  <a:lnTo>
                    <a:pt x="71" y="96"/>
                  </a:lnTo>
                  <a:lnTo>
                    <a:pt x="71" y="94"/>
                  </a:lnTo>
                  <a:lnTo>
                    <a:pt x="71" y="94"/>
                  </a:lnTo>
                  <a:lnTo>
                    <a:pt x="69" y="94"/>
                  </a:lnTo>
                  <a:lnTo>
                    <a:pt x="67" y="94"/>
                  </a:lnTo>
                  <a:lnTo>
                    <a:pt x="65" y="94"/>
                  </a:lnTo>
                  <a:lnTo>
                    <a:pt x="63" y="96"/>
                  </a:lnTo>
                  <a:lnTo>
                    <a:pt x="61" y="98"/>
                  </a:lnTo>
                  <a:lnTo>
                    <a:pt x="59" y="98"/>
                  </a:lnTo>
                  <a:lnTo>
                    <a:pt x="57" y="98"/>
                  </a:lnTo>
                  <a:lnTo>
                    <a:pt x="55" y="96"/>
                  </a:lnTo>
                  <a:lnTo>
                    <a:pt x="55" y="94"/>
                  </a:lnTo>
                  <a:lnTo>
                    <a:pt x="53" y="94"/>
                  </a:lnTo>
                  <a:lnTo>
                    <a:pt x="53" y="94"/>
                  </a:lnTo>
                  <a:lnTo>
                    <a:pt x="51" y="94"/>
                  </a:lnTo>
                  <a:lnTo>
                    <a:pt x="51" y="94"/>
                  </a:lnTo>
                  <a:lnTo>
                    <a:pt x="51" y="92"/>
                  </a:lnTo>
                  <a:lnTo>
                    <a:pt x="49" y="92"/>
                  </a:lnTo>
                  <a:lnTo>
                    <a:pt x="49" y="92"/>
                  </a:lnTo>
                  <a:lnTo>
                    <a:pt x="49" y="90"/>
                  </a:lnTo>
                  <a:lnTo>
                    <a:pt x="47" y="90"/>
                  </a:lnTo>
                  <a:lnTo>
                    <a:pt x="47" y="90"/>
                  </a:lnTo>
                  <a:lnTo>
                    <a:pt x="45" y="88"/>
                  </a:lnTo>
                  <a:lnTo>
                    <a:pt x="41" y="84"/>
                  </a:lnTo>
                  <a:lnTo>
                    <a:pt x="39" y="82"/>
                  </a:lnTo>
                  <a:lnTo>
                    <a:pt x="37" y="82"/>
                  </a:lnTo>
                  <a:lnTo>
                    <a:pt x="32" y="82"/>
                  </a:lnTo>
                  <a:lnTo>
                    <a:pt x="32" y="80"/>
                  </a:lnTo>
                  <a:lnTo>
                    <a:pt x="30" y="78"/>
                  </a:lnTo>
                  <a:lnTo>
                    <a:pt x="32" y="76"/>
                  </a:lnTo>
                  <a:lnTo>
                    <a:pt x="32" y="74"/>
                  </a:lnTo>
                  <a:lnTo>
                    <a:pt x="32" y="74"/>
                  </a:lnTo>
                  <a:lnTo>
                    <a:pt x="32" y="72"/>
                  </a:lnTo>
                  <a:lnTo>
                    <a:pt x="30" y="70"/>
                  </a:lnTo>
                  <a:lnTo>
                    <a:pt x="28" y="67"/>
                  </a:lnTo>
                  <a:lnTo>
                    <a:pt x="28" y="67"/>
                  </a:lnTo>
                  <a:lnTo>
                    <a:pt x="26" y="63"/>
                  </a:lnTo>
                  <a:lnTo>
                    <a:pt x="26" y="61"/>
                  </a:lnTo>
                  <a:lnTo>
                    <a:pt x="26" y="59"/>
                  </a:lnTo>
                  <a:lnTo>
                    <a:pt x="26" y="59"/>
                  </a:lnTo>
                  <a:lnTo>
                    <a:pt x="24" y="59"/>
                  </a:lnTo>
                  <a:lnTo>
                    <a:pt x="20" y="57"/>
                  </a:lnTo>
                  <a:lnTo>
                    <a:pt x="20" y="57"/>
                  </a:lnTo>
                  <a:lnTo>
                    <a:pt x="18" y="57"/>
                  </a:lnTo>
                  <a:lnTo>
                    <a:pt x="18" y="55"/>
                  </a:lnTo>
                  <a:lnTo>
                    <a:pt x="18" y="53"/>
                  </a:lnTo>
                  <a:lnTo>
                    <a:pt x="16" y="53"/>
                  </a:lnTo>
                  <a:lnTo>
                    <a:pt x="14" y="53"/>
                  </a:lnTo>
                  <a:lnTo>
                    <a:pt x="12" y="53"/>
                  </a:lnTo>
                  <a:lnTo>
                    <a:pt x="12" y="53"/>
                  </a:lnTo>
                  <a:lnTo>
                    <a:pt x="10" y="51"/>
                  </a:lnTo>
                  <a:lnTo>
                    <a:pt x="12" y="51"/>
                  </a:lnTo>
                  <a:lnTo>
                    <a:pt x="12" y="49"/>
                  </a:lnTo>
                  <a:lnTo>
                    <a:pt x="12" y="49"/>
                  </a:lnTo>
                  <a:lnTo>
                    <a:pt x="12" y="49"/>
                  </a:lnTo>
                  <a:lnTo>
                    <a:pt x="12" y="45"/>
                  </a:lnTo>
                  <a:lnTo>
                    <a:pt x="10" y="43"/>
                  </a:lnTo>
                  <a:lnTo>
                    <a:pt x="10" y="43"/>
                  </a:lnTo>
                  <a:lnTo>
                    <a:pt x="10" y="43"/>
                  </a:lnTo>
                  <a:lnTo>
                    <a:pt x="10" y="41"/>
                  </a:lnTo>
                  <a:lnTo>
                    <a:pt x="10" y="39"/>
                  </a:lnTo>
                  <a:lnTo>
                    <a:pt x="8" y="39"/>
                  </a:lnTo>
                  <a:lnTo>
                    <a:pt x="8" y="37"/>
                  </a:lnTo>
                  <a:lnTo>
                    <a:pt x="6" y="35"/>
                  </a:lnTo>
                  <a:lnTo>
                    <a:pt x="6" y="33"/>
                  </a:lnTo>
                  <a:lnTo>
                    <a:pt x="6" y="33"/>
                  </a:lnTo>
                  <a:lnTo>
                    <a:pt x="6" y="31"/>
                  </a:lnTo>
                  <a:lnTo>
                    <a:pt x="6" y="31"/>
                  </a:lnTo>
                  <a:lnTo>
                    <a:pt x="4" y="29"/>
                  </a:lnTo>
                  <a:lnTo>
                    <a:pt x="2" y="29"/>
                  </a:lnTo>
                  <a:lnTo>
                    <a:pt x="0" y="29"/>
                  </a:lnTo>
                  <a:lnTo>
                    <a:pt x="0" y="24"/>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20" y="20"/>
                  </a:lnTo>
                  <a:lnTo>
                    <a:pt x="41" y="20"/>
                  </a:lnTo>
                  <a:lnTo>
                    <a:pt x="61" y="18"/>
                  </a:lnTo>
                  <a:lnTo>
                    <a:pt x="82" y="18"/>
                  </a:lnTo>
                  <a:lnTo>
                    <a:pt x="102" y="16"/>
                  </a:lnTo>
                  <a:lnTo>
                    <a:pt x="123" y="16"/>
                  </a:lnTo>
                  <a:lnTo>
                    <a:pt x="143" y="14"/>
                  </a:lnTo>
                  <a:lnTo>
                    <a:pt x="161" y="14"/>
                  </a:lnTo>
                  <a:lnTo>
                    <a:pt x="182" y="12"/>
                  </a:lnTo>
                  <a:lnTo>
                    <a:pt x="202" y="10"/>
                  </a:lnTo>
                  <a:lnTo>
                    <a:pt x="223" y="10"/>
                  </a:lnTo>
                  <a:lnTo>
                    <a:pt x="243" y="8"/>
                  </a:lnTo>
                  <a:lnTo>
                    <a:pt x="264" y="6"/>
                  </a:lnTo>
                  <a:lnTo>
                    <a:pt x="284" y="4"/>
                  </a:lnTo>
                  <a:lnTo>
                    <a:pt x="303" y="4"/>
                  </a:lnTo>
                  <a:lnTo>
                    <a:pt x="323" y="2"/>
                  </a:lnTo>
                  <a:lnTo>
                    <a:pt x="331" y="2"/>
                  </a:lnTo>
                  <a:lnTo>
                    <a:pt x="336" y="0"/>
                  </a:lnTo>
                  <a:lnTo>
                    <a:pt x="336" y="2"/>
                  </a:lnTo>
                  <a:lnTo>
                    <a:pt x="336" y="2"/>
                  </a:lnTo>
                  <a:lnTo>
                    <a:pt x="338" y="4"/>
                  </a:lnTo>
                  <a:lnTo>
                    <a:pt x="338" y="4"/>
                  </a:lnTo>
                  <a:lnTo>
                    <a:pt x="338" y="6"/>
                  </a:lnTo>
                  <a:lnTo>
                    <a:pt x="340" y="6"/>
                  </a:lnTo>
                  <a:lnTo>
                    <a:pt x="340" y="8"/>
                  </a:lnTo>
                  <a:lnTo>
                    <a:pt x="340" y="8"/>
                  </a:lnTo>
                  <a:lnTo>
                    <a:pt x="342" y="8"/>
                  </a:lnTo>
                  <a:lnTo>
                    <a:pt x="342" y="8"/>
                  </a:lnTo>
                  <a:lnTo>
                    <a:pt x="344" y="10"/>
                  </a:lnTo>
                  <a:lnTo>
                    <a:pt x="346" y="10"/>
                  </a:lnTo>
                  <a:lnTo>
                    <a:pt x="346" y="12"/>
                  </a:lnTo>
                  <a:lnTo>
                    <a:pt x="346" y="12"/>
                  </a:lnTo>
                  <a:lnTo>
                    <a:pt x="346" y="12"/>
                  </a:lnTo>
                  <a:lnTo>
                    <a:pt x="346" y="12"/>
                  </a:lnTo>
                  <a:lnTo>
                    <a:pt x="348" y="12"/>
                  </a:lnTo>
                  <a:lnTo>
                    <a:pt x="348" y="12"/>
                  </a:lnTo>
                  <a:lnTo>
                    <a:pt x="348" y="14"/>
                  </a:lnTo>
                  <a:lnTo>
                    <a:pt x="348" y="14"/>
                  </a:lnTo>
                  <a:lnTo>
                    <a:pt x="348" y="14"/>
                  </a:lnTo>
                  <a:lnTo>
                    <a:pt x="350" y="14"/>
                  </a:lnTo>
                  <a:lnTo>
                    <a:pt x="352" y="16"/>
                  </a:lnTo>
                  <a:lnTo>
                    <a:pt x="352" y="16"/>
                  </a:lnTo>
                  <a:lnTo>
                    <a:pt x="352" y="16"/>
                  </a:lnTo>
                  <a:lnTo>
                    <a:pt x="352" y="18"/>
                  </a:lnTo>
                  <a:lnTo>
                    <a:pt x="352" y="18"/>
                  </a:lnTo>
                  <a:lnTo>
                    <a:pt x="352" y="18"/>
                  </a:lnTo>
                  <a:lnTo>
                    <a:pt x="354" y="20"/>
                  </a:lnTo>
                  <a:lnTo>
                    <a:pt x="356" y="22"/>
                  </a:lnTo>
                  <a:lnTo>
                    <a:pt x="358" y="24"/>
                  </a:lnTo>
                  <a:lnTo>
                    <a:pt x="360" y="24"/>
                  </a:lnTo>
                  <a:lnTo>
                    <a:pt x="362" y="24"/>
                  </a:lnTo>
                  <a:lnTo>
                    <a:pt x="362" y="24"/>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MO</a:t>
              </a:r>
            </a:p>
          </p:txBody>
        </p:sp>
        <p:sp>
          <p:nvSpPr>
            <p:cNvPr id="91" name="Freeform 32">
              <a:extLst>
                <a:ext uri="{FF2B5EF4-FFF2-40B4-BE49-F238E27FC236}">
                  <a16:creationId xmlns:a16="http://schemas.microsoft.com/office/drawing/2014/main" id="{77158E92-6594-D464-ED87-0D948EF1C088}"/>
                </a:ext>
              </a:extLst>
            </p:cNvPr>
            <p:cNvSpPr>
              <a:spLocks/>
            </p:cNvSpPr>
            <p:nvPr/>
          </p:nvSpPr>
          <p:spPr bwMode="auto">
            <a:xfrm>
              <a:off x="2934" y="133"/>
              <a:ext cx="584" cy="613"/>
            </a:xfrm>
            <a:custGeom>
              <a:avLst/>
              <a:gdLst>
                <a:gd name="T0" fmla="*/ 562 w 584"/>
                <a:gd name="T1" fmla="*/ 115 h 613"/>
                <a:gd name="T2" fmla="*/ 516 w 584"/>
                <a:gd name="T3" fmla="*/ 109 h 613"/>
                <a:gd name="T4" fmla="*/ 500 w 584"/>
                <a:gd name="T5" fmla="*/ 111 h 613"/>
                <a:gd name="T6" fmla="*/ 488 w 584"/>
                <a:gd name="T7" fmla="*/ 99 h 613"/>
                <a:gd name="T8" fmla="*/ 455 w 584"/>
                <a:gd name="T9" fmla="*/ 115 h 613"/>
                <a:gd name="T10" fmla="*/ 432 w 584"/>
                <a:gd name="T11" fmla="*/ 115 h 613"/>
                <a:gd name="T12" fmla="*/ 410 w 584"/>
                <a:gd name="T13" fmla="*/ 107 h 613"/>
                <a:gd name="T14" fmla="*/ 379 w 584"/>
                <a:gd name="T15" fmla="*/ 92 h 613"/>
                <a:gd name="T16" fmla="*/ 371 w 584"/>
                <a:gd name="T17" fmla="*/ 105 h 613"/>
                <a:gd name="T18" fmla="*/ 349 w 584"/>
                <a:gd name="T19" fmla="*/ 86 h 613"/>
                <a:gd name="T20" fmla="*/ 342 w 584"/>
                <a:gd name="T21" fmla="*/ 74 h 613"/>
                <a:gd name="T22" fmla="*/ 287 w 584"/>
                <a:gd name="T23" fmla="*/ 76 h 613"/>
                <a:gd name="T24" fmla="*/ 254 w 584"/>
                <a:gd name="T25" fmla="*/ 70 h 613"/>
                <a:gd name="T26" fmla="*/ 224 w 584"/>
                <a:gd name="T27" fmla="*/ 64 h 613"/>
                <a:gd name="T28" fmla="*/ 191 w 584"/>
                <a:gd name="T29" fmla="*/ 52 h 613"/>
                <a:gd name="T30" fmla="*/ 181 w 584"/>
                <a:gd name="T31" fmla="*/ 8 h 613"/>
                <a:gd name="T32" fmla="*/ 156 w 584"/>
                <a:gd name="T33" fmla="*/ 37 h 613"/>
                <a:gd name="T34" fmla="*/ 39 w 584"/>
                <a:gd name="T35" fmla="*/ 43 h 613"/>
                <a:gd name="T36" fmla="*/ 2 w 584"/>
                <a:gd name="T37" fmla="*/ 54 h 613"/>
                <a:gd name="T38" fmla="*/ 9 w 584"/>
                <a:gd name="T39" fmla="*/ 86 h 613"/>
                <a:gd name="T40" fmla="*/ 11 w 584"/>
                <a:gd name="T41" fmla="*/ 115 h 613"/>
                <a:gd name="T42" fmla="*/ 19 w 584"/>
                <a:gd name="T43" fmla="*/ 156 h 613"/>
                <a:gd name="T44" fmla="*/ 23 w 584"/>
                <a:gd name="T45" fmla="*/ 166 h 613"/>
                <a:gd name="T46" fmla="*/ 33 w 584"/>
                <a:gd name="T47" fmla="*/ 187 h 613"/>
                <a:gd name="T48" fmla="*/ 33 w 584"/>
                <a:gd name="T49" fmla="*/ 203 h 613"/>
                <a:gd name="T50" fmla="*/ 35 w 584"/>
                <a:gd name="T51" fmla="*/ 232 h 613"/>
                <a:gd name="T52" fmla="*/ 39 w 584"/>
                <a:gd name="T53" fmla="*/ 252 h 613"/>
                <a:gd name="T54" fmla="*/ 41 w 584"/>
                <a:gd name="T55" fmla="*/ 256 h 613"/>
                <a:gd name="T56" fmla="*/ 41 w 584"/>
                <a:gd name="T57" fmla="*/ 275 h 613"/>
                <a:gd name="T58" fmla="*/ 45 w 584"/>
                <a:gd name="T59" fmla="*/ 299 h 613"/>
                <a:gd name="T60" fmla="*/ 56 w 584"/>
                <a:gd name="T61" fmla="*/ 318 h 613"/>
                <a:gd name="T62" fmla="*/ 60 w 584"/>
                <a:gd name="T63" fmla="*/ 336 h 613"/>
                <a:gd name="T64" fmla="*/ 60 w 584"/>
                <a:gd name="T65" fmla="*/ 361 h 613"/>
                <a:gd name="T66" fmla="*/ 45 w 584"/>
                <a:gd name="T67" fmla="*/ 384 h 613"/>
                <a:gd name="T68" fmla="*/ 49 w 584"/>
                <a:gd name="T69" fmla="*/ 408 h 613"/>
                <a:gd name="T70" fmla="*/ 70 w 584"/>
                <a:gd name="T71" fmla="*/ 424 h 613"/>
                <a:gd name="T72" fmla="*/ 76 w 584"/>
                <a:gd name="T73" fmla="*/ 590 h 613"/>
                <a:gd name="T74" fmla="*/ 312 w 584"/>
                <a:gd name="T75" fmla="*/ 603 h 613"/>
                <a:gd name="T76" fmla="*/ 496 w 584"/>
                <a:gd name="T77" fmla="*/ 584 h 613"/>
                <a:gd name="T78" fmla="*/ 494 w 584"/>
                <a:gd name="T79" fmla="*/ 562 h 613"/>
                <a:gd name="T80" fmla="*/ 488 w 584"/>
                <a:gd name="T81" fmla="*/ 547 h 613"/>
                <a:gd name="T82" fmla="*/ 478 w 584"/>
                <a:gd name="T83" fmla="*/ 537 h 613"/>
                <a:gd name="T84" fmla="*/ 457 w 584"/>
                <a:gd name="T85" fmla="*/ 533 h 613"/>
                <a:gd name="T86" fmla="*/ 404 w 584"/>
                <a:gd name="T87" fmla="*/ 494 h 613"/>
                <a:gd name="T88" fmla="*/ 375 w 584"/>
                <a:gd name="T89" fmla="*/ 478 h 613"/>
                <a:gd name="T90" fmla="*/ 365 w 584"/>
                <a:gd name="T91" fmla="*/ 449 h 613"/>
                <a:gd name="T92" fmla="*/ 363 w 584"/>
                <a:gd name="T93" fmla="*/ 427 h 613"/>
                <a:gd name="T94" fmla="*/ 365 w 584"/>
                <a:gd name="T95" fmla="*/ 406 h 613"/>
                <a:gd name="T96" fmla="*/ 361 w 584"/>
                <a:gd name="T97" fmla="*/ 384 h 613"/>
                <a:gd name="T98" fmla="*/ 357 w 584"/>
                <a:gd name="T99" fmla="*/ 357 h 613"/>
                <a:gd name="T100" fmla="*/ 373 w 584"/>
                <a:gd name="T101" fmla="*/ 338 h 613"/>
                <a:gd name="T102" fmla="*/ 383 w 584"/>
                <a:gd name="T103" fmla="*/ 332 h 613"/>
                <a:gd name="T104" fmla="*/ 392 w 584"/>
                <a:gd name="T105" fmla="*/ 322 h 613"/>
                <a:gd name="T106" fmla="*/ 389 w 584"/>
                <a:gd name="T107" fmla="*/ 267 h 613"/>
                <a:gd name="T108" fmla="*/ 396 w 584"/>
                <a:gd name="T109" fmla="*/ 263 h 613"/>
                <a:gd name="T110" fmla="*/ 400 w 584"/>
                <a:gd name="T111" fmla="*/ 256 h 613"/>
                <a:gd name="T112" fmla="*/ 428 w 584"/>
                <a:gd name="T113" fmla="*/ 230 h 613"/>
                <a:gd name="T114" fmla="*/ 441 w 584"/>
                <a:gd name="T115" fmla="*/ 218 h 613"/>
                <a:gd name="T116" fmla="*/ 549 w 584"/>
                <a:gd name="T117" fmla="*/ 133 h 613"/>
                <a:gd name="T118" fmla="*/ 584 w 584"/>
                <a:gd name="T119" fmla="*/ 11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4" h="613">
                  <a:moveTo>
                    <a:pt x="584" y="111"/>
                  </a:moveTo>
                  <a:lnTo>
                    <a:pt x="580" y="111"/>
                  </a:lnTo>
                  <a:lnTo>
                    <a:pt x="578" y="111"/>
                  </a:lnTo>
                  <a:lnTo>
                    <a:pt x="574" y="111"/>
                  </a:lnTo>
                  <a:lnTo>
                    <a:pt x="574" y="111"/>
                  </a:lnTo>
                  <a:lnTo>
                    <a:pt x="572" y="111"/>
                  </a:lnTo>
                  <a:lnTo>
                    <a:pt x="572" y="111"/>
                  </a:lnTo>
                  <a:lnTo>
                    <a:pt x="570" y="111"/>
                  </a:lnTo>
                  <a:lnTo>
                    <a:pt x="568" y="111"/>
                  </a:lnTo>
                  <a:lnTo>
                    <a:pt x="562" y="115"/>
                  </a:lnTo>
                  <a:lnTo>
                    <a:pt x="559" y="115"/>
                  </a:lnTo>
                  <a:lnTo>
                    <a:pt x="555" y="113"/>
                  </a:lnTo>
                  <a:lnTo>
                    <a:pt x="553" y="113"/>
                  </a:lnTo>
                  <a:lnTo>
                    <a:pt x="551" y="111"/>
                  </a:lnTo>
                  <a:lnTo>
                    <a:pt x="547" y="105"/>
                  </a:lnTo>
                  <a:lnTo>
                    <a:pt x="547" y="105"/>
                  </a:lnTo>
                  <a:lnTo>
                    <a:pt x="543" y="103"/>
                  </a:lnTo>
                  <a:lnTo>
                    <a:pt x="539" y="103"/>
                  </a:lnTo>
                  <a:lnTo>
                    <a:pt x="516" y="109"/>
                  </a:lnTo>
                  <a:lnTo>
                    <a:pt x="516" y="109"/>
                  </a:lnTo>
                  <a:lnTo>
                    <a:pt x="516" y="109"/>
                  </a:lnTo>
                  <a:lnTo>
                    <a:pt x="514" y="107"/>
                  </a:lnTo>
                  <a:lnTo>
                    <a:pt x="514" y="109"/>
                  </a:lnTo>
                  <a:lnTo>
                    <a:pt x="512" y="109"/>
                  </a:lnTo>
                  <a:lnTo>
                    <a:pt x="510" y="109"/>
                  </a:lnTo>
                  <a:lnTo>
                    <a:pt x="510" y="109"/>
                  </a:lnTo>
                  <a:lnTo>
                    <a:pt x="508" y="109"/>
                  </a:lnTo>
                  <a:lnTo>
                    <a:pt x="508" y="107"/>
                  </a:lnTo>
                  <a:lnTo>
                    <a:pt x="506" y="107"/>
                  </a:lnTo>
                  <a:lnTo>
                    <a:pt x="500" y="111"/>
                  </a:lnTo>
                  <a:lnTo>
                    <a:pt x="496" y="111"/>
                  </a:lnTo>
                  <a:lnTo>
                    <a:pt x="492" y="109"/>
                  </a:lnTo>
                  <a:lnTo>
                    <a:pt x="492" y="107"/>
                  </a:lnTo>
                  <a:lnTo>
                    <a:pt x="490" y="105"/>
                  </a:lnTo>
                  <a:lnTo>
                    <a:pt x="490" y="103"/>
                  </a:lnTo>
                  <a:lnTo>
                    <a:pt x="490" y="103"/>
                  </a:lnTo>
                  <a:lnTo>
                    <a:pt x="488" y="103"/>
                  </a:lnTo>
                  <a:lnTo>
                    <a:pt x="488" y="103"/>
                  </a:lnTo>
                  <a:lnTo>
                    <a:pt x="488" y="101"/>
                  </a:lnTo>
                  <a:lnTo>
                    <a:pt x="488" y="99"/>
                  </a:lnTo>
                  <a:lnTo>
                    <a:pt x="488" y="99"/>
                  </a:lnTo>
                  <a:lnTo>
                    <a:pt x="488" y="97"/>
                  </a:lnTo>
                  <a:lnTo>
                    <a:pt x="486" y="97"/>
                  </a:lnTo>
                  <a:lnTo>
                    <a:pt x="482" y="97"/>
                  </a:lnTo>
                  <a:lnTo>
                    <a:pt x="475" y="101"/>
                  </a:lnTo>
                  <a:lnTo>
                    <a:pt x="473" y="103"/>
                  </a:lnTo>
                  <a:lnTo>
                    <a:pt x="469" y="105"/>
                  </a:lnTo>
                  <a:lnTo>
                    <a:pt x="461" y="111"/>
                  </a:lnTo>
                  <a:lnTo>
                    <a:pt x="459" y="113"/>
                  </a:lnTo>
                  <a:lnTo>
                    <a:pt x="455" y="115"/>
                  </a:lnTo>
                  <a:lnTo>
                    <a:pt x="449" y="117"/>
                  </a:lnTo>
                  <a:lnTo>
                    <a:pt x="445" y="119"/>
                  </a:lnTo>
                  <a:lnTo>
                    <a:pt x="443" y="119"/>
                  </a:lnTo>
                  <a:lnTo>
                    <a:pt x="441" y="119"/>
                  </a:lnTo>
                  <a:lnTo>
                    <a:pt x="441" y="119"/>
                  </a:lnTo>
                  <a:lnTo>
                    <a:pt x="432" y="119"/>
                  </a:lnTo>
                  <a:lnTo>
                    <a:pt x="432" y="119"/>
                  </a:lnTo>
                  <a:lnTo>
                    <a:pt x="432" y="119"/>
                  </a:lnTo>
                  <a:lnTo>
                    <a:pt x="432" y="117"/>
                  </a:lnTo>
                  <a:lnTo>
                    <a:pt x="432" y="115"/>
                  </a:lnTo>
                  <a:lnTo>
                    <a:pt x="432" y="115"/>
                  </a:lnTo>
                  <a:lnTo>
                    <a:pt x="430" y="115"/>
                  </a:lnTo>
                  <a:lnTo>
                    <a:pt x="430" y="115"/>
                  </a:lnTo>
                  <a:lnTo>
                    <a:pt x="424" y="115"/>
                  </a:lnTo>
                  <a:lnTo>
                    <a:pt x="422" y="113"/>
                  </a:lnTo>
                  <a:lnTo>
                    <a:pt x="422" y="111"/>
                  </a:lnTo>
                  <a:lnTo>
                    <a:pt x="420" y="109"/>
                  </a:lnTo>
                  <a:lnTo>
                    <a:pt x="420" y="107"/>
                  </a:lnTo>
                  <a:lnTo>
                    <a:pt x="418" y="107"/>
                  </a:lnTo>
                  <a:lnTo>
                    <a:pt x="410" y="107"/>
                  </a:lnTo>
                  <a:lnTo>
                    <a:pt x="402" y="103"/>
                  </a:lnTo>
                  <a:lnTo>
                    <a:pt x="402" y="103"/>
                  </a:lnTo>
                  <a:lnTo>
                    <a:pt x="400" y="101"/>
                  </a:lnTo>
                  <a:lnTo>
                    <a:pt x="398" y="101"/>
                  </a:lnTo>
                  <a:lnTo>
                    <a:pt x="398" y="97"/>
                  </a:lnTo>
                  <a:lnTo>
                    <a:pt x="396" y="95"/>
                  </a:lnTo>
                  <a:lnTo>
                    <a:pt x="396" y="92"/>
                  </a:lnTo>
                  <a:lnTo>
                    <a:pt x="394" y="92"/>
                  </a:lnTo>
                  <a:lnTo>
                    <a:pt x="387" y="92"/>
                  </a:lnTo>
                  <a:lnTo>
                    <a:pt x="379" y="92"/>
                  </a:lnTo>
                  <a:lnTo>
                    <a:pt x="377" y="95"/>
                  </a:lnTo>
                  <a:lnTo>
                    <a:pt x="375" y="97"/>
                  </a:lnTo>
                  <a:lnTo>
                    <a:pt x="375" y="99"/>
                  </a:lnTo>
                  <a:lnTo>
                    <a:pt x="377" y="101"/>
                  </a:lnTo>
                  <a:lnTo>
                    <a:pt x="377" y="103"/>
                  </a:lnTo>
                  <a:lnTo>
                    <a:pt x="377" y="105"/>
                  </a:lnTo>
                  <a:lnTo>
                    <a:pt x="375" y="105"/>
                  </a:lnTo>
                  <a:lnTo>
                    <a:pt x="373" y="105"/>
                  </a:lnTo>
                  <a:lnTo>
                    <a:pt x="371" y="107"/>
                  </a:lnTo>
                  <a:lnTo>
                    <a:pt x="371" y="105"/>
                  </a:lnTo>
                  <a:lnTo>
                    <a:pt x="367" y="101"/>
                  </a:lnTo>
                  <a:lnTo>
                    <a:pt x="365" y="97"/>
                  </a:lnTo>
                  <a:lnTo>
                    <a:pt x="363" y="95"/>
                  </a:lnTo>
                  <a:lnTo>
                    <a:pt x="363" y="92"/>
                  </a:lnTo>
                  <a:lnTo>
                    <a:pt x="363" y="88"/>
                  </a:lnTo>
                  <a:lnTo>
                    <a:pt x="363" y="86"/>
                  </a:lnTo>
                  <a:lnTo>
                    <a:pt x="361" y="84"/>
                  </a:lnTo>
                  <a:lnTo>
                    <a:pt x="359" y="84"/>
                  </a:lnTo>
                  <a:lnTo>
                    <a:pt x="355" y="84"/>
                  </a:lnTo>
                  <a:lnTo>
                    <a:pt x="349" y="86"/>
                  </a:lnTo>
                  <a:lnTo>
                    <a:pt x="346" y="84"/>
                  </a:lnTo>
                  <a:lnTo>
                    <a:pt x="344" y="84"/>
                  </a:lnTo>
                  <a:lnTo>
                    <a:pt x="342" y="84"/>
                  </a:lnTo>
                  <a:lnTo>
                    <a:pt x="344" y="80"/>
                  </a:lnTo>
                  <a:lnTo>
                    <a:pt x="344" y="80"/>
                  </a:lnTo>
                  <a:lnTo>
                    <a:pt x="349" y="80"/>
                  </a:lnTo>
                  <a:lnTo>
                    <a:pt x="351" y="78"/>
                  </a:lnTo>
                  <a:lnTo>
                    <a:pt x="351" y="76"/>
                  </a:lnTo>
                  <a:lnTo>
                    <a:pt x="349" y="76"/>
                  </a:lnTo>
                  <a:lnTo>
                    <a:pt x="342" y="74"/>
                  </a:lnTo>
                  <a:lnTo>
                    <a:pt x="330" y="72"/>
                  </a:lnTo>
                  <a:lnTo>
                    <a:pt x="324" y="70"/>
                  </a:lnTo>
                  <a:lnTo>
                    <a:pt x="322" y="68"/>
                  </a:lnTo>
                  <a:lnTo>
                    <a:pt x="312" y="68"/>
                  </a:lnTo>
                  <a:lnTo>
                    <a:pt x="301" y="68"/>
                  </a:lnTo>
                  <a:lnTo>
                    <a:pt x="291" y="70"/>
                  </a:lnTo>
                  <a:lnTo>
                    <a:pt x="289" y="72"/>
                  </a:lnTo>
                  <a:lnTo>
                    <a:pt x="287" y="72"/>
                  </a:lnTo>
                  <a:lnTo>
                    <a:pt x="287" y="74"/>
                  </a:lnTo>
                  <a:lnTo>
                    <a:pt x="287" y="76"/>
                  </a:lnTo>
                  <a:lnTo>
                    <a:pt x="287" y="76"/>
                  </a:lnTo>
                  <a:lnTo>
                    <a:pt x="285" y="78"/>
                  </a:lnTo>
                  <a:lnTo>
                    <a:pt x="279" y="80"/>
                  </a:lnTo>
                  <a:lnTo>
                    <a:pt x="277" y="80"/>
                  </a:lnTo>
                  <a:lnTo>
                    <a:pt x="275" y="80"/>
                  </a:lnTo>
                  <a:lnTo>
                    <a:pt x="265" y="82"/>
                  </a:lnTo>
                  <a:lnTo>
                    <a:pt x="262" y="82"/>
                  </a:lnTo>
                  <a:lnTo>
                    <a:pt x="260" y="80"/>
                  </a:lnTo>
                  <a:lnTo>
                    <a:pt x="258" y="72"/>
                  </a:lnTo>
                  <a:lnTo>
                    <a:pt x="254" y="70"/>
                  </a:lnTo>
                  <a:lnTo>
                    <a:pt x="242" y="70"/>
                  </a:lnTo>
                  <a:lnTo>
                    <a:pt x="228" y="70"/>
                  </a:lnTo>
                  <a:lnTo>
                    <a:pt x="226" y="70"/>
                  </a:lnTo>
                  <a:lnTo>
                    <a:pt x="226" y="70"/>
                  </a:lnTo>
                  <a:lnTo>
                    <a:pt x="226" y="68"/>
                  </a:lnTo>
                  <a:lnTo>
                    <a:pt x="226" y="66"/>
                  </a:lnTo>
                  <a:lnTo>
                    <a:pt x="226" y="66"/>
                  </a:lnTo>
                  <a:lnTo>
                    <a:pt x="224" y="66"/>
                  </a:lnTo>
                  <a:lnTo>
                    <a:pt x="224" y="66"/>
                  </a:lnTo>
                  <a:lnTo>
                    <a:pt x="224" y="64"/>
                  </a:lnTo>
                  <a:lnTo>
                    <a:pt x="222" y="64"/>
                  </a:lnTo>
                  <a:lnTo>
                    <a:pt x="209" y="66"/>
                  </a:lnTo>
                  <a:lnTo>
                    <a:pt x="205" y="66"/>
                  </a:lnTo>
                  <a:lnTo>
                    <a:pt x="201" y="64"/>
                  </a:lnTo>
                  <a:lnTo>
                    <a:pt x="193" y="60"/>
                  </a:lnTo>
                  <a:lnTo>
                    <a:pt x="191" y="58"/>
                  </a:lnTo>
                  <a:lnTo>
                    <a:pt x="191" y="56"/>
                  </a:lnTo>
                  <a:lnTo>
                    <a:pt x="191" y="56"/>
                  </a:lnTo>
                  <a:lnTo>
                    <a:pt x="191" y="54"/>
                  </a:lnTo>
                  <a:lnTo>
                    <a:pt x="191" y="52"/>
                  </a:lnTo>
                  <a:lnTo>
                    <a:pt x="191" y="52"/>
                  </a:lnTo>
                  <a:lnTo>
                    <a:pt x="191" y="45"/>
                  </a:lnTo>
                  <a:lnTo>
                    <a:pt x="187" y="35"/>
                  </a:lnTo>
                  <a:lnTo>
                    <a:pt x="183" y="25"/>
                  </a:lnTo>
                  <a:lnTo>
                    <a:pt x="183" y="23"/>
                  </a:lnTo>
                  <a:lnTo>
                    <a:pt x="183" y="21"/>
                  </a:lnTo>
                  <a:lnTo>
                    <a:pt x="183" y="17"/>
                  </a:lnTo>
                  <a:lnTo>
                    <a:pt x="181" y="15"/>
                  </a:lnTo>
                  <a:lnTo>
                    <a:pt x="181" y="13"/>
                  </a:lnTo>
                  <a:lnTo>
                    <a:pt x="181" y="8"/>
                  </a:lnTo>
                  <a:lnTo>
                    <a:pt x="179" y="6"/>
                  </a:lnTo>
                  <a:lnTo>
                    <a:pt x="179" y="4"/>
                  </a:lnTo>
                  <a:lnTo>
                    <a:pt x="172" y="2"/>
                  </a:lnTo>
                  <a:lnTo>
                    <a:pt x="168" y="2"/>
                  </a:lnTo>
                  <a:lnTo>
                    <a:pt x="158" y="2"/>
                  </a:lnTo>
                  <a:lnTo>
                    <a:pt x="154" y="0"/>
                  </a:lnTo>
                  <a:lnTo>
                    <a:pt x="154" y="6"/>
                  </a:lnTo>
                  <a:lnTo>
                    <a:pt x="156" y="15"/>
                  </a:lnTo>
                  <a:lnTo>
                    <a:pt x="156" y="27"/>
                  </a:lnTo>
                  <a:lnTo>
                    <a:pt x="156" y="37"/>
                  </a:lnTo>
                  <a:lnTo>
                    <a:pt x="156" y="39"/>
                  </a:lnTo>
                  <a:lnTo>
                    <a:pt x="156" y="39"/>
                  </a:lnTo>
                  <a:lnTo>
                    <a:pt x="154" y="39"/>
                  </a:lnTo>
                  <a:lnTo>
                    <a:pt x="138" y="39"/>
                  </a:lnTo>
                  <a:lnTo>
                    <a:pt x="121" y="41"/>
                  </a:lnTo>
                  <a:lnTo>
                    <a:pt x="105" y="41"/>
                  </a:lnTo>
                  <a:lnTo>
                    <a:pt x="88" y="41"/>
                  </a:lnTo>
                  <a:lnTo>
                    <a:pt x="72" y="43"/>
                  </a:lnTo>
                  <a:lnTo>
                    <a:pt x="56" y="43"/>
                  </a:lnTo>
                  <a:lnTo>
                    <a:pt x="39" y="43"/>
                  </a:lnTo>
                  <a:lnTo>
                    <a:pt x="23" y="43"/>
                  </a:lnTo>
                  <a:lnTo>
                    <a:pt x="6" y="45"/>
                  </a:lnTo>
                  <a:lnTo>
                    <a:pt x="0" y="45"/>
                  </a:lnTo>
                  <a:lnTo>
                    <a:pt x="0" y="45"/>
                  </a:lnTo>
                  <a:lnTo>
                    <a:pt x="0" y="47"/>
                  </a:lnTo>
                  <a:lnTo>
                    <a:pt x="0" y="49"/>
                  </a:lnTo>
                  <a:lnTo>
                    <a:pt x="2" y="49"/>
                  </a:lnTo>
                  <a:lnTo>
                    <a:pt x="2" y="52"/>
                  </a:lnTo>
                  <a:lnTo>
                    <a:pt x="2" y="54"/>
                  </a:lnTo>
                  <a:lnTo>
                    <a:pt x="2" y="54"/>
                  </a:lnTo>
                  <a:lnTo>
                    <a:pt x="4" y="56"/>
                  </a:lnTo>
                  <a:lnTo>
                    <a:pt x="4" y="56"/>
                  </a:lnTo>
                  <a:lnTo>
                    <a:pt x="4" y="60"/>
                  </a:lnTo>
                  <a:lnTo>
                    <a:pt x="6" y="66"/>
                  </a:lnTo>
                  <a:lnTo>
                    <a:pt x="9" y="70"/>
                  </a:lnTo>
                  <a:lnTo>
                    <a:pt x="9" y="70"/>
                  </a:lnTo>
                  <a:lnTo>
                    <a:pt x="11" y="74"/>
                  </a:lnTo>
                  <a:lnTo>
                    <a:pt x="11" y="80"/>
                  </a:lnTo>
                  <a:lnTo>
                    <a:pt x="11" y="82"/>
                  </a:lnTo>
                  <a:lnTo>
                    <a:pt x="9" y="86"/>
                  </a:lnTo>
                  <a:lnTo>
                    <a:pt x="6" y="90"/>
                  </a:lnTo>
                  <a:lnTo>
                    <a:pt x="9" y="97"/>
                  </a:lnTo>
                  <a:lnTo>
                    <a:pt x="9" y="101"/>
                  </a:lnTo>
                  <a:lnTo>
                    <a:pt x="11" y="103"/>
                  </a:lnTo>
                  <a:lnTo>
                    <a:pt x="11" y="103"/>
                  </a:lnTo>
                  <a:lnTo>
                    <a:pt x="11" y="105"/>
                  </a:lnTo>
                  <a:lnTo>
                    <a:pt x="9" y="107"/>
                  </a:lnTo>
                  <a:lnTo>
                    <a:pt x="9" y="107"/>
                  </a:lnTo>
                  <a:lnTo>
                    <a:pt x="11" y="115"/>
                  </a:lnTo>
                  <a:lnTo>
                    <a:pt x="11" y="115"/>
                  </a:lnTo>
                  <a:lnTo>
                    <a:pt x="11" y="117"/>
                  </a:lnTo>
                  <a:lnTo>
                    <a:pt x="11" y="123"/>
                  </a:lnTo>
                  <a:lnTo>
                    <a:pt x="11" y="129"/>
                  </a:lnTo>
                  <a:lnTo>
                    <a:pt x="11" y="131"/>
                  </a:lnTo>
                  <a:lnTo>
                    <a:pt x="13" y="136"/>
                  </a:lnTo>
                  <a:lnTo>
                    <a:pt x="17" y="144"/>
                  </a:lnTo>
                  <a:lnTo>
                    <a:pt x="17" y="148"/>
                  </a:lnTo>
                  <a:lnTo>
                    <a:pt x="19" y="150"/>
                  </a:lnTo>
                  <a:lnTo>
                    <a:pt x="21" y="154"/>
                  </a:lnTo>
                  <a:lnTo>
                    <a:pt x="19" y="156"/>
                  </a:lnTo>
                  <a:lnTo>
                    <a:pt x="21" y="158"/>
                  </a:lnTo>
                  <a:lnTo>
                    <a:pt x="23" y="164"/>
                  </a:lnTo>
                  <a:lnTo>
                    <a:pt x="23" y="164"/>
                  </a:lnTo>
                  <a:lnTo>
                    <a:pt x="21" y="164"/>
                  </a:lnTo>
                  <a:lnTo>
                    <a:pt x="21" y="164"/>
                  </a:lnTo>
                  <a:lnTo>
                    <a:pt x="23" y="166"/>
                  </a:lnTo>
                  <a:lnTo>
                    <a:pt x="23" y="166"/>
                  </a:lnTo>
                  <a:lnTo>
                    <a:pt x="23" y="166"/>
                  </a:lnTo>
                  <a:lnTo>
                    <a:pt x="23" y="166"/>
                  </a:lnTo>
                  <a:lnTo>
                    <a:pt x="23" y="166"/>
                  </a:lnTo>
                  <a:lnTo>
                    <a:pt x="25" y="168"/>
                  </a:lnTo>
                  <a:lnTo>
                    <a:pt x="25" y="170"/>
                  </a:lnTo>
                  <a:lnTo>
                    <a:pt x="27" y="172"/>
                  </a:lnTo>
                  <a:lnTo>
                    <a:pt x="27" y="174"/>
                  </a:lnTo>
                  <a:lnTo>
                    <a:pt x="29" y="177"/>
                  </a:lnTo>
                  <a:lnTo>
                    <a:pt x="29" y="179"/>
                  </a:lnTo>
                  <a:lnTo>
                    <a:pt x="31" y="183"/>
                  </a:lnTo>
                  <a:lnTo>
                    <a:pt x="31" y="185"/>
                  </a:lnTo>
                  <a:lnTo>
                    <a:pt x="33" y="187"/>
                  </a:lnTo>
                  <a:lnTo>
                    <a:pt x="33" y="187"/>
                  </a:lnTo>
                  <a:lnTo>
                    <a:pt x="33" y="187"/>
                  </a:lnTo>
                  <a:lnTo>
                    <a:pt x="33" y="187"/>
                  </a:lnTo>
                  <a:lnTo>
                    <a:pt x="33" y="189"/>
                  </a:lnTo>
                  <a:lnTo>
                    <a:pt x="33" y="189"/>
                  </a:lnTo>
                  <a:lnTo>
                    <a:pt x="33" y="191"/>
                  </a:lnTo>
                  <a:lnTo>
                    <a:pt x="33" y="193"/>
                  </a:lnTo>
                  <a:lnTo>
                    <a:pt x="33" y="195"/>
                  </a:lnTo>
                  <a:lnTo>
                    <a:pt x="33" y="197"/>
                  </a:lnTo>
                  <a:lnTo>
                    <a:pt x="33" y="197"/>
                  </a:lnTo>
                  <a:lnTo>
                    <a:pt x="33" y="203"/>
                  </a:lnTo>
                  <a:lnTo>
                    <a:pt x="33" y="205"/>
                  </a:lnTo>
                  <a:lnTo>
                    <a:pt x="33" y="205"/>
                  </a:lnTo>
                  <a:lnTo>
                    <a:pt x="33" y="207"/>
                  </a:lnTo>
                  <a:lnTo>
                    <a:pt x="33" y="207"/>
                  </a:lnTo>
                  <a:lnTo>
                    <a:pt x="35" y="209"/>
                  </a:lnTo>
                  <a:lnTo>
                    <a:pt x="35" y="222"/>
                  </a:lnTo>
                  <a:lnTo>
                    <a:pt x="35" y="224"/>
                  </a:lnTo>
                  <a:lnTo>
                    <a:pt x="35" y="230"/>
                  </a:lnTo>
                  <a:lnTo>
                    <a:pt x="35" y="232"/>
                  </a:lnTo>
                  <a:lnTo>
                    <a:pt x="35" y="232"/>
                  </a:lnTo>
                  <a:lnTo>
                    <a:pt x="35" y="232"/>
                  </a:lnTo>
                  <a:lnTo>
                    <a:pt x="35" y="234"/>
                  </a:lnTo>
                  <a:lnTo>
                    <a:pt x="35" y="236"/>
                  </a:lnTo>
                  <a:lnTo>
                    <a:pt x="37" y="240"/>
                  </a:lnTo>
                  <a:lnTo>
                    <a:pt x="37" y="242"/>
                  </a:lnTo>
                  <a:lnTo>
                    <a:pt x="37" y="248"/>
                  </a:lnTo>
                  <a:lnTo>
                    <a:pt x="37" y="250"/>
                  </a:lnTo>
                  <a:lnTo>
                    <a:pt x="37" y="250"/>
                  </a:lnTo>
                  <a:lnTo>
                    <a:pt x="39" y="252"/>
                  </a:lnTo>
                  <a:lnTo>
                    <a:pt x="39" y="252"/>
                  </a:lnTo>
                  <a:lnTo>
                    <a:pt x="39" y="254"/>
                  </a:lnTo>
                  <a:lnTo>
                    <a:pt x="39" y="254"/>
                  </a:lnTo>
                  <a:lnTo>
                    <a:pt x="39" y="254"/>
                  </a:lnTo>
                  <a:lnTo>
                    <a:pt x="39" y="254"/>
                  </a:lnTo>
                  <a:lnTo>
                    <a:pt x="41" y="254"/>
                  </a:lnTo>
                  <a:lnTo>
                    <a:pt x="41" y="254"/>
                  </a:lnTo>
                  <a:lnTo>
                    <a:pt x="41" y="256"/>
                  </a:lnTo>
                  <a:lnTo>
                    <a:pt x="41" y="256"/>
                  </a:lnTo>
                  <a:lnTo>
                    <a:pt x="41" y="256"/>
                  </a:lnTo>
                  <a:lnTo>
                    <a:pt x="41" y="256"/>
                  </a:lnTo>
                  <a:lnTo>
                    <a:pt x="41" y="258"/>
                  </a:lnTo>
                  <a:lnTo>
                    <a:pt x="41" y="261"/>
                  </a:lnTo>
                  <a:lnTo>
                    <a:pt x="39" y="261"/>
                  </a:lnTo>
                  <a:lnTo>
                    <a:pt x="41" y="265"/>
                  </a:lnTo>
                  <a:lnTo>
                    <a:pt x="39" y="267"/>
                  </a:lnTo>
                  <a:lnTo>
                    <a:pt x="39" y="267"/>
                  </a:lnTo>
                  <a:lnTo>
                    <a:pt x="39" y="269"/>
                  </a:lnTo>
                  <a:lnTo>
                    <a:pt x="39" y="269"/>
                  </a:lnTo>
                  <a:lnTo>
                    <a:pt x="39" y="271"/>
                  </a:lnTo>
                  <a:lnTo>
                    <a:pt x="41" y="275"/>
                  </a:lnTo>
                  <a:lnTo>
                    <a:pt x="41" y="277"/>
                  </a:lnTo>
                  <a:lnTo>
                    <a:pt x="41" y="279"/>
                  </a:lnTo>
                  <a:lnTo>
                    <a:pt x="39" y="283"/>
                  </a:lnTo>
                  <a:lnTo>
                    <a:pt x="39" y="285"/>
                  </a:lnTo>
                  <a:lnTo>
                    <a:pt x="41" y="287"/>
                  </a:lnTo>
                  <a:lnTo>
                    <a:pt x="43" y="289"/>
                  </a:lnTo>
                  <a:lnTo>
                    <a:pt x="43" y="291"/>
                  </a:lnTo>
                  <a:lnTo>
                    <a:pt x="45" y="295"/>
                  </a:lnTo>
                  <a:lnTo>
                    <a:pt x="45" y="297"/>
                  </a:lnTo>
                  <a:lnTo>
                    <a:pt x="45" y="299"/>
                  </a:lnTo>
                  <a:lnTo>
                    <a:pt x="45" y="302"/>
                  </a:lnTo>
                  <a:lnTo>
                    <a:pt x="45" y="302"/>
                  </a:lnTo>
                  <a:lnTo>
                    <a:pt x="47" y="304"/>
                  </a:lnTo>
                  <a:lnTo>
                    <a:pt x="47" y="304"/>
                  </a:lnTo>
                  <a:lnTo>
                    <a:pt x="47" y="304"/>
                  </a:lnTo>
                  <a:lnTo>
                    <a:pt x="47" y="306"/>
                  </a:lnTo>
                  <a:lnTo>
                    <a:pt x="47" y="308"/>
                  </a:lnTo>
                  <a:lnTo>
                    <a:pt x="52" y="314"/>
                  </a:lnTo>
                  <a:lnTo>
                    <a:pt x="56" y="316"/>
                  </a:lnTo>
                  <a:lnTo>
                    <a:pt x="56" y="318"/>
                  </a:lnTo>
                  <a:lnTo>
                    <a:pt x="58" y="320"/>
                  </a:lnTo>
                  <a:lnTo>
                    <a:pt x="58" y="326"/>
                  </a:lnTo>
                  <a:lnTo>
                    <a:pt x="58" y="328"/>
                  </a:lnTo>
                  <a:lnTo>
                    <a:pt x="58" y="330"/>
                  </a:lnTo>
                  <a:lnTo>
                    <a:pt x="58" y="330"/>
                  </a:lnTo>
                  <a:lnTo>
                    <a:pt x="60" y="334"/>
                  </a:lnTo>
                  <a:lnTo>
                    <a:pt x="60" y="334"/>
                  </a:lnTo>
                  <a:lnTo>
                    <a:pt x="60" y="334"/>
                  </a:lnTo>
                  <a:lnTo>
                    <a:pt x="60" y="336"/>
                  </a:lnTo>
                  <a:lnTo>
                    <a:pt x="60" y="336"/>
                  </a:lnTo>
                  <a:lnTo>
                    <a:pt x="60" y="340"/>
                  </a:lnTo>
                  <a:lnTo>
                    <a:pt x="60" y="343"/>
                  </a:lnTo>
                  <a:lnTo>
                    <a:pt x="60" y="345"/>
                  </a:lnTo>
                  <a:lnTo>
                    <a:pt x="60" y="347"/>
                  </a:lnTo>
                  <a:lnTo>
                    <a:pt x="60" y="351"/>
                  </a:lnTo>
                  <a:lnTo>
                    <a:pt x="62" y="357"/>
                  </a:lnTo>
                  <a:lnTo>
                    <a:pt x="60" y="359"/>
                  </a:lnTo>
                  <a:lnTo>
                    <a:pt x="60" y="359"/>
                  </a:lnTo>
                  <a:lnTo>
                    <a:pt x="60" y="359"/>
                  </a:lnTo>
                  <a:lnTo>
                    <a:pt x="60" y="361"/>
                  </a:lnTo>
                  <a:lnTo>
                    <a:pt x="60" y="367"/>
                  </a:lnTo>
                  <a:lnTo>
                    <a:pt x="60" y="369"/>
                  </a:lnTo>
                  <a:lnTo>
                    <a:pt x="58" y="371"/>
                  </a:lnTo>
                  <a:lnTo>
                    <a:pt x="56" y="375"/>
                  </a:lnTo>
                  <a:lnTo>
                    <a:pt x="56" y="377"/>
                  </a:lnTo>
                  <a:lnTo>
                    <a:pt x="54" y="377"/>
                  </a:lnTo>
                  <a:lnTo>
                    <a:pt x="54" y="377"/>
                  </a:lnTo>
                  <a:lnTo>
                    <a:pt x="52" y="379"/>
                  </a:lnTo>
                  <a:lnTo>
                    <a:pt x="45" y="384"/>
                  </a:lnTo>
                  <a:lnTo>
                    <a:pt x="45" y="384"/>
                  </a:lnTo>
                  <a:lnTo>
                    <a:pt x="43" y="386"/>
                  </a:lnTo>
                  <a:lnTo>
                    <a:pt x="41" y="388"/>
                  </a:lnTo>
                  <a:lnTo>
                    <a:pt x="39" y="390"/>
                  </a:lnTo>
                  <a:lnTo>
                    <a:pt x="39" y="390"/>
                  </a:lnTo>
                  <a:lnTo>
                    <a:pt x="39" y="392"/>
                  </a:lnTo>
                  <a:lnTo>
                    <a:pt x="37" y="394"/>
                  </a:lnTo>
                  <a:lnTo>
                    <a:pt x="39" y="396"/>
                  </a:lnTo>
                  <a:lnTo>
                    <a:pt x="43" y="400"/>
                  </a:lnTo>
                  <a:lnTo>
                    <a:pt x="45" y="402"/>
                  </a:lnTo>
                  <a:lnTo>
                    <a:pt x="49" y="408"/>
                  </a:lnTo>
                  <a:lnTo>
                    <a:pt x="52" y="412"/>
                  </a:lnTo>
                  <a:lnTo>
                    <a:pt x="52" y="414"/>
                  </a:lnTo>
                  <a:lnTo>
                    <a:pt x="58" y="414"/>
                  </a:lnTo>
                  <a:lnTo>
                    <a:pt x="62" y="414"/>
                  </a:lnTo>
                  <a:lnTo>
                    <a:pt x="64" y="416"/>
                  </a:lnTo>
                  <a:lnTo>
                    <a:pt x="66" y="416"/>
                  </a:lnTo>
                  <a:lnTo>
                    <a:pt x="68" y="418"/>
                  </a:lnTo>
                  <a:lnTo>
                    <a:pt x="68" y="418"/>
                  </a:lnTo>
                  <a:lnTo>
                    <a:pt x="70" y="422"/>
                  </a:lnTo>
                  <a:lnTo>
                    <a:pt x="70" y="424"/>
                  </a:lnTo>
                  <a:lnTo>
                    <a:pt x="72" y="424"/>
                  </a:lnTo>
                  <a:lnTo>
                    <a:pt x="72" y="424"/>
                  </a:lnTo>
                  <a:lnTo>
                    <a:pt x="72" y="429"/>
                  </a:lnTo>
                  <a:lnTo>
                    <a:pt x="72" y="451"/>
                  </a:lnTo>
                  <a:lnTo>
                    <a:pt x="72" y="474"/>
                  </a:lnTo>
                  <a:lnTo>
                    <a:pt x="74" y="498"/>
                  </a:lnTo>
                  <a:lnTo>
                    <a:pt x="74" y="521"/>
                  </a:lnTo>
                  <a:lnTo>
                    <a:pt x="74" y="543"/>
                  </a:lnTo>
                  <a:lnTo>
                    <a:pt x="76" y="566"/>
                  </a:lnTo>
                  <a:lnTo>
                    <a:pt x="76" y="590"/>
                  </a:lnTo>
                  <a:lnTo>
                    <a:pt x="78" y="613"/>
                  </a:lnTo>
                  <a:lnTo>
                    <a:pt x="103" y="613"/>
                  </a:lnTo>
                  <a:lnTo>
                    <a:pt x="129" y="611"/>
                  </a:lnTo>
                  <a:lnTo>
                    <a:pt x="156" y="611"/>
                  </a:lnTo>
                  <a:lnTo>
                    <a:pt x="183" y="609"/>
                  </a:lnTo>
                  <a:lnTo>
                    <a:pt x="207" y="607"/>
                  </a:lnTo>
                  <a:lnTo>
                    <a:pt x="234" y="607"/>
                  </a:lnTo>
                  <a:lnTo>
                    <a:pt x="260" y="605"/>
                  </a:lnTo>
                  <a:lnTo>
                    <a:pt x="287" y="603"/>
                  </a:lnTo>
                  <a:lnTo>
                    <a:pt x="312" y="603"/>
                  </a:lnTo>
                  <a:lnTo>
                    <a:pt x="338" y="601"/>
                  </a:lnTo>
                  <a:lnTo>
                    <a:pt x="365" y="599"/>
                  </a:lnTo>
                  <a:lnTo>
                    <a:pt x="392" y="597"/>
                  </a:lnTo>
                  <a:lnTo>
                    <a:pt x="416" y="595"/>
                  </a:lnTo>
                  <a:lnTo>
                    <a:pt x="443" y="595"/>
                  </a:lnTo>
                  <a:lnTo>
                    <a:pt x="469" y="593"/>
                  </a:lnTo>
                  <a:lnTo>
                    <a:pt x="496" y="590"/>
                  </a:lnTo>
                  <a:lnTo>
                    <a:pt x="496" y="586"/>
                  </a:lnTo>
                  <a:lnTo>
                    <a:pt x="496" y="586"/>
                  </a:lnTo>
                  <a:lnTo>
                    <a:pt x="496" y="584"/>
                  </a:lnTo>
                  <a:lnTo>
                    <a:pt x="494" y="582"/>
                  </a:lnTo>
                  <a:lnTo>
                    <a:pt x="494" y="580"/>
                  </a:lnTo>
                  <a:lnTo>
                    <a:pt x="494" y="576"/>
                  </a:lnTo>
                  <a:lnTo>
                    <a:pt x="494" y="576"/>
                  </a:lnTo>
                  <a:lnTo>
                    <a:pt x="494" y="574"/>
                  </a:lnTo>
                  <a:lnTo>
                    <a:pt x="494" y="572"/>
                  </a:lnTo>
                  <a:lnTo>
                    <a:pt x="494" y="566"/>
                  </a:lnTo>
                  <a:lnTo>
                    <a:pt x="494" y="564"/>
                  </a:lnTo>
                  <a:lnTo>
                    <a:pt x="494" y="562"/>
                  </a:lnTo>
                  <a:lnTo>
                    <a:pt x="494" y="562"/>
                  </a:lnTo>
                  <a:lnTo>
                    <a:pt x="492" y="560"/>
                  </a:lnTo>
                  <a:lnTo>
                    <a:pt x="492" y="560"/>
                  </a:lnTo>
                  <a:lnTo>
                    <a:pt x="490" y="560"/>
                  </a:lnTo>
                  <a:lnTo>
                    <a:pt x="490" y="558"/>
                  </a:lnTo>
                  <a:lnTo>
                    <a:pt x="490" y="558"/>
                  </a:lnTo>
                  <a:lnTo>
                    <a:pt x="490" y="556"/>
                  </a:lnTo>
                  <a:lnTo>
                    <a:pt x="490" y="554"/>
                  </a:lnTo>
                  <a:lnTo>
                    <a:pt x="490" y="552"/>
                  </a:lnTo>
                  <a:lnTo>
                    <a:pt x="490" y="547"/>
                  </a:lnTo>
                  <a:lnTo>
                    <a:pt x="488" y="547"/>
                  </a:lnTo>
                  <a:lnTo>
                    <a:pt x="488" y="545"/>
                  </a:lnTo>
                  <a:lnTo>
                    <a:pt x="488" y="545"/>
                  </a:lnTo>
                  <a:lnTo>
                    <a:pt x="486" y="545"/>
                  </a:lnTo>
                  <a:lnTo>
                    <a:pt x="482" y="543"/>
                  </a:lnTo>
                  <a:lnTo>
                    <a:pt x="482" y="543"/>
                  </a:lnTo>
                  <a:lnTo>
                    <a:pt x="480" y="541"/>
                  </a:lnTo>
                  <a:lnTo>
                    <a:pt x="480" y="539"/>
                  </a:lnTo>
                  <a:lnTo>
                    <a:pt x="480" y="537"/>
                  </a:lnTo>
                  <a:lnTo>
                    <a:pt x="480" y="537"/>
                  </a:lnTo>
                  <a:lnTo>
                    <a:pt x="478" y="537"/>
                  </a:lnTo>
                  <a:lnTo>
                    <a:pt x="478" y="537"/>
                  </a:lnTo>
                  <a:lnTo>
                    <a:pt x="478" y="535"/>
                  </a:lnTo>
                  <a:lnTo>
                    <a:pt x="473" y="535"/>
                  </a:lnTo>
                  <a:lnTo>
                    <a:pt x="473" y="535"/>
                  </a:lnTo>
                  <a:lnTo>
                    <a:pt x="473" y="535"/>
                  </a:lnTo>
                  <a:lnTo>
                    <a:pt x="467" y="533"/>
                  </a:lnTo>
                  <a:lnTo>
                    <a:pt x="467" y="533"/>
                  </a:lnTo>
                  <a:lnTo>
                    <a:pt x="459" y="533"/>
                  </a:lnTo>
                  <a:lnTo>
                    <a:pt x="459" y="533"/>
                  </a:lnTo>
                  <a:lnTo>
                    <a:pt x="457" y="533"/>
                  </a:lnTo>
                  <a:lnTo>
                    <a:pt x="447" y="525"/>
                  </a:lnTo>
                  <a:lnTo>
                    <a:pt x="445" y="523"/>
                  </a:lnTo>
                  <a:lnTo>
                    <a:pt x="443" y="521"/>
                  </a:lnTo>
                  <a:lnTo>
                    <a:pt x="437" y="511"/>
                  </a:lnTo>
                  <a:lnTo>
                    <a:pt x="432" y="506"/>
                  </a:lnTo>
                  <a:lnTo>
                    <a:pt x="420" y="496"/>
                  </a:lnTo>
                  <a:lnTo>
                    <a:pt x="416" y="496"/>
                  </a:lnTo>
                  <a:lnTo>
                    <a:pt x="406" y="494"/>
                  </a:lnTo>
                  <a:lnTo>
                    <a:pt x="406" y="494"/>
                  </a:lnTo>
                  <a:lnTo>
                    <a:pt x="404" y="494"/>
                  </a:lnTo>
                  <a:lnTo>
                    <a:pt x="404" y="492"/>
                  </a:lnTo>
                  <a:lnTo>
                    <a:pt x="402" y="488"/>
                  </a:lnTo>
                  <a:lnTo>
                    <a:pt x="398" y="486"/>
                  </a:lnTo>
                  <a:lnTo>
                    <a:pt x="396" y="484"/>
                  </a:lnTo>
                  <a:lnTo>
                    <a:pt x="394" y="482"/>
                  </a:lnTo>
                  <a:lnTo>
                    <a:pt x="381" y="482"/>
                  </a:lnTo>
                  <a:lnTo>
                    <a:pt x="377" y="480"/>
                  </a:lnTo>
                  <a:lnTo>
                    <a:pt x="377" y="480"/>
                  </a:lnTo>
                  <a:lnTo>
                    <a:pt x="375" y="478"/>
                  </a:lnTo>
                  <a:lnTo>
                    <a:pt x="375" y="478"/>
                  </a:lnTo>
                  <a:lnTo>
                    <a:pt x="373" y="476"/>
                  </a:lnTo>
                  <a:lnTo>
                    <a:pt x="367" y="472"/>
                  </a:lnTo>
                  <a:lnTo>
                    <a:pt x="363" y="470"/>
                  </a:lnTo>
                  <a:lnTo>
                    <a:pt x="361" y="468"/>
                  </a:lnTo>
                  <a:lnTo>
                    <a:pt x="363" y="459"/>
                  </a:lnTo>
                  <a:lnTo>
                    <a:pt x="363" y="457"/>
                  </a:lnTo>
                  <a:lnTo>
                    <a:pt x="363" y="455"/>
                  </a:lnTo>
                  <a:lnTo>
                    <a:pt x="363" y="453"/>
                  </a:lnTo>
                  <a:lnTo>
                    <a:pt x="363" y="451"/>
                  </a:lnTo>
                  <a:lnTo>
                    <a:pt x="365" y="449"/>
                  </a:lnTo>
                  <a:lnTo>
                    <a:pt x="365" y="449"/>
                  </a:lnTo>
                  <a:lnTo>
                    <a:pt x="363" y="445"/>
                  </a:lnTo>
                  <a:lnTo>
                    <a:pt x="363" y="441"/>
                  </a:lnTo>
                  <a:lnTo>
                    <a:pt x="361" y="435"/>
                  </a:lnTo>
                  <a:lnTo>
                    <a:pt x="361" y="433"/>
                  </a:lnTo>
                  <a:lnTo>
                    <a:pt x="361" y="433"/>
                  </a:lnTo>
                  <a:lnTo>
                    <a:pt x="363" y="431"/>
                  </a:lnTo>
                  <a:lnTo>
                    <a:pt x="363" y="431"/>
                  </a:lnTo>
                  <a:lnTo>
                    <a:pt x="363" y="429"/>
                  </a:lnTo>
                  <a:lnTo>
                    <a:pt x="363" y="427"/>
                  </a:lnTo>
                  <a:lnTo>
                    <a:pt x="361" y="422"/>
                  </a:lnTo>
                  <a:lnTo>
                    <a:pt x="361" y="422"/>
                  </a:lnTo>
                  <a:lnTo>
                    <a:pt x="361" y="420"/>
                  </a:lnTo>
                  <a:lnTo>
                    <a:pt x="363" y="418"/>
                  </a:lnTo>
                  <a:lnTo>
                    <a:pt x="361" y="414"/>
                  </a:lnTo>
                  <a:lnTo>
                    <a:pt x="361" y="412"/>
                  </a:lnTo>
                  <a:lnTo>
                    <a:pt x="363" y="410"/>
                  </a:lnTo>
                  <a:lnTo>
                    <a:pt x="363" y="408"/>
                  </a:lnTo>
                  <a:lnTo>
                    <a:pt x="365" y="408"/>
                  </a:lnTo>
                  <a:lnTo>
                    <a:pt x="365" y="406"/>
                  </a:lnTo>
                  <a:lnTo>
                    <a:pt x="365" y="404"/>
                  </a:lnTo>
                  <a:lnTo>
                    <a:pt x="367" y="402"/>
                  </a:lnTo>
                  <a:lnTo>
                    <a:pt x="369" y="398"/>
                  </a:lnTo>
                  <a:lnTo>
                    <a:pt x="369" y="396"/>
                  </a:lnTo>
                  <a:lnTo>
                    <a:pt x="367" y="394"/>
                  </a:lnTo>
                  <a:lnTo>
                    <a:pt x="367" y="394"/>
                  </a:lnTo>
                  <a:lnTo>
                    <a:pt x="365" y="392"/>
                  </a:lnTo>
                  <a:lnTo>
                    <a:pt x="363" y="390"/>
                  </a:lnTo>
                  <a:lnTo>
                    <a:pt x="363" y="388"/>
                  </a:lnTo>
                  <a:lnTo>
                    <a:pt x="361" y="384"/>
                  </a:lnTo>
                  <a:lnTo>
                    <a:pt x="361" y="384"/>
                  </a:lnTo>
                  <a:lnTo>
                    <a:pt x="357" y="381"/>
                  </a:lnTo>
                  <a:lnTo>
                    <a:pt x="353" y="381"/>
                  </a:lnTo>
                  <a:lnTo>
                    <a:pt x="351" y="381"/>
                  </a:lnTo>
                  <a:lnTo>
                    <a:pt x="349" y="377"/>
                  </a:lnTo>
                  <a:lnTo>
                    <a:pt x="349" y="371"/>
                  </a:lnTo>
                  <a:lnTo>
                    <a:pt x="349" y="369"/>
                  </a:lnTo>
                  <a:lnTo>
                    <a:pt x="349" y="367"/>
                  </a:lnTo>
                  <a:lnTo>
                    <a:pt x="355" y="361"/>
                  </a:lnTo>
                  <a:lnTo>
                    <a:pt x="357" y="357"/>
                  </a:lnTo>
                  <a:lnTo>
                    <a:pt x="357" y="355"/>
                  </a:lnTo>
                  <a:lnTo>
                    <a:pt x="361" y="349"/>
                  </a:lnTo>
                  <a:lnTo>
                    <a:pt x="363" y="347"/>
                  </a:lnTo>
                  <a:lnTo>
                    <a:pt x="365" y="345"/>
                  </a:lnTo>
                  <a:lnTo>
                    <a:pt x="365" y="345"/>
                  </a:lnTo>
                  <a:lnTo>
                    <a:pt x="369" y="340"/>
                  </a:lnTo>
                  <a:lnTo>
                    <a:pt x="371" y="340"/>
                  </a:lnTo>
                  <a:lnTo>
                    <a:pt x="373" y="340"/>
                  </a:lnTo>
                  <a:lnTo>
                    <a:pt x="373" y="340"/>
                  </a:lnTo>
                  <a:lnTo>
                    <a:pt x="373" y="338"/>
                  </a:lnTo>
                  <a:lnTo>
                    <a:pt x="373" y="338"/>
                  </a:lnTo>
                  <a:lnTo>
                    <a:pt x="373" y="338"/>
                  </a:lnTo>
                  <a:lnTo>
                    <a:pt x="375" y="338"/>
                  </a:lnTo>
                  <a:lnTo>
                    <a:pt x="375" y="336"/>
                  </a:lnTo>
                  <a:lnTo>
                    <a:pt x="375" y="336"/>
                  </a:lnTo>
                  <a:lnTo>
                    <a:pt x="379" y="336"/>
                  </a:lnTo>
                  <a:lnTo>
                    <a:pt x="379" y="336"/>
                  </a:lnTo>
                  <a:lnTo>
                    <a:pt x="381" y="332"/>
                  </a:lnTo>
                  <a:lnTo>
                    <a:pt x="383" y="332"/>
                  </a:lnTo>
                  <a:lnTo>
                    <a:pt x="383" y="332"/>
                  </a:lnTo>
                  <a:lnTo>
                    <a:pt x="385" y="332"/>
                  </a:lnTo>
                  <a:lnTo>
                    <a:pt x="387" y="332"/>
                  </a:lnTo>
                  <a:lnTo>
                    <a:pt x="387" y="332"/>
                  </a:lnTo>
                  <a:lnTo>
                    <a:pt x="389" y="330"/>
                  </a:lnTo>
                  <a:lnTo>
                    <a:pt x="389" y="328"/>
                  </a:lnTo>
                  <a:lnTo>
                    <a:pt x="389" y="328"/>
                  </a:lnTo>
                  <a:lnTo>
                    <a:pt x="392" y="326"/>
                  </a:lnTo>
                  <a:lnTo>
                    <a:pt x="394" y="326"/>
                  </a:lnTo>
                  <a:lnTo>
                    <a:pt x="392" y="322"/>
                  </a:lnTo>
                  <a:lnTo>
                    <a:pt x="392" y="322"/>
                  </a:lnTo>
                  <a:lnTo>
                    <a:pt x="392" y="314"/>
                  </a:lnTo>
                  <a:lnTo>
                    <a:pt x="392" y="308"/>
                  </a:lnTo>
                  <a:lnTo>
                    <a:pt x="392" y="302"/>
                  </a:lnTo>
                  <a:lnTo>
                    <a:pt x="392" y="295"/>
                  </a:lnTo>
                  <a:lnTo>
                    <a:pt x="389" y="289"/>
                  </a:lnTo>
                  <a:lnTo>
                    <a:pt x="389" y="281"/>
                  </a:lnTo>
                  <a:lnTo>
                    <a:pt x="389" y="275"/>
                  </a:lnTo>
                  <a:lnTo>
                    <a:pt x="389" y="269"/>
                  </a:lnTo>
                  <a:lnTo>
                    <a:pt x="389" y="267"/>
                  </a:lnTo>
                  <a:lnTo>
                    <a:pt x="389" y="267"/>
                  </a:lnTo>
                  <a:lnTo>
                    <a:pt x="389" y="267"/>
                  </a:lnTo>
                  <a:lnTo>
                    <a:pt x="389" y="267"/>
                  </a:lnTo>
                  <a:lnTo>
                    <a:pt x="392" y="267"/>
                  </a:lnTo>
                  <a:lnTo>
                    <a:pt x="394" y="267"/>
                  </a:lnTo>
                  <a:lnTo>
                    <a:pt x="394" y="267"/>
                  </a:lnTo>
                  <a:lnTo>
                    <a:pt x="394" y="265"/>
                  </a:lnTo>
                  <a:lnTo>
                    <a:pt x="396" y="265"/>
                  </a:lnTo>
                  <a:lnTo>
                    <a:pt x="396" y="265"/>
                  </a:lnTo>
                  <a:lnTo>
                    <a:pt x="396" y="265"/>
                  </a:lnTo>
                  <a:lnTo>
                    <a:pt x="396" y="263"/>
                  </a:lnTo>
                  <a:lnTo>
                    <a:pt x="396" y="261"/>
                  </a:lnTo>
                  <a:lnTo>
                    <a:pt x="396" y="261"/>
                  </a:lnTo>
                  <a:lnTo>
                    <a:pt x="396" y="261"/>
                  </a:lnTo>
                  <a:lnTo>
                    <a:pt x="396" y="261"/>
                  </a:lnTo>
                  <a:lnTo>
                    <a:pt x="398" y="258"/>
                  </a:lnTo>
                  <a:lnTo>
                    <a:pt x="398" y="258"/>
                  </a:lnTo>
                  <a:lnTo>
                    <a:pt x="398" y="258"/>
                  </a:lnTo>
                  <a:lnTo>
                    <a:pt x="398" y="258"/>
                  </a:lnTo>
                  <a:lnTo>
                    <a:pt x="400" y="256"/>
                  </a:lnTo>
                  <a:lnTo>
                    <a:pt x="400" y="256"/>
                  </a:lnTo>
                  <a:lnTo>
                    <a:pt x="402" y="254"/>
                  </a:lnTo>
                  <a:lnTo>
                    <a:pt x="402" y="254"/>
                  </a:lnTo>
                  <a:lnTo>
                    <a:pt x="402" y="254"/>
                  </a:lnTo>
                  <a:lnTo>
                    <a:pt x="402" y="250"/>
                  </a:lnTo>
                  <a:lnTo>
                    <a:pt x="406" y="246"/>
                  </a:lnTo>
                  <a:lnTo>
                    <a:pt x="412" y="242"/>
                  </a:lnTo>
                  <a:lnTo>
                    <a:pt x="418" y="238"/>
                  </a:lnTo>
                  <a:lnTo>
                    <a:pt x="420" y="238"/>
                  </a:lnTo>
                  <a:lnTo>
                    <a:pt x="424" y="234"/>
                  </a:lnTo>
                  <a:lnTo>
                    <a:pt x="428" y="230"/>
                  </a:lnTo>
                  <a:lnTo>
                    <a:pt x="430" y="228"/>
                  </a:lnTo>
                  <a:lnTo>
                    <a:pt x="435" y="224"/>
                  </a:lnTo>
                  <a:lnTo>
                    <a:pt x="435" y="224"/>
                  </a:lnTo>
                  <a:lnTo>
                    <a:pt x="437" y="222"/>
                  </a:lnTo>
                  <a:lnTo>
                    <a:pt x="437" y="222"/>
                  </a:lnTo>
                  <a:lnTo>
                    <a:pt x="437" y="222"/>
                  </a:lnTo>
                  <a:lnTo>
                    <a:pt x="439" y="220"/>
                  </a:lnTo>
                  <a:lnTo>
                    <a:pt x="439" y="220"/>
                  </a:lnTo>
                  <a:lnTo>
                    <a:pt x="439" y="220"/>
                  </a:lnTo>
                  <a:lnTo>
                    <a:pt x="441" y="218"/>
                  </a:lnTo>
                  <a:lnTo>
                    <a:pt x="445" y="213"/>
                  </a:lnTo>
                  <a:lnTo>
                    <a:pt x="480" y="172"/>
                  </a:lnTo>
                  <a:lnTo>
                    <a:pt x="486" y="170"/>
                  </a:lnTo>
                  <a:lnTo>
                    <a:pt x="496" y="158"/>
                  </a:lnTo>
                  <a:lnTo>
                    <a:pt x="514" y="148"/>
                  </a:lnTo>
                  <a:lnTo>
                    <a:pt x="525" y="144"/>
                  </a:lnTo>
                  <a:lnTo>
                    <a:pt x="529" y="142"/>
                  </a:lnTo>
                  <a:lnTo>
                    <a:pt x="531" y="142"/>
                  </a:lnTo>
                  <a:lnTo>
                    <a:pt x="533" y="140"/>
                  </a:lnTo>
                  <a:lnTo>
                    <a:pt x="549" y="133"/>
                  </a:lnTo>
                  <a:lnTo>
                    <a:pt x="574" y="119"/>
                  </a:lnTo>
                  <a:lnTo>
                    <a:pt x="574" y="119"/>
                  </a:lnTo>
                  <a:lnTo>
                    <a:pt x="576" y="115"/>
                  </a:lnTo>
                  <a:lnTo>
                    <a:pt x="578" y="115"/>
                  </a:lnTo>
                  <a:lnTo>
                    <a:pt x="580" y="113"/>
                  </a:lnTo>
                  <a:lnTo>
                    <a:pt x="580" y="111"/>
                  </a:lnTo>
                  <a:lnTo>
                    <a:pt x="584" y="113"/>
                  </a:lnTo>
                  <a:lnTo>
                    <a:pt x="584" y="113"/>
                  </a:lnTo>
                  <a:lnTo>
                    <a:pt x="584" y="111"/>
                  </a:lnTo>
                  <a:lnTo>
                    <a:pt x="584" y="111"/>
                  </a:lnTo>
                  <a:close/>
                </a:path>
              </a:pathLst>
            </a:custGeom>
            <a:solidFill>
              <a:schemeClr val="bg1">
                <a:lumMod val="75000"/>
              </a:schemeClr>
            </a:solidFill>
            <a:ln w="3175" cap="rnd">
              <a:solidFill>
                <a:schemeClr val="bg1"/>
              </a:solidFill>
              <a:prstDash val="solid"/>
              <a:round/>
              <a:headEnd/>
              <a:tailEnd/>
            </a:ln>
          </p:spPr>
          <p:txBody>
            <a:bodyPr vert="horz" wrap="square" lIns="0" tIns="0" rIns="240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MN</a:t>
              </a:r>
            </a:p>
          </p:txBody>
        </p:sp>
        <p:sp>
          <p:nvSpPr>
            <p:cNvPr id="92" name="Freeform 33">
              <a:extLst>
                <a:ext uri="{FF2B5EF4-FFF2-40B4-BE49-F238E27FC236}">
                  <a16:creationId xmlns:a16="http://schemas.microsoft.com/office/drawing/2014/main" id="{A00A3F46-9835-7D30-0EBA-E3F17ABA66A6}"/>
                </a:ext>
              </a:extLst>
            </p:cNvPr>
            <p:cNvSpPr>
              <a:spLocks noEditPoints="1"/>
            </p:cNvSpPr>
            <p:nvPr/>
          </p:nvSpPr>
          <p:spPr bwMode="auto">
            <a:xfrm>
              <a:off x="3472" y="217"/>
              <a:ext cx="674" cy="654"/>
            </a:xfrm>
            <a:custGeom>
              <a:avLst/>
              <a:gdLst>
                <a:gd name="T0" fmla="*/ 541 w 674"/>
                <a:gd name="T1" fmla="*/ 179 h 654"/>
                <a:gd name="T2" fmla="*/ 516 w 674"/>
                <a:gd name="T3" fmla="*/ 179 h 654"/>
                <a:gd name="T4" fmla="*/ 477 w 674"/>
                <a:gd name="T5" fmla="*/ 138 h 654"/>
                <a:gd name="T6" fmla="*/ 485 w 674"/>
                <a:gd name="T7" fmla="*/ 129 h 654"/>
                <a:gd name="T8" fmla="*/ 395 w 674"/>
                <a:gd name="T9" fmla="*/ 187 h 654"/>
                <a:gd name="T10" fmla="*/ 446 w 674"/>
                <a:gd name="T11" fmla="*/ 195 h 654"/>
                <a:gd name="T12" fmla="*/ 475 w 674"/>
                <a:gd name="T13" fmla="*/ 185 h 654"/>
                <a:gd name="T14" fmla="*/ 496 w 674"/>
                <a:gd name="T15" fmla="*/ 170 h 654"/>
                <a:gd name="T16" fmla="*/ 479 w 674"/>
                <a:gd name="T17" fmla="*/ 144 h 654"/>
                <a:gd name="T18" fmla="*/ 420 w 674"/>
                <a:gd name="T19" fmla="*/ 140 h 654"/>
                <a:gd name="T20" fmla="*/ 332 w 674"/>
                <a:gd name="T21" fmla="*/ 134 h 654"/>
                <a:gd name="T22" fmla="*/ 270 w 674"/>
                <a:gd name="T23" fmla="*/ 160 h 654"/>
                <a:gd name="T24" fmla="*/ 225 w 674"/>
                <a:gd name="T25" fmla="*/ 150 h 654"/>
                <a:gd name="T26" fmla="*/ 172 w 674"/>
                <a:gd name="T27" fmla="*/ 125 h 654"/>
                <a:gd name="T28" fmla="*/ 147 w 674"/>
                <a:gd name="T29" fmla="*/ 144 h 654"/>
                <a:gd name="T30" fmla="*/ 141 w 674"/>
                <a:gd name="T31" fmla="*/ 111 h 654"/>
                <a:gd name="T32" fmla="*/ 76 w 674"/>
                <a:gd name="T33" fmla="*/ 142 h 654"/>
                <a:gd name="T34" fmla="*/ 10 w 674"/>
                <a:gd name="T35" fmla="*/ 185 h 654"/>
                <a:gd name="T36" fmla="*/ 98 w 674"/>
                <a:gd name="T37" fmla="*/ 213 h 654"/>
                <a:gd name="T38" fmla="*/ 145 w 674"/>
                <a:gd name="T39" fmla="*/ 224 h 654"/>
                <a:gd name="T40" fmla="*/ 172 w 674"/>
                <a:gd name="T41" fmla="*/ 226 h 654"/>
                <a:gd name="T42" fmla="*/ 190 w 674"/>
                <a:gd name="T43" fmla="*/ 244 h 654"/>
                <a:gd name="T44" fmla="*/ 211 w 674"/>
                <a:gd name="T45" fmla="*/ 254 h 654"/>
                <a:gd name="T46" fmla="*/ 209 w 674"/>
                <a:gd name="T47" fmla="*/ 281 h 654"/>
                <a:gd name="T48" fmla="*/ 223 w 674"/>
                <a:gd name="T49" fmla="*/ 293 h 654"/>
                <a:gd name="T50" fmla="*/ 262 w 674"/>
                <a:gd name="T51" fmla="*/ 246 h 654"/>
                <a:gd name="T52" fmla="*/ 276 w 674"/>
                <a:gd name="T53" fmla="*/ 242 h 654"/>
                <a:gd name="T54" fmla="*/ 307 w 674"/>
                <a:gd name="T55" fmla="*/ 222 h 654"/>
                <a:gd name="T56" fmla="*/ 303 w 674"/>
                <a:gd name="T57" fmla="*/ 248 h 654"/>
                <a:gd name="T58" fmla="*/ 321 w 674"/>
                <a:gd name="T59" fmla="*/ 226 h 654"/>
                <a:gd name="T60" fmla="*/ 293 w 674"/>
                <a:gd name="T61" fmla="*/ 156 h 654"/>
                <a:gd name="T62" fmla="*/ 145 w 674"/>
                <a:gd name="T63" fmla="*/ 105 h 654"/>
                <a:gd name="T64" fmla="*/ 162 w 674"/>
                <a:gd name="T65" fmla="*/ 99 h 654"/>
                <a:gd name="T66" fmla="*/ 199 w 674"/>
                <a:gd name="T67" fmla="*/ 72 h 654"/>
                <a:gd name="T68" fmla="*/ 80 w 674"/>
                <a:gd name="T69" fmla="*/ 35 h 654"/>
                <a:gd name="T70" fmla="*/ 133 w 674"/>
                <a:gd name="T71" fmla="*/ 0 h 654"/>
                <a:gd name="T72" fmla="*/ 352 w 674"/>
                <a:gd name="T73" fmla="*/ 302 h 654"/>
                <a:gd name="T74" fmla="*/ 471 w 674"/>
                <a:gd name="T75" fmla="*/ 185 h 654"/>
                <a:gd name="T76" fmla="*/ 674 w 674"/>
                <a:gd name="T77" fmla="*/ 478 h 654"/>
                <a:gd name="T78" fmla="*/ 600 w 674"/>
                <a:gd name="T79" fmla="*/ 379 h 654"/>
                <a:gd name="T80" fmla="*/ 563 w 674"/>
                <a:gd name="T81" fmla="*/ 427 h 654"/>
                <a:gd name="T82" fmla="*/ 555 w 674"/>
                <a:gd name="T83" fmla="*/ 386 h 654"/>
                <a:gd name="T84" fmla="*/ 577 w 674"/>
                <a:gd name="T85" fmla="*/ 347 h 654"/>
                <a:gd name="T86" fmla="*/ 561 w 674"/>
                <a:gd name="T87" fmla="*/ 279 h 654"/>
                <a:gd name="T88" fmla="*/ 569 w 674"/>
                <a:gd name="T89" fmla="*/ 263 h 654"/>
                <a:gd name="T90" fmla="*/ 522 w 674"/>
                <a:gd name="T91" fmla="*/ 238 h 654"/>
                <a:gd name="T92" fmla="*/ 428 w 674"/>
                <a:gd name="T93" fmla="*/ 215 h 654"/>
                <a:gd name="T94" fmla="*/ 407 w 674"/>
                <a:gd name="T95" fmla="*/ 300 h 654"/>
                <a:gd name="T96" fmla="*/ 397 w 674"/>
                <a:gd name="T97" fmla="*/ 308 h 654"/>
                <a:gd name="T98" fmla="*/ 393 w 674"/>
                <a:gd name="T99" fmla="*/ 295 h 654"/>
                <a:gd name="T100" fmla="*/ 366 w 674"/>
                <a:gd name="T101" fmla="*/ 308 h 654"/>
                <a:gd name="T102" fmla="*/ 344 w 674"/>
                <a:gd name="T103" fmla="*/ 338 h 654"/>
                <a:gd name="T104" fmla="*/ 342 w 674"/>
                <a:gd name="T105" fmla="*/ 433 h 654"/>
                <a:gd name="T106" fmla="*/ 369 w 674"/>
                <a:gd name="T107" fmla="*/ 517 h 654"/>
                <a:gd name="T108" fmla="*/ 420 w 674"/>
                <a:gd name="T109" fmla="*/ 644 h 654"/>
                <a:gd name="T110" fmla="*/ 596 w 674"/>
                <a:gd name="T111" fmla="*/ 621 h 654"/>
                <a:gd name="T112" fmla="*/ 629 w 674"/>
                <a:gd name="T113" fmla="*/ 586 h 654"/>
                <a:gd name="T114" fmla="*/ 647 w 674"/>
                <a:gd name="T115" fmla="*/ 535 h 654"/>
                <a:gd name="T116" fmla="*/ 663 w 674"/>
                <a:gd name="T117" fmla="*/ 517 h 654"/>
                <a:gd name="T118" fmla="*/ 391 w 674"/>
                <a:gd name="T119" fmla="*/ 215 h 654"/>
                <a:gd name="T120" fmla="*/ 475 w 674"/>
                <a:gd name="T121" fmla="*/ 207 h 654"/>
                <a:gd name="T122" fmla="*/ 391 w 674"/>
                <a:gd name="T123" fmla="*/ 226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4" h="654">
                  <a:moveTo>
                    <a:pt x="512" y="183"/>
                  </a:moveTo>
                  <a:lnTo>
                    <a:pt x="512" y="183"/>
                  </a:lnTo>
                  <a:lnTo>
                    <a:pt x="512" y="183"/>
                  </a:lnTo>
                  <a:lnTo>
                    <a:pt x="512" y="181"/>
                  </a:lnTo>
                  <a:lnTo>
                    <a:pt x="514" y="181"/>
                  </a:lnTo>
                  <a:lnTo>
                    <a:pt x="514" y="181"/>
                  </a:lnTo>
                  <a:lnTo>
                    <a:pt x="514" y="183"/>
                  </a:lnTo>
                  <a:lnTo>
                    <a:pt x="516" y="183"/>
                  </a:lnTo>
                  <a:lnTo>
                    <a:pt x="518" y="183"/>
                  </a:lnTo>
                  <a:lnTo>
                    <a:pt x="518" y="185"/>
                  </a:lnTo>
                  <a:lnTo>
                    <a:pt x="518" y="185"/>
                  </a:lnTo>
                  <a:lnTo>
                    <a:pt x="518" y="185"/>
                  </a:lnTo>
                  <a:lnTo>
                    <a:pt x="520" y="185"/>
                  </a:lnTo>
                  <a:lnTo>
                    <a:pt x="520" y="185"/>
                  </a:lnTo>
                  <a:lnTo>
                    <a:pt x="522" y="183"/>
                  </a:lnTo>
                  <a:lnTo>
                    <a:pt x="524" y="185"/>
                  </a:lnTo>
                  <a:lnTo>
                    <a:pt x="524" y="185"/>
                  </a:lnTo>
                  <a:lnTo>
                    <a:pt x="526" y="185"/>
                  </a:lnTo>
                  <a:lnTo>
                    <a:pt x="526" y="185"/>
                  </a:lnTo>
                  <a:lnTo>
                    <a:pt x="528" y="183"/>
                  </a:lnTo>
                  <a:lnTo>
                    <a:pt x="528" y="183"/>
                  </a:lnTo>
                  <a:lnTo>
                    <a:pt x="532" y="183"/>
                  </a:lnTo>
                  <a:lnTo>
                    <a:pt x="534" y="185"/>
                  </a:lnTo>
                  <a:lnTo>
                    <a:pt x="536" y="185"/>
                  </a:lnTo>
                  <a:lnTo>
                    <a:pt x="539" y="183"/>
                  </a:lnTo>
                  <a:lnTo>
                    <a:pt x="541" y="183"/>
                  </a:lnTo>
                  <a:lnTo>
                    <a:pt x="541" y="179"/>
                  </a:lnTo>
                  <a:lnTo>
                    <a:pt x="541" y="179"/>
                  </a:lnTo>
                  <a:lnTo>
                    <a:pt x="543" y="177"/>
                  </a:lnTo>
                  <a:lnTo>
                    <a:pt x="543" y="174"/>
                  </a:lnTo>
                  <a:lnTo>
                    <a:pt x="541" y="174"/>
                  </a:lnTo>
                  <a:lnTo>
                    <a:pt x="539" y="174"/>
                  </a:lnTo>
                  <a:lnTo>
                    <a:pt x="536" y="172"/>
                  </a:lnTo>
                  <a:lnTo>
                    <a:pt x="536" y="170"/>
                  </a:lnTo>
                  <a:lnTo>
                    <a:pt x="534" y="168"/>
                  </a:lnTo>
                  <a:lnTo>
                    <a:pt x="532" y="168"/>
                  </a:lnTo>
                  <a:lnTo>
                    <a:pt x="530" y="166"/>
                  </a:lnTo>
                  <a:lnTo>
                    <a:pt x="524" y="166"/>
                  </a:lnTo>
                  <a:lnTo>
                    <a:pt x="522" y="166"/>
                  </a:lnTo>
                  <a:lnTo>
                    <a:pt x="522" y="168"/>
                  </a:lnTo>
                  <a:lnTo>
                    <a:pt x="524" y="168"/>
                  </a:lnTo>
                  <a:lnTo>
                    <a:pt x="524" y="170"/>
                  </a:lnTo>
                  <a:lnTo>
                    <a:pt x="526" y="170"/>
                  </a:lnTo>
                  <a:lnTo>
                    <a:pt x="526" y="170"/>
                  </a:lnTo>
                  <a:lnTo>
                    <a:pt x="526" y="170"/>
                  </a:lnTo>
                  <a:lnTo>
                    <a:pt x="526" y="172"/>
                  </a:lnTo>
                  <a:lnTo>
                    <a:pt x="526" y="172"/>
                  </a:lnTo>
                  <a:lnTo>
                    <a:pt x="524" y="172"/>
                  </a:lnTo>
                  <a:lnTo>
                    <a:pt x="524" y="174"/>
                  </a:lnTo>
                  <a:lnTo>
                    <a:pt x="522" y="174"/>
                  </a:lnTo>
                  <a:lnTo>
                    <a:pt x="520" y="177"/>
                  </a:lnTo>
                  <a:lnTo>
                    <a:pt x="520" y="177"/>
                  </a:lnTo>
                  <a:lnTo>
                    <a:pt x="518" y="177"/>
                  </a:lnTo>
                  <a:lnTo>
                    <a:pt x="518" y="179"/>
                  </a:lnTo>
                  <a:lnTo>
                    <a:pt x="518" y="179"/>
                  </a:lnTo>
                  <a:lnTo>
                    <a:pt x="516" y="179"/>
                  </a:lnTo>
                  <a:lnTo>
                    <a:pt x="514" y="177"/>
                  </a:lnTo>
                  <a:lnTo>
                    <a:pt x="512" y="177"/>
                  </a:lnTo>
                  <a:lnTo>
                    <a:pt x="512" y="179"/>
                  </a:lnTo>
                  <a:lnTo>
                    <a:pt x="512" y="181"/>
                  </a:lnTo>
                  <a:lnTo>
                    <a:pt x="512" y="183"/>
                  </a:lnTo>
                  <a:close/>
                  <a:moveTo>
                    <a:pt x="485" y="150"/>
                  </a:moveTo>
                  <a:lnTo>
                    <a:pt x="483" y="150"/>
                  </a:lnTo>
                  <a:lnTo>
                    <a:pt x="483" y="150"/>
                  </a:lnTo>
                  <a:lnTo>
                    <a:pt x="483" y="152"/>
                  </a:lnTo>
                  <a:lnTo>
                    <a:pt x="483" y="154"/>
                  </a:lnTo>
                  <a:lnTo>
                    <a:pt x="483" y="156"/>
                  </a:lnTo>
                  <a:lnTo>
                    <a:pt x="485" y="158"/>
                  </a:lnTo>
                  <a:lnTo>
                    <a:pt x="487" y="158"/>
                  </a:lnTo>
                  <a:lnTo>
                    <a:pt x="489" y="156"/>
                  </a:lnTo>
                  <a:lnTo>
                    <a:pt x="489" y="154"/>
                  </a:lnTo>
                  <a:lnTo>
                    <a:pt x="487" y="152"/>
                  </a:lnTo>
                  <a:lnTo>
                    <a:pt x="487" y="150"/>
                  </a:lnTo>
                  <a:lnTo>
                    <a:pt x="485" y="150"/>
                  </a:lnTo>
                  <a:close/>
                  <a:moveTo>
                    <a:pt x="629" y="566"/>
                  </a:moveTo>
                  <a:lnTo>
                    <a:pt x="629" y="568"/>
                  </a:lnTo>
                  <a:lnTo>
                    <a:pt x="629" y="574"/>
                  </a:lnTo>
                  <a:lnTo>
                    <a:pt x="629" y="576"/>
                  </a:lnTo>
                  <a:lnTo>
                    <a:pt x="629" y="578"/>
                  </a:lnTo>
                  <a:lnTo>
                    <a:pt x="631" y="576"/>
                  </a:lnTo>
                  <a:lnTo>
                    <a:pt x="631" y="572"/>
                  </a:lnTo>
                  <a:lnTo>
                    <a:pt x="629" y="566"/>
                  </a:lnTo>
                  <a:close/>
                  <a:moveTo>
                    <a:pt x="475" y="136"/>
                  </a:moveTo>
                  <a:lnTo>
                    <a:pt x="477" y="138"/>
                  </a:lnTo>
                  <a:lnTo>
                    <a:pt x="477" y="138"/>
                  </a:lnTo>
                  <a:lnTo>
                    <a:pt x="479" y="142"/>
                  </a:lnTo>
                  <a:lnTo>
                    <a:pt x="479" y="144"/>
                  </a:lnTo>
                  <a:lnTo>
                    <a:pt x="481" y="144"/>
                  </a:lnTo>
                  <a:lnTo>
                    <a:pt x="483" y="144"/>
                  </a:lnTo>
                  <a:lnTo>
                    <a:pt x="483" y="146"/>
                  </a:lnTo>
                  <a:lnTo>
                    <a:pt x="483" y="148"/>
                  </a:lnTo>
                  <a:lnTo>
                    <a:pt x="483" y="148"/>
                  </a:lnTo>
                  <a:lnTo>
                    <a:pt x="483" y="148"/>
                  </a:lnTo>
                  <a:lnTo>
                    <a:pt x="485" y="148"/>
                  </a:lnTo>
                  <a:lnTo>
                    <a:pt x="485" y="148"/>
                  </a:lnTo>
                  <a:lnTo>
                    <a:pt x="487" y="148"/>
                  </a:lnTo>
                  <a:lnTo>
                    <a:pt x="487" y="148"/>
                  </a:lnTo>
                  <a:lnTo>
                    <a:pt x="487" y="148"/>
                  </a:lnTo>
                  <a:lnTo>
                    <a:pt x="487" y="148"/>
                  </a:lnTo>
                  <a:lnTo>
                    <a:pt x="487" y="148"/>
                  </a:lnTo>
                  <a:lnTo>
                    <a:pt x="487" y="146"/>
                  </a:lnTo>
                  <a:lnTo>
                    <a:pt x="487" y="146"/>
                  </a:lnTo>
                  <a:lnTo>
                    <a:pt x="483" y="142"/>
                  </a:lnTo>
                  <a:lnTo>
                    <a:pt x="481" y="140"/>
                  </a:lnTo>
                  <a:lnTo>
                    <a:pt x="481" y="140"/>
                  </a:lnTo>
                  <a:lnTo>
                    <a:pt x="481" y="138"/>
                  </a:lnTo>
                  <a:lnTo>
                    <a:pt x="481" y="136"/>
                  </a:lnTo>
                  <a:lnTo>
                    <a:pt x="483" y="131"/>
                  </a:lnTo>
                  <a:lnTo>
                    <a:pt x="483" y="129"/>
                  </a:lnTo>
                  <a:lnTo>
                    <a:pt x="483" y="129"/>
                  </a:lnTo>
                  <a:lnTo>
                    <a:pt x="485" y="129"/>
                  </a:lnTo>
                  <a:lnTo>
                    <a:pt x="485" y="129"/>
                  </a:lnTo>
                  <a:lnTo>
                    <a:pt x="483" y="127"/>
                  </a:lnTo>
                  <a:lnTo>
                    <a:pt x="479" y="127"/>
                  </a:lnTo>
                  <a:lnTo>
                    <a:pt x="479" y="127"/>
                  </a:lnTo>
                  <a:lnTo>
                    <a:pt x="479" y="127"/>
                  </a:lnTo>
                  <a:lnTo>
                    <a:pt x="475" y="131"/>
                  </a:lnTo>
                  <a:lnTo>
                    <a:pt x="475" y="134"/>
                  </a:lnTo>
                  <a:lnTo>
                    <a:pt x="473" y="136"/>
                  </a:lnTo>
                  <a:lnTo>
                    <a:pt x="475" y="136"/>
                  </a:lnTo>
                  <a:lnTo>
                    <a:pt x="475" y="136"/>
                  </a:lnTo>
                  <a:close/>
                  <a:moveTo>
                    <a:pt x="344" y="205"/>
                  </a:moveTo>
                  <a:lnTo>
                    <a:pt x="350" y="207"/>
                  </a:lnTo>
                  <a:lnTo>
                    <a:pt x="354" y="209"/>
                  </a:lnTo>
                  <a:lnTo>
                    <a:pt x="354" y="207"/>
                  </a:lnTo>
                  <a:lnTo>
                    <a:pt x="354" y="205"/>
                  </a:lnTo>
                  <a:lnTo>
                    <a:pt x="356" y="203"/>
                  </a:lnTo>
                  <a:lnTo>
                    <a:pt x="364" y="201"/>
                  </a:lnTo>
                  <a:lnTo>
                    <a:pt x="375" y="201"/>
                  </a:lnTo>
                  <a:lnTo>
                    <a:pt x="375" y="199"/>
                  </a:lnTo>
                  <a:lnTo>
                    <a:pt x="377" y="199"/>
                  </a:lnTo>
                  <a:lnTo>
                    <a:pt x="377" y="195"/>
                  </a:lnTo>
                  <a:lnTo>
                    <a:pt x="381" y="189"/>
                  </a:lnTo>
                  <a:lnTo>
                    <a:pt x="383" y="187"/>
                  </a:lnTo>
                  <a:lnTo>
                    <a:pt x="389" y="187"/>
                  </a:lnTo>
                  <a:lnTo>
                    <a:pt x="391" y="185"/>
                  </a:lnTo>
                  <a:lnTo>
                    <a:pt x="391" y="185"/>
                  </a:lnTo>
                  <a:lnTo>
                    <a:pt x="393" y="185"/>
                  </a:lnTo>
                  <a:lnTo>
                    <a:pt x="393" y="187"/>
                  </a:lnTo>
                  <a:lnTo>
                    <a:pt x="395" y="187"/>
                  </a:lnTo>
                  <a:lnTo>
                    <a:pt x="395" y="187"/>
                  </a:lnTo>
                  <a:lnTo>
                    <a:pt x="397" y="185"/>
                  </a:lnTo>
                  <a:lnTo>
                    <a:pt x="399" y="185"/>
                  </a:lnTo>
                  <a:lnTo>
                    <a:pt x="401" y="187"/>
                  </a:lnTo>
                  <a:lnTo>
                    <a:pt x="403" y="187"/>
                  </a:lnTo>
                  <a:lnTo>
                    <a:pt x="409" y="187"/>
                  </a:lnTo>
                  <a:lnTo>
                    <a:pt x="412" y="187"/>
                  </a:lnTo>
                  <a:lnTo>
                    <a:pt x="416" y="189"/>
                  </a:lnTo>
                  <a:lnTo>
                    <a:pt x="422" y="191"/>
                  </a:lnTo>
                  <a:lnTo>
                    <a:pt x="424" y="191"/>
                  </a:lnTo>
                  <a:lnTo>
                    <a:pt x="428" y="193"/>
                  </a:lnTo>
                  <a:lnTo>
                    <a:pt x="428" y="195"/>
                  </a:lnTo>
                  <a:lnTo>
                    <a:pt x="430" y="195"/>
                  </a:lnTo>
                  <a:lnTo>
                    <a:pt x="432" y="197"/>
                  </a:lnTo>
                  <a:lnTo>
                    <a:pt x="432" y="197"/>
                  </a:lnTo>
                  <a:lnTo>
                    <a:pt x="434" y="197"/>
                  </a:lnTo>
                  <a:lnTo>
                    <a:pt x="436" y="199"/>
                  </a:lnTo>
                  <a:lnTo>
                    <a:pt x="438" y="199"/>
                  </a:lnTo>
                  <a:lnTo>
                    <a:pt x="438" y="201"/>
                  </a:lnTo>
                  <a:lnTo>
                    <a:pt x="440" y="203"/>
                  </a:lnTo>
                  <a:lnTo>
                    <a:pt x="444" y="203"/>
                  </a:lnTo>
                  <a:lnTo>
                    <a:pt x="446" y="205"/>
                  </a:lnTo>
                  <a:lnTo>
                    <a:pt x="448" y="201"/>
                  </a:lnTo>
                  <a:lnTo>
                    <a:pt x="448" y="201"/>
                  </a:lnTo>
                  <a:lnTo>
                    <a:pt x="446" y="199"/>
                  </a:lnTo>
                  <a:lnTo>
                    <a:pt x="446" y="197"/>
                  </a:lnTo>
                  <a:lnTo>
                    <a:pt x="448" y="195"/>
                  </a:lnTo>
                  <a:lnTo>
                    <a:pt x="446" y="195"/>
                  </a:lnTo>
                  <a:lnTo>
                    <a:pt x="446" y="195"/>
                  </a:lnTo>
                  <a:lnTo>
                    <a:pt x="446" y="193"/>
                  </a:lnTo>
                  <a:lnTo>
                    <a:pt x="446" y="191"/>
                  </a:lnTo>
                  <a:lnTo>
                    <a:pt x="448" y="191"/>
                  </a:lnTo>
                  <a:lnTo>
                    <a:pt x="448" y="191"/>
                  </a:lnTo>
                  <a:lnTo>
                    <a:pt x="448" y="191"/>
                  </a:lnTo>
                  <a:lnTo>
                    <a:pt x="448" y="185"/>
                  </a:lnTo>
                  <a:lnTo>
                    <a:pt x="450" y="183"/>
                  </a:lnTo>
                  <a:lnTo>
                    <a:pt x="453" y="183"/>
                  </a:lnTo>
                  <a:lnTo>
                    <a:pt x="455" y="185"/>
                  </a:lnTo>
                  <a:lnTo>
                    <a:pt x="457" y="183"/>
                  </a:lnTo>
                  <a:lnTo>
                    <a:pt x="459" y="183"/>
                  </a:lnTo>
                  <a:lnTo>
                    <a:pt x="461" y="185"/>
                  </a:lnTo>
                  <a:lnTo>
                    <a:pt x="461" y="187"/>
                  </a:lnTo>
                  <a:lnTo>
                    <a:pt x="461" y="187"/>
                  </a:lnTo>
                  <a:lnTo>
                    <a:pt x="461" y="189"/>
                  </a:lnTo>
                  <a:lnTo>
                    <a:pt x="463" y="189"/>
                  </a:lnTo>
                  <a:lnTo>
                    <a:pt x="463" y="187"/>
                  </a:lnTo>
                  <a:lnTo>
                    <a:pt x="463" y="187"/>
                  </a:lnTo>
                  <a:lnTo>
                    <a:pt x="465" y="187"/>
                  </a:lnTo>
                  <a:lnTo>
                    <a:pt x="467" y="189"/>
                  </a:lnTo>
                  <a:lnTo>
                    <a:pt x="467" y="187"/>
                  </a:lnTo>
                  <a:lnTo>
                    <a:pt x="467" y="185"/>
                  </a:lnTo>
                  <a:lnTo>
                    <a:pt x="471" y="185"/>
                  </a:lnTo>
                  <a:lnTo>
                    <a:pt x="473" y="187"/>
                  </a:lnTo>
                  <a:lnTo>
                    <a:pt x="475" y="187"/>
                  </a:lnTo>
                  <a:lnTo>
                    <a:pt x="475" y="187"/>
                  </a:lnTo>
                  <a:lnTo>
                    <a:pt x="475" y="185"/>
                  </a:lnTo>
                  <a:lnTo>
                    <a:pt x="475" y="185"/>
                  </a:lnTo>
                  <a:lnTo>
                    <a:pt x="477" y="185"/>
                  </a:lnTo>
                  <a:lnTo>
                    <a:pt x="477" y="185"/>
                  </a:lnTo>
                  <a:lnTo>
                    <a:pt x="479" y="185"/>
                  </a:lnTo>
                  <a:lnTo>
                    <a:pt x="479" y="185"/>
                  </a:lnTo>
                  <a:lnTo>
                    <a:pt x="485" y="185"/>
                  </a:lnTo>
                  <a:lnTo>
                    <a:pt x="502" y="185"/>
                  </a:lnTo>
                  <a:lnTo>
                    <a:pt x="502" y="185"/>
                  </a:lnTo>
                  <a:lnTo>
                    <a:pt x="502" y="185"/>
                  </a:lnTo>
                  <a:lnTo>
                    <a:pt x="504" y="185"/>
                  </a:lnTo>
                  <a:lnTo>
                    <a:pt x="504" y="185"/>
                  </a:lnTo>
                  <a:lnTo>
                    <a:pt x="504" y="185"/>
                  </a:lnTo>
                  <a:lnTo>
                    <a:pt x="508" y="183"/>
                  </a:lnTo>
                  <a:lnTo>
                    <a:pt x="510" y="183"/>
                  </a:lnTo>
                  <a:lnTo>
                    <a:pt x="510" y="183"/>
                  </a:lnTo>
                  <a:lnTo>
                    <a:pt x="510" y="181"/>
                  </a:lnTo>
                  <a:lnTo>
                    <a:pt x="510" y="179"/>
                  </a:lnTo>
                  <a:lnTo>
                    <a:pt x="510" y="179"/>
                  </a:lnTo>
                  <a:lnTo>
                    <a:pt x="508" y="179"/>
                  </a:lnTo>
                  <a:lnTo>
                    <a:pt x="506" y="177"/>
                  </a:lnTo>
                  <a:lnTo>
                    <a:pt x="506" y="177"/>
                  </a:lnTo>
                  <a:lnTo>
                    <a:pt x="504" y="177"/>
                  </a:lnTo>
                  <a:lnTo>
                    <a:pt x="504" y="177"/>
                  </a:lnTo>
                  <a:lnTo>
                    <a:pt x="502" y="177"/>
                  </a:lnTo>
                  <a:lnTo>
                    <a:pt x="500" y="174"/>
                  </a:lnTo>
                  <a:lnTo>
                    <a:pt x="498" y="172"/>
                  </a:lnTo>
                  <a:lnTo>
                    <a:pt x="496" y="172"/>
                  </a:lnTo>
                  <a:lnTo>
                    <a:pt x="496" y="170"/>
                  </a:lnTo>
                  <a:lnTo>
                    <a:pt x="496" y="168"/>
                  </a:lnTo>
                  <a:lnTo>
                    <a:pt x="498" y="168"/>
                  </a:lnTo>
                  <a:lnTo>
                    <a:pt x="498" y="166"/>
                  </a:lnTo>
                  <a:lnTo>
                    <a:pt x="498" y="166"/>
                  </a:lnTo>
                  <a:lnTo>
                    <a:pt x="496" y="166"/>
                  </a:lnTo>
                  <a:lnTo>
                    <a:pt x="493" y="166"/>
                  </a:lnTo>
                  <a:lnTo>
                    <a:pt x="493" y="166"/>
                  </a:lnTo>
                  <a:lnTo>
                    <a:pt x="491" y="166"/>
                  </a:lnTo>
                  <a:lnTo>
                    <a:pt x="491" y="166"/>
                  </a:lnTo>
                  <a:lnTo>
                    <a:pt x="491" y="166"/>
                  </a:lnTo>
                  <a:lnTo>
                    <a:pt x="489" y="164"/>
                  </a:lnTo>
                  <a:lnTo>
                    <a:pt x="489" y="164"/>
                  </a:lnTo>
                  <a:lnTo>
                    <a:pt x="487" y="164"/>
                  </a:lnTo>
                  <a:lnTo>
                    <a:pt x="485" y="164"/>
                  </a:lnTo>
                  <a:lnTo>
                    <a:pt x="483" y="164"/>
                  </a:lnTo>
                  <a:lnTo>
                    <a:pt x="483" y="166"/>
                  </a:lnTo>
                  <a:lnTo>
                    <a:pt x="481" y="164"/>
                  </a:lnTo>
                  <a:lnTo>
                    <a:pt x="479" y="162"/>
                  </a:lnTo>
                  <a:lnTo>
                    <a:pt x="479" y="162"/>
                  </a:lnTo>
                  <a:lnTo>
                    <a:pt x="481" y="160"/>
                  </a:lnTo>
                  <a:lnTo>
                    <a:pt x="483" y="158"/>
                  </a:lnTo>
                  <a:lnTo>
                    <a:pt x="485" y="158"/>
                  </a:lnTo>
                  <a:lnTo>
                    <a:pt x="483" y="156"/>
                  </a:lnTo>
                  <a:lnTo>
                    <a:pt x="481" y="154"/>
                  </a:lnTo>
                  <a:lnTo>
                    <a:pt x="481" y="152"/>
                  </a:lnTo>
                  <a:lnTo>
                    <a:pt x="479" y="148"/>
                  </a:lnTo>
                  <a:lnTo>
                    <a:pt x="479" y="146"/>
                  </a:lnTo>
                  <a:lnTo>
                    <a:pt x="479" y="144"/>
                  </a:lnTo>
                  <a:lnTo>
                    <a:pt x="475" y="140"/>
                  </a:lnTo>
                  <a:lnTo>
                    <a:pt x="473" y="138"/>
                  </a:lnTo>
                  <a:lnTo>
                    <a:pt x="471" y="134"/>
                  </a:lnTo>
                  <a:lnTo>
                    <a:pt x="469" y="134"/>
                  </a:lnTo>
                  <a:lnTo>
                    <a:pt x="467" y="134"/>
                  </a:lnTo>
                  <a:lnTo>
                    <a:pt x="465" y="134"/>
                  </a:lnTo>
                  <a:lnTo>
                    <a:pt x="463" y="134"/>
                  </a:lnTo>
                  <a:lnTo>
                    <a:pt x="463" y="134"/>
                  </a:lnTo>
                  <a:lnTo>
                    <a:pt x="461" y="140"/>
                  </a:lnTo>
                  <a:lnTo>
                    <a:pt x="459" y="142"/>
                  </a:lnTo>
                  <a:lnTo>
                    <a:pt x="455" y="144"/>
                  </a:lnTo>
                  <a:lnTo>
                    <a:pt x="453" y="144"/>
                  </a:lnTo>
                  <a:lnTo>
                    <a:pt x="448" y="144"/>
                  </a:lnTo>
                  <a:lnTo>
                    <a:pt x="450" y="142"/>
                  </a:lnTo>
                  <a:lnTo>
                    <a:pt x="446" y="138"/>
                  </a:lnTo>
                  <a:lnTo>
                    <a:pt x="444" y="138"/>
                  </a:lnTo>
                  <a:lnTo>
                    <a:pt x="442" y="138"/>
                  </a:lnTo>
                  <a:lnTo>
                    <a:pt x="440" y="140"/>
                  </a:lnTo>
                  <a:lnTo>
                    <a:pt x="438" y="142"/>
                  </a:lnTo>
                  <a:lnTo>
                    <a:pt x="434" y="142"/>
                  </a:lnTo>
                  <a:lnTo>
                    <a:pt x="432" y="144"/>
                  </a:lnTo>
                  <a:lnTo>
                    <a:pt x="430" y="144"/>
                  </a:lnTo>
                  <a:lnTo>
                    <a:pt x="428" y="142"/>
                  </a:lnTo>
                  <a:lnTo>
                    <a:pt x="424" y="142"/>
                  </a:lnTo>
                  <a:lnTo>
                    <a:pt x="424" y="142"/>
                  </a:lnTo>
                  <a:lnTo>
                    <a:pt x="422" y="140"/>
                  </a:lnTo>
                  <a:lnTo>
                    <a:pt x="422" y="140"/>
                  </a:lnTo>
                  <a:lnTo>
                    <a:pt x="420" y="140"/>
                  </a:lnTo>
                  <a:lnTo>
                    <a:pt x="418" y="142"/>
                  </a:lnTo>
                  <a:lnTo>
                    <a:pt x="418" y="142"/>
                  </a:lnTo>
                  <a:lnTo>
                    <a:pt x="416" y="142"/>
                  </a:lnTo>
                  <a:lnTo>
                    <a:pt x="414" y="142"/>
                  </a:lnTo>
                  <a:lnTo>
                    <a:pt x="414" y="140"/>
                  </a:lnTo>
                  <a:lnTo>
                    <a:pt x="414" y="138"/>
                  </a:lnTo>
                  <a:lnTo>
                    <a:pt x="416" y="136"/>
                  </a:lnTo>
                  <a:lnTo>
                    <a:pt x="416" y="134"/>
                  </a:lnTo>
                  <a:lnTo>
                    <a:pt x="414" y="129"/>
                  </a:lnTo>
                  <a:lnTo>
                    <a:pt x="414" y="117"/>
                  </a:lnTo>
                  <a:lnTo>
                    <a:pt x="414" y="117"/>
                  </a:lnTo>
                  <a:lnTo>
                    <a:pt x="416" y="115"/>
                  </a:lnTo>
                  <a:lnTo>
                    <a:pt x="416" y="113"/>
                  </a:lnTo>
                  <a:lnTo>
                    <a:pt x="418" y="113"/>
                  </a:lnTo>
                  <a:lnTo>
                    <a:pt x="418" y="111"/>
                  </a:lnTo>
                  <a:lnTo>
                    <a:pt x="416" y="111"/>
                  </a:lnTo>
                  <a:lnTo>
                    <a:pt x="412" y="113"/>
                  </a:lnTo>
                  <a:lnTo>
                    <a:pt x="412" y="113"/>
                  </a:lnTo>
                  <a:lnTo>
                    <a:pt x="403" y="113"/>
                  </a:lnTo>
                  <a:lnTo>
                    <a:pt x="399" y="115"/>
                  </a:lnTo>
                  <a:lnTo>
                    <a:pt x="391" y="117"/>
                  </a:lnTo>
                  <a:lnTo>
                    <a:pt x="379" y="125"/>
                  </a:lnTo>
                  <a:lnTo>
                    <a:pt x="375" y="127"/>
                  </a:lnTo>
                  <a:lnTo>
                    <a:pt x="348" y="127"/>
                  </a:lnTo>
                  <a:lnTo>
                    <a:pt x="346" y="129"/>
                  </a:lnTo>
                  <a:lnTo>
                    <a:pt x="346" y="127"/>
                  </a:lnTo>
                  <a:lnTo>
                    <a:pt x="344" y="129"/>
                  </a:lnTo>
                  <a:lnTo>
                    <a:pt x="332" y="134"/>
                  </a:lnTo>
                  <a:lnTo>
                    <a:pt x="330" y="134"/>
                  </a:lnTo>
                  <a:lnTo>
                    <a:pt x="328" y="134"/>
                  </a:lnTo>
                  <a:lnTo>
                    <a:pt x="317" y="142"/>
                  </a:lnTo>
                  <a:lnTo>
                    <a:pt x="309" y="146"/>
                  </a:lnTo>
                  <a:lnTo>
                    <a:pt x="307" y="148"/>
                  </a:lnTo>
                  <a:lnTo>
                    <a:pt x="303" y="150"/>
                  </a:lnTo>
                  <a:lnTo>
                    <a:pt x="303" y="150"/>
                  </a:lnTo>
                  <a:lnTo>
                    <a:pt x="299" y="154"/>
                  </a:lnTo>
                  <a:lnTo>
                    <a:pt x="299" y="154"/>
                  </a:lnTo>
                  <a:lnTo>
                    <a:pt x="295" y="160"/>
                  </a:lnTo>
                  <a:lnTo>
                    <a:pt x="293" y="162"/>
                  </a:lnTo>
                  <a:lnTo>
                    <a:pt x="291" y="164"/>
                  </a:lnTo>
                  <a:lnTo>
                    <a:pt x="291" y="164"/>
                  </a:lnTo>
                  <a:lnTo>
                    <a:pt x="291" y="162"/>
                  </a:lnTo>
                  <a:lnTo>
                    <a:pt x="291" y="162"/>
                  </a:lnTo>
                  <a:lnTo>
                    <a:pt x="289" y="162"/>
                  </a:lnTo>
                  <a:lnTo>
                    <a:pt x="287" y="162"/>
                  </a:lnTo>
                  <a:lnTo>
                    <a:pt x="287" y="160"/>
                  </a:lnTo>
                  <a:lnTo>
                    <a:pt x="285" y="160"/>
                  </a:lnTo>
                  <a:lnTo>
                    <a:pt x="283" y="158"/>
                  </a:lnTo>
                  <a:lnTo>
                    <a:pt x="280" y="158"/>
                  </a:lnTo>
                  <a:lnTo>
                    <a:pt x="278" y="162"/>
                  </a:lnTo>
                  <a:lnTo>
                    <a:pt x="276" y="162"/>
                  </a:lnTo>
                  <a:lnTo>
                    <a:pt x="274" y="164"/>
                  </a:lnTo>
                  <a:lnTo>
                    <a:pt x="272" y="164"/>
                  </a:lnTo>
                  <a:lnTo>
                    <a:pt x="272" y="162"/>
                  </a:lnTo>
                  <a:lnTo>
                    <a:pt x="272" y="162"/>
                  </a:lnTo>
                  <a:lnTo>
                    <a:pt x="270" y="160"/>
                  </a:lnTo>
                  <a:lnTo>
                    <a:pt x="270" y="162"/>
                  </a:lnTo>
                  <a:lnTo>
                    <a:pt x="268" y="160"/>
                  </a:lnTo>
                  <a:lnTo>
                    <a:pt x="266" y="158"/>
                  </a:lnTo>
                  <a:lnTo>
                    <a:pt x="266" y="158"/>
                  </a:lnTo>
                  <a:lnTo>
                    <a:pt x="266" y="156"/>
                  </a:lnTo>
                  <a:lnTo>
                    <a:pt x="266" y="156"/>
                  </a:lnTo>
                  <a:lnTo>
                    <a:pt x="264" y="156"/>
                  </a:lnTo>
                  <a:lnTo>
                    <a:pt x="264" y="156"/>
                  </a:lnTo>
                  <a:lnTo>
                    <a:pt x="262" y="154"/>
                  </a:lnTo>
                  <a:lnTo>
                    <a:pt x="262" y="156"/>
                  </a:lnTo>
                  <a:lnTo>
                    <a:pt x="260" y="156"/>
                  </a:lnTo>
                  <a:lnTo>
                    <a:pt x="260" y="156"/>
                  </a:lnTo>
                  <a:lnTo>
                    <a:pt x="260" y="156"/>
                  </a:lnTo>
                  <a:lnTo>
                    <a:pt x="258" y="156"/>
                  </a:lnTo>
                  <a:lnTo>
                    <a:pt x="256" y="158"/>
                  </a:lnTo>
                  <a:lnTo>
                    <a:pt x="256" y="160"/>
                  </a:lnTo>
                  <a:lnTo>
                    <a:pt x="256" y="160"/>
                  </a:lnTo>
                  <a:lnTo>
                    <a:pt x="254" y="160"/>
                  </a:lnTo>
                  <a:lnTo>
                    <a:pt x="250" y="160"/>
                  </a:lnTo>
                  <a:lnTo>
                    <a:pt x="246" y="162"/>
                  </a:lnTo>
                  <a:lnTo>
                    <a:pt x="237" y="162"/>
                  </a:lnTo>
                  <a:lnTo>
                    <a:pt x="235" y="160"/>
                  </a:lnTo>
                  <a:lnTo>
                    <a:pt x="233" y="158"/>
                  </a:lnTo>
                  <a:lnTo>
                    <a:pt x="231" y="154"/>
                  </a:lnTo>
                  <a:lnTo>
                    <a:pt x="231" y="154"/>
                  </a:lnTo>
                  <a:lnTo>
                    <a:pt x="231" y="152"/>
                  </a:lnTo>
                  <a:lnTo>
                    <a:pt x="227" y="152"/>
                  </a:lnTo>
                  <a:lnTo>
                    <a:pt x="225" y="150"/>
                  </a:lnTo>
                  <a:lnTo>
                    <a:pt x="225" y="150"/>
                  </a:lnTo>
                  <a:lnTo>
                    <a:pt x="225" y="148"/>
                  </a:lnTo>
                  <a:lnTo>
                    <a:pt x="223" y="148"/>
                  </a:lnTo>
                  <a:lnTo>
                    <a:pt x="221" y="146"/>
                  </a:lnTo>
                  <a:lnTo>
                    <a:pt x="221" y="144"/>
                  </a:lnTo>
                  <a:lnTo>
                    <a:pt x="219" y="144"/>
                  </a:lnTo>
                  <a:lnTo>
                    <a:pt x="215" y="140"/>
                  </a:lnTo>
                  <a:lnTo>
                    <a:pt x="215" y="138"/>
                  </a:lnTo>
                  <a:lnTo>
                    <a:pt x="213" y="134"/>
                  </a:lnTo>
                  <a:lnTo>
                    <a:pt x="211" y="131"/>
                  </a:lnTo>
                  <a:lnTo>
                    <a:pt x="209" y="134"/>
                  </a:lnTo>
                  <a:lnTo>
                    <a:pt x="209" y="134"/>
                  </a:lnTo>
                  <a:lnTo>
                    <a:pt x="209" y="131"/>
                  </a:lnTo>
                  <a:lnTo>
                    <a:pt x="207" y="129"/>
                  </a:lnTo>
                  <a:lnTo>
                    <a:pt x="207" y="129"/>
                  </a:lnTo>
                  <a:lnTo>
                    <a:pt x="205" y="131"/>
                  </a:lnTo>
                  <a:lnTo>
                    <a:pt x="205" y="131"/>
                  </a:lnTo>
                  <a:lnTo>
                    <a:pt x="203" y="129"/>
                  </a:lnTo>
                  <a:lnTo>
                    <a:pt x="203" y="129"/>
                  </a:lnTo>
                  <a:lnTo>
                    <a:pt x="201" y="127"/>
                  </a:lnTo>
                  <a:lnTo>
                    <a:pt x="201" y="127"/>
                  </a:lnTo>
                  <a:lnTo>
                    <a:pt x="201" y="127"/>
                  </a:lnTo>
                  <a:lnTo>
                    <a:pt x="199" y="127"/>
                  </a:lnTo>
                  <a:lnTo>
                    <a:pt x="199" y="127"/>
                  </a:lnTo>
                  <a:lnTo>
                    <a:pt x="199" y="125"/>
                  </a:lnTo>
                  <a:lnTo>
                    <a:pt x="188" y="125"/>
                  </a:lnTo>
                  <a:lnTo>
                    <a:pt x="176" y="125"/>
                  </a:lnTo>
                  <a:lnTo>
                    <a:pt x="172" y="125"/>
                  </a:lnTo>
                  <a:lnTo>
                    <a:pt x="166" y="129"/>
                  </a:lnTo>
                  <a:lnTo>
                    <a:pt x="166" y="129"/>
                  </a:lnTo>
                  <a:lnTo>
                    <a:pt x="166" y="131"/>
                  </a:lnTo>
                  <a:lnTo>
                    <a:pt x="164" y="134"/>
                  </a:lnTo>
                  <a:lnTo>
                    <a:pt x="162" y="136"/>
                  </a:lnTo>
                  <a:lnTo>
                    <a:pt x="160" y="138"/>
                  </a:lnTo>
                  <a:lnTo>
                    <a:pt x="160" y="136"/>
                  </a:lnTo>
                  <a:lnTo>
                    <a:pt x="162" y="134"/>
                  </a:lnTo>
                  <a:lnTo>
                    <a:pt x="162" y="131"/>
                  </a:lnTo>
                  <a:lnTo>
                    <a:pt x="164" y="129"/>
                  </a:lnTo>
                  <a:lnTo>
                    <a:pt x="168" y="125"/>
                  </a:lnTo>
                  <a:lnTo>
                    <a:pt x="170" y="123"/>
                  </a:lnTo>
                  <a:lnTo>
                    <a:pt x="170" y="121"/>
                  </a:lnTo>
                  <a:lnTo>
                    <a:pt x="168" y="121"/>
                  </a:lnTo>
                  <a:lnTo>
                    <a:pt x="168" y="123"/>
                  </a:lnTo>
                  <a:lnTo>
                    <a:pt x="164" y="125"/>
                  </a:lnTo>
                  <a:lnTo>
                    <a:pt x="160" y="129"/>
                  </a:lnTo>
                  <a:lnTo>
                    <a:pt x="158" y="129"/>
                  </a:lnTo>
                  <a:lnTo>
                    <a:pt x="156" y="134"/>
                  </a:lnTo>
                  <a:lnTo>
                    <a:pt x="156" y="134"/>
                  </a:lnTo>
                  <a:lnTo>
                    <a:pt x="153" y="134"/>
                  </a:lnTo>
                  <a:lnTo>
                    <a:pt x="151" y="136"/>
                  </a:lnTo>
                  <a:lnTo>
                    <a:pt x="153" y="136"/>
                  </a:lnTo>
                  <a:lnTo>
                    <a:pt x="149" y="142"/>
                  </a:lnTo>
                  <a:lnTo>
                    <a:pt x="147" y="146"/>
                  </a:lnTo>
                  <a:lnTo>
                    <a:pt x="145" y="144"/>
                  </a:lnTo>
                  <a:lnTo>
                    <a:pt x="145" y="144"/>
                  </a:lnTo>
                  <a:lnTo>
                    <a:pt x="147" y="144"/>
                  </a:lnTo>
                  <a:lnTo>
                    <a:pt x="147" y="144"/>
                  </a:lnTo>
                  <a:lnTo>
                    <a:pt x="147" y="142"/>
                  </a:lnTo>
                  <a:lnTo>
                    <a:pt x="147" y="142"/>
                  </a:lnTo>
                  <a:lnTo>
                    <a:pt x="147" y="142"/>
                  </a:lnTo>
                  <a:lnTo>
                    <a:pt x="145" y="138"/>
                  </a:lnTo>
                  <a:lnTo>
                    <a:pt x="145" y="138"/>
                  </a:lnTo>
                  <a:lnTo>
                    <a:pt x="145" y="136"/>
                  </a:lnTo>
                  <a:lnTo>
                    <a:pt x="145" y="136"/>
                  </a:lnTo>
                  <a:lnTo>
                    <a:pt x="145" y="134"/>
                  </a:lnTo>
                  <a:lnTo>
                    <a:pt x="145" y="134"/>
                  </a:lnTo>
                  <a:lnTo>
                    <a:pt x="145" y="131"/>
                  </a:lnTo>
                  <a:lnTo>
                    <a:pt x="147" y="131"/>
                  </a:lnTo>
                  <a:lnTo>
                    <a:pt x="147" y="127"/>
                  </a:lnTo>
                  <a:lnTo>
                    <a:pt x="147" y="125"/>
                  </a:lnTo>
                  <a:lnTo>
                    <a:pt x="147" y="123"/>
                  </a:lnTo>
                  <a:lnTo>
                    <a:pt x="147" y="121"/>
                  </a:lnTo>
                  <a:lnTo>
                    <a:pt x="145" y="119"/>
                  </a:lnTo>
                  <a:lnTo>
                    <a:pt x="143" y="117"/>
                  </a:lnTo>
                  <a:lnTo>
                    <a:pt x="143" y="117"/>
                  </a:lnTo>
                  <a:lnTo>
                    <a:pt x="141" y="117"/>
                  </a:lnTo>
                  <a:lnTo>
                    <a:pt x="141" y="117"/>
                  </a:lnTo>
                  <a:lnTo>
                    <a:pt x="141" y="117"/>
                  </a:lnTo>
                  <a:lnTo>
                    <a:pt x="141" y="117"/>
                  </a:lnTo>
                  <a:lnTo>
                    <a:pt x="141" y="117"/>
                  </a:lnTo>
                  <a:lnTo>
                    <a:pt x="141" y="115"/>
                  </a:lnTo>
                  <a:lnTo>
                    <a:pt x="141" y="113"/>
                  </a:lnTo>
                  <a:lnTo>
                    <a:pt x="141" y="111"/>
                  </a:lnTo>
                  <a:lnTo>
                    <a:pt x="141" y="111"/>
                  </a:lnTo>
                  <a:lnTo>
                    <a:pt x="139" y="109"/>
                  </a:lnTo>
                  <a:lnTo>
                    <a:pt x="135" y="109"/>
                  </a:lnTo>
                  <a:lnTo>
                    <a:pt x="133" y="109"/>
                  </a:lnTo>
                  <a:lnTo>
                    <a:pt x="131" y="107"/>
                  </a:lnTo>
                  <a:lnTo>
                    <a:pt x="131" y="105"/>
                  </a:lnTo>
                  <a:lnTo>
                    <a:pt x="131" y="103"/>
                  </a:lnTo>
                  <a:lnTo>
                    <a:pt x="131" y="101"/>
                  </a:lnTo>
                  <a:lnTo>
                    <a:pt x="129" y="99"/>
                  </a:lnTo>
                  <a:lnTo>
                    <a:pt x="129" y="99"/>
                  </a:lnTo>
                  <a:lnTo>
                    <a:pt x="127" y="101"/>
                  </a:lnTo>
                  <a:lnTo>
                    <a:pt x="115" y="111"/>
                  </a:lnTo>
                  <a:lnTo>
                    <a:pt x="113" y="113"/>
                  </a:lnTo>
                  <a:lnTo>
                    <a:pt x="113" y="113"/>
                  </a:lnTo>
                  <a:lnTo>
                    <a:pt x="110" y="117"/>
                  </a:lnTo>
                  <a:lnTo>
                    <a:pt x="110" y="117"/>
                  </a:lnTo>
                  <a:lnTo>
                    <a:pt x="110" y="117"/>
                  </a:lnTo>
                  <a:lnTo>
                    <a:pt x="108" y="121"/>
                  </a:lnTo>
                  <a:lnTo>
                    <a:pt x="106" y="123"/>
                  </a:lnTo>
                  <a:lnTo>
                    <a:pt x="106" y="123"/>
                  </a:lnTo>
                  <a:lnTo>
                    <a:pt x="102" y="125"/>
                  </a:lnTo>
                  <a:lnTo>
                    <a:pt x="100" y="125"/>
                  </a:lnTo>
                  <a:lnTo>
                    <a:pt x="100" y="125"/>
                  </a:lnTo>
                  <a:lnTo>
                    <a:pt x="96" y="125"/>
                  </a:lnTo>
                  <a:lnTo>
                    <a:pt x="94" y="125"/>
                  </a:lnTo>
                  <a:lnTo>
                    <a:pt x="92" y="127"/>
                  </a:lnTo>
                  <a:lnTo>
                    <a:pt x="88" y="134"/>
                  </a:lnTo>
                  <a:lnTo>
                    <a:pt x="82" y="140"/>
                  </a:lnTo>
                  <a:lnTo>
                    <a:pt x="76" y="142"/>
                  </a:lnTo>
                  <a:lnTo>
                    <a:pt x="45" y="150"/>
                  </a:lnTo>
                  <a:lnTo>
                    <a:pt x="41" y="150"/>
                  </a:lnTo>
                  <a:lnTo>
                    <a:pt x="29" y="164"/>
                  </a:lnTo>
                  <a:lnTo>
                    <a:pt x="27" y="166"/>
                  </a:lnTo>
                  <a:lnTo>
                    <a:pt x="12" y="172"/>
                  </a:lnTo>
                  <a:lnTo>
                    <a:pt x="8" y="174"/>
                  </a:lnTo>
                  <a:lnTo>
                    <a:pt x="8" y="174"/>
                  </a:lnTo>
                  <a:lnTo>
                    <a:pt x="6" y="174"/>
                  </a:lnTo>
                  <a:lnTo>
                    <a:pt x="4" y="177"/>
                  </a:lnTo>
                  <a:lnTo>
                    <a:pt x="2" y="177"/>
                  </a:lnTo>
                  <a:lnTo>
                    <a:pt x="0" y="179"/>
                  </a:lnTo>
                  <a:lnTo>
                    <a:pt x="0" y="179"/>
                  </a:lnTo>
                  <a:lnTo>
                    <a:pt x="0" y="181"/>
                  </a:lnTo>
                  <a:lnTo>
                    <a:pt x="0" y="183"/>
                  </a:lnTo>
                  <a:lnTo>
                    <a:pt x="0" y="183"/>
                  </a:lnTo>
                  <a:lnTo>
                    <a:pt x="2" y="183"/>
                  </a:lnTo>
                  <a:lnTo>
                    <a:pt x="2" y="183"/>
                  </a:lnTo>
                  <a:lnTo>
                    <a:pt x="2" y="183"/>
                  </a:lnTo>
                  <a:lnTo>
                    <a:pt x="4" y="183"/>
                  </a:lnTo>
                  <a:lnTo>
                    <a:pt x="4" y="181"/>
                  </a:lnTo>
                  <a:lnTo>
                    <a:pt x="6" y="181"/>
                  </a:lnTo>
                  <a:lnTo>
                    <a:pt x="6" y="181"/>
                  </a:lnTo>
                  <a:lnTo>
                    <a:pt x="6" y="183"/>
                  </a:lnTo>
                  <a:lnTo>
                    <a:pt x="8" y="183"/>
                  </a:lnTo>
                  <a:lnTo>
                    <a:pt x="8" y="183"/>
                  </a:lnTo>
                  <a:lnTo>
                    <a:pt x="10" y="183"/>
                  </a:lnTo>
                  <a:lnTo>
                    <a:pt x="10" y="185"/>
                  </a:lnTo>
                  <a:lnTo>
                    <a:pt x="10" y="185"/>
                  </a:lnTo>
                  <a:lnTo>
                    <a:pt x="12" y="185"/>
                  </a:lnTo>
                  <a:lnTo>
                    <a:pt x="12" y="185"/>
                  </a:lnTo>
                  <a:lnTo>
                    <a:pt x="14" y="185"/>
                  </a:lnTo>
                  <a:lnTo>
                    <a:pt x="14" y="185"/>
                  </a:lnTo>
                  <a:lnTo>
                    <a:pt x="16" y="187"/>
                  </a:lnTo>
                  <a:lnTo>
                    <a:pt x="16" y="187"/>
                  </a:lnTo>
                  <a:lnTo>
                    <a:pt x="18" y="189"/>
                  </a:lnTo>
                  <a:lnTo>
                    <a:pt x="18" y="193"/>
                  </a:lnTo>
                  <a:lnTo>
                    <a:pt x="20" y="197"/>
                  </a:lnTo>
                  <a:lnTo>
                    <a:pt x="22" y="199"/>
                  </a:lnTo>
                  <a:lnTo>
                    <a:pt x="24" y="201"/>
                  </a:lnTo>
                  <a:lnTo>
                    <a:pt x="24" y="201"/>
                  </a:lnTo>
                  <a:lnTo>
                    <a:pt x="24" y="201"/>
                  </a:lnTo>
                  <a:lnTo>
                    <a:pt x="27" y="203"/>
                  </a:lnTo>
                  <a:lnTo>
                    <a:pt x="27" y="203"/>
                  </a:lnTo>
                  <a:lnTo>
                    <a:pt x="31" y="203"/>
                  </a:lnTo>
                  <a:lnTo>
                    <a:pt x="33" y="203"/>
                  </a:lnTo>
                  <a:lnTo>
                    <a:pt x="39" y="203"/>
                  </a:lnTo>
                  <a:lnTo>
                    <a:pt x="43" y="205"/>
                  </a:lnTo>
                  <a:lnTo>
                    <a:pt x="51" y="205"/>
                  </a:lnTo>
                  <a:lnTo>
                    <a:pt x="57" y="207"/>
                  </a:lnTo>
                  <a:lnTo>
                    <a:pt x="63" y="209"/>
                  </a:lnTo>
                  <a:lnTo>
                    <a:pt x="72" y="209"/>
                  </a:lnTo>
                  <a:lnTo>
                    <a:pt x="78" y="211"/>
                  </a:lnTo>
                  <a:lnTo>
                    <a:pt x="84" y="211"/>
                  </a:lnTo>
                  <a:lnTo>
                    <a:pt x="90" y="211"/>
                  </a:lnTo>
                  <a:lnTo>
                    <a:pt x="94" y="213"/>
                  </a:lnTo>
                  <a:lnTo>
                    <a:pt x="98" y="213"/>
                  </a:lnTo>
                  <a:lnTo>
                    <a:pt x="100" y="213"/>
                  </a:lnTo>
                  <a:lnTo>
                    <a:pt x="100" y="213"/>
                  </a:lnTo>
                  <a:lnTo>
                    <a:pt x="104" y="215"/>
                  </a:lnTo>
                  <a:lnTo>
                    <a:pt x="106" y="215"/>
                  </a:lnTo>
                  <a:lnTo>
                    <a:pt x="110" y="218"/>
                  </a:lnTo>
                  <a:lnTo>
                    <a:pt x="115" y="220"/>
                  </a:lnTo>
                  <a:lnTo>
                    <a:pt x="121" y="222"/>
                  </a:lnTo>
                  <a:lnTo>
                    <a:pt x="125" y="224"/>
                  </a:lnTo>
                  <a:lnTo>
                    <a:pt x="127" y="224"/>
                  </a:lnTo>
                  <a:lnTo>
                    <a:pt x="127" y="224"/>
                  </a:lnTo>
                  <a:lnTo>
                    <a:pt x="129" y="224"/>
                  </a:lnTo>
                  <a:lnTo>
                    <a:pt x="129" y="224"/>
                  </a:lnTo>
                  <a:lnTo>
                    <a:pt x="131" y="224"/>
                  </a:lnTo>
                  <a:lnTo>
                    <a:pt x="131" y="224"/>
                  </a:lnTo>
                  <a:lnTo>
                    <a:pt x="131" y="224"/>
                  </a:lnTo>
                  <a:lnTo>
                    <a:pt x="133" y="224"/>
                  </a:lnTo>
                  <a:lnTo>
                    <a:pt x="133" y="224"/>
                  </a:lnTo>
                  <a:lnTo>
                    <a:pt x="135" y="224"/>
                  </a:lnTo>
                  <a:lnTo>
                    <a:pt x="135" y="224"/>
                  </a:lnTo>
                  <a:lnTo>
                    <a:pt x="135" y="224"/>
                  </a:lnTo>
                  <a:lnTo>
                    <a:pt x="137" y="224"/>
                  </a:lnTo>
                  <a:lnTo>
                    <a:pt x="137" y="224"/>
                  </a:lnTo>
                  <a:lnTo>
                    <a:pt x="139" y="224"/>
                  </a:lnTo>
                  <a:lnTo>
                    <a:pt x="143" y="226"/>
                  </a:lnTo>
                  <a:lnTo>
                    <a:pt x="143" y="226"/>
                  </a:lnTo>
                  <a:lnTo>
                    <a:pt x="143" y="226"/>
                  </a:lnTo>
                  <a:lnTo>
                    <a:pt x="145" y="224"/>
                  </a:lnTo>
                  <a:lnTo>
                    <a:pt x="145" y="224"/>
                  </a:lnTo>
                  <a:lnTo>
                    <a:pt x="147" y="224"/>
                  </a:lnTo>
                  <a:lnTo>
                    <a:pt x="147" y="224"/>
                  </a:lnTo>
                  <a:lnTo>
                    <a:pt x="147" y="224"/>
                  </a:lnTo>
                  <a:lnTo>
                    <a:pt x="147" y="224"/>
                  </a:lnTo>
                  <a:lnTo>
                    <a:pt x="149" y="224"/>
                  </a:lnTo>
                  <a:lnTo>
                    <a:pt x="149" y="224"/>
                  </a:lnTo>
                  <a:lnTo>
                    <a:pt x="149" y="222"/>
                  </a:lnTo>
                  <a:lnTo>
                    <a:pt x="151" y="222"/>
                  </a:lnTo>
                  <a:lnTo>
                    <a:pt x="151" y="224"/>
                  </a:lnTo>
                  <a:lnTo>
                    <a:pt x="153" y="224"/>
                  </a:lnTo>
                  <a:lnTo>
                    <a:pt x="153" y="224"/>
                  </a:lnTo>
                  <a:lnTo>
                    <a:pt x="156" y="224"/>
                  </a:lnTo>
                  <a:lnTo>
                    <a:pt x="156" y="224"/>
                  </a:lnTo>
                  <a:lnTo>
                    <a:pt x="156" y="224"/>
                  </a:lnTo>
                  <a:lnTo>
                    <a:pt x="156" y="224"/>
                  </a:lnTo>
                  <a:lnTo>
                    <a:pt x="158" y="224"/>
                  </a:lnTo>
                  <a:lnTo>
                    <a:pt x="160" y="226"/>
                  </a:lnTo>
                  <a:lnTo>
                    <a:pt x="160" y="226"/>
                  </a:lnTo>
                  <a:lnTo>
                    <a:pt x="162" y="226"/>
                  </a:lnTo>
                  <a:lnTo>
                    <a:pt x="164" y="224"/>
                  </a:lnTo>
                  <a:lnTo>
                    <a:pt x="164" y="224"/>
                  </a:lnTo>
                  <a:lnTo>
                    <a:pt x="164" y="224"/>
                  </a:lnTo>
                  <a:lnTo>
                    <a:pt x="166" y="226"/>
                  </a:lnTo>
                  <a:lnTo>
                    <a:pt x="168" y="226"/>
                  </a:lnTo>
                  <a:lnTo>
                    <a:pt x="168" y="226"/>
                  </a:lnTo>
                  <a:lnTo>
                    <a:pt x="170" y="226"/>
                  </a:lnTo>
                  <a:lnTo>
                    <a:pt x="172" y="226"/>
                  </a:lnTo>
                  <a:lnTo>
                    <a:pt x="172" y="226"/>
                  </a:lnTo>
                  <a:lnTo>
                    <a:pt x="174" y="228"/>
                  </a:lnTo>
                  <a:lnTo>
                    <a:pt x="176" y="228"/>
                  </a:lnTo>
                  <a:lnTo>
                    <a:pt x="176" y="228"/>
                  </a:lnTo>
                  <a:lnTo>
                    <a:pt x="176" y="228"/>
                  </a:lnTo>
                  <a:lnTo>
                    <a:pt x="178" y="226"/>
                  </a:lnTo>
                  <a:lnTo>
                    <a:pt x="178" y="226"/>
                  </a:lnTo>
                  <a:lnTo>
                    <a:pt x="178" y="228"/>
                  </a:lnTo>
                  <a:lnTo>
                    <a:pt x="180" y="228"/>
                  </a:lnTo>
                  <a:lnTo>
                    <a:pt x="182" y="228"/>
                  </a:lnTo>
                  <a:lnTo>
                    <a:pt x="182" y="228"/>
                  </a:lnTo>
                  <a:lnTo>
                    <a:pt x="184" y="230"/>
                  </a:lnTo>
                  <a:lnTo>
                    <a:pt x="184" y="230"/>
                  </a:lnTo>
                  <a:lnTo>
                    <a:pt x="186" y="234"/>
                  </a:lnTo>
                  <a:lnTo>
                    <a:pt x="186" y="234"/>
                  </a:lnTo>
                  <a:lnTo>
                    <a:pt x="186" y="236"/>
                  </a:lnTo>
                  <a:lnTo>
                    <a:pt x="186" y="236"/>
                  </a:lnTo>
                  <a:lnTo>
                    <a:pt x="186" y="236"/>
                  </a:lnTo>
                  <a:lnTo>
                    <a:pt x="184" y="238"/>
                  </a:lnTo>
                  <a:lnTo>
                    <a:pt x="184" y="240"/>
                  </a:lnTo>
                  <a:lnTo>
                    <a:pt x="184" y="240"/>
                  </a:lnTo>
                  <a:lnTo>
                    <a:pt x="184" y="240"/>
                  </a:lnTo>
                  <a:lnTo>
                    <a:pt x="184" y="242"/>
                  </a:lnTo>
                  <a:lnTo>
                    <a:pt x="186" y="242"/>
                  </a:lnTo>
                  <a:lnTo>
                    <a:pt x="186" y="242"/>
                  </a:lnTo>
                  <a:lnTo>
                    <a:pt x="188" y="242"/>
                  </a:lnTo>
                  <a:lnTo>
                    <a:pt x="188" y="244"/>
                  </a:lnTo>
                  <a:lnTo>
                    <a:pt x="190" y="244"/>
                  </a:lnTo>
                  <a:lnTo>
                    <a:pt x="190" y="244"/>
                  </a:lnTo>
                  <a:lnTo>
                    <a:pt x="192" y="244"/>
                  </a:lnTo>
                  <a:lnTo>
                    <a:pt x="194" y="242"/>
                  </a:lnTo>
                  <a:lnTo>
                    <a:pt x="194" y="242"/>
                  </a:lnTo>
                  <a:lnTo>
                    <a:pt x="194" y="242"/>
                  </a:lnTo>
                  <a:lnTo>
                    <a:pt x="194" y="242"/>
                  </a:lnTo>
                  <a:lnTo>
                    <a:pt x="196" y="244"/>
                  </a:lnTo>
                  <a:lnTo>
                    <a:pt x="196" y="244"/>
                  </a:lnTo>
                  <a:lnTo>
                    <a:pt x="196" y="244"/>
                  </a:lnTo>
                  <a:lnTo>
                    <a:pt x="196" y="244"/>
                  </a:lnTo>
                  <a:lnTo>
                    <a:pt x="199" y="244"/>
                  </a:lnTo>
                  <a:lnTo>
                    <a:pt x="203" y="244"/>
                  </a:lnTo>
                  <a:lnTo>
                    <a:pt x="203" y="244"/>
                  </a:lnTo>
                  <a:lnTo>
                    <a:pt x="203" y="246"/>
                  </a:lnTo>
                  <a:lnTo>
                    <a:pt x="203" y="246"/>
                  </a:lnTo>
                  <a:lnTo>
                    <a:pt x="205" y="246"/>
                  </a:lnTo>
                  <a:lnTo>
                    <a:pt x="205" y="246"/>
                  </a:lnTo>
                  <a:lnTo>
                    <a:pt x="205" y="248"/>
                  </a:lnTo>
                  <a:lnTo>
                    <a:pt x="207" y="248"/>
                  </a:lnTo>
                  <a:lnTo>
                    <a:pt x="209" y="248"/>
                  </a:lnTo>
                  <a:lnTo>
                    <a:pt x="209" y="250"/>
                  </a:lnTo>
                  <a:lnTo>
                    <a:pt x="211" y="250"/>
                  </a:lnTo>
                  <a:lnTo>
                    <a:pt x="211" y="252"/>
                  </a:lnTo>
                  <a:lnTo>
                    <a:pt x="211" y="252"/>
                  </a:lnTo>
                  <a:lnTo>
                    <a:pt x="211" y="252"/>
                  </a:lnTo>
                  <a:lnTo>
                    <a:pt x="211" y="252"/>
                  </a:lnTo>
                  <a:lnTo>
                    <a:pt x="211" y="252"/>
                  </a:lnTo>
                  <a:lnTo>
                    <a:pt x="211" y="254"/>
                  </a:lnTo>
                  <a:lnTo>
                    <a:pt x="211" y="254"/>
                  </a:lnTo>
                  <a:lnTo>
                    <a:pt x="211" y="254"/>
                  </a:lnTo>
                  <a:lnTo>
                    <a:pt x="211" y="256"/>
                  </a:lnTo>
                  <a:lnTo>
                    <a:pt x="213" y="259"/>
                  </a:lnTo>
                  <a:lnTo>
                    <a:pt x="213" y="259"/>
                  </a:lnTo>
                  <a:lnTo>
                    <a:pt x="213" y="261"/>
                  </a:lnTo>
                  <a:lnTo>
                    <a:pt x="213" y="261"/>
                  </a:lnTo>
                  <a:lnTo>
                    <a:pt x="213" y="263"/>
                  </a:lnTo>
                  <a:lnTo>
                    <a:pt x="213" y="263"/>
                  </a:lnTo>
                  <a:lnTo>
                    <a:pt x="213" y="263"/>
                  </a:lnTo>
                  <a:lnTo>
                    <a:pt x="213" y="263"/>
                  </a:lnTo>
                  <a:lnTo>
                    <a:pt x="211" y="263"/>
                  </a:lnTo>
                  <a:lnTo>
                    <a:pt x="211" y="265"/>
                  </a:lnTo>
                  <a:lnTo>
                    <a:pt x="211" y="265"/>
                  </a:lnTo>
                  <a:lnTo>
                    <a:pt x="213" y="267"/>
                  </a:lnTo>
                  <a:lnTo>
                    <a:pt x="213" y="271"/>
                  </a:lnTo>
                  <a:lnTo>
                    <a:pt x="213" y="271"/>
                  </a:lnTo>
                  <a:lnTo>
                    <a:pt x="213" y="271"/>
                  </a:lnTo>
                  <a:lnTo>
                    <a:pt x="213" y="271"/>
                  </a:lnTo>
                  <a:lnTo>
                    <a:pt x="213" y="273"/>
                  </a:lnTo>
                  <a:lnTo>
                    <a:pt x="213" y="273"/>
                  </a:lnTo>
                  <a:lnTo>
                    <a:pt x="213" y="275"/>
                  </a:lnTo>
                  <a:lnTo>
                    <a:pt x="211" y="275"/>
                  </a:lnTo>
                  <a:lnTo>
                    <a:pt x="209" y="277"/>
                  </a:lnTo>
                  <a:lnTo>
                    <a:pt x="209" y="277"/>
                  </a:lnTo>
                  <a:lnTo>
                    <a:pt x="209" y="277"/>
                  </a:lnTo>
                  <a:lnTo>
                    <a:pt x="209" y="279"/>
                  </a:lnTo>
                  <a:lnTo>
                    <a:pt x="209" y="279"/>
                  </a:lnTo>
                  <a:lnTo>
                    <a:pt x="209" y="281"/>
                  </a:lnTo>
                  <a:lnTo>
                    <a:pt x="209" y="281"/>
                  </a:lnTo>
                  <a:lnTo>
                    <a:pt x="209" y="283"/>
                  </a:lnTo>
                  <a:lnTo>
                    <a:pt x="209" y="285"/>
                  </a:lnTo>
                  <a:lnTo>
                    <a:pt x="209" y="285"/>
                  </a:lnTo>
                  <a:lnTo>
                    <a:pt x="209" y="285"/>
                  </a:lnTo>
                  <a:lnTo>
                    <a:pt x="211" y="287"/>
                  </a:lnTo>
                  <a:lnTo>
                    <a:pt x="211" y="287"/>
                  </a:lnTo>
                  <a:lnTo>
                    <a:pt x="213" y="285"/>
                  </a:lnTo>
                  <a:lnTo>
                    <a:pt x="213" y="285"/>
                  </a:lnTo>
                  <a:lnTo>
                    <a:pt x="213" y="285"/>
                  </a:lnTo>
                  <a:lnTo>
                    <a:pt x="213" y="285"/>
                  </a:lnTo>
                  <a:lnTo>
                    <a:pt x="215" y="285"/>
                  </a:lnTo>
                  <a:lnTo>
                    <a:pt x="217" y="285"/>
                  </a:lnTo>
                  <a:lnTo>
                    <a:pt x="217" y="285"/>
                  </a:lnTo>
                  <a:lnTo>
                    <a:pt x="217" y="285"/>
                  </a:lnTo>
                  <a:lnTo>
                    <a:pt x="223" y="281"/>
                  </a:lnTo>
                  <a:lnTo>
                    <a:pt x="223" y="281"/>
                  </a:lnTo>
                  <a:lnTo>
                    <a:pt x="223" y="281"/>
                  </a:lnTo>
                  <a:lnTo>
                    <a:pt x="225" y="281"/>
                  </a:lnTo>
                  <a:lnTo>
                    <a:pt x="225" y="283"/>
                  </a:lnTo>
                  <a:lnTo>
                    <a:pt x="225" y="283"/>
                  </a:lnTo>
                  <a:lnTo>
                    <a:pt x="227" y="283"/>
                  </a:lnTo>
                  <a:lnTo>
                    <a:pt x="227" y="285"/>
                  </a:lnTo>
                  <a:lnTo>
                    <a:pt x="227" y="285"/>
                  </a:lnTo>
                  <a:lnTo>
                    <a:pt x="227" y="285"/>
                  </a:lnTo>
                  <a:lnTo>
                    <a:pt x="225" y="287"/>
                  </a:lnTo>
                  <a:lnTo>
                    <a:pt x="225" y="287"/>
                  </a:lnTo>
                  <a:lnTo>
                    <a:pt x="223" y="293"/>
                  </a:lnTo>
                  <a:lnTo>
                    <a:pt x="223" y="297"/>
                  </a:lnTo>
                  <a:lnTo>
                    <a:pt x="221" y="297"/>
                  </a:lnTo>
                  <a:lnTo>
                    <a:pt x="221" y="302"/>
                  </a:lnTo>
                  <a:lnTo>
                    <a:pt x="223" y="302"/>
                  </a:lnTo>
                  <a:lnTo>
                    <a:pt x="223" y="304"/>
                  </a:lnTo>
                  <a:lnTo>
                    <a:pt x="225" y="304"/>
                  </a:lnTo>
                  <a:lnTo>
                    <a:pt x="225" y="306"/>
                  </a:lnTo>
                  <a:lnTo>
                    <a:pt x="227" y="308"/>
                  </a:lnTo>
                  <a:lnTo>
                    <a:pt x="227" y="308"/>
                  </a:lnTo>
                  <a:lnTo>
                    <a:pt x="227" y="308"/>
                  </a:lnTo>
                  <a:lnTo>
                    <a:pt x="229" y="310"/>
                  </a:lnTo>
                  <a:lnTo>
                    <a:pt x="233" y="310"/>
                  </a:lnTo>
                  <a:lnTo>
                    <a:pt x="233" y="310"/>
                  </a:lnTo>
                  <a:lnTo>
                    <a:pt x="233" y="306"/>
                  </a:lnTo>
                  <a:lnTo>
                    <a:pt x="233" y="304"/>
                  </a:lnTo>
                  <a:lnTo>
                    <a:pt x="235" y="302"/>
                  </a:lnTo>
                  <a:lnTo>
                    <a:pt x="250" y="275"/>
                  </a:lnTo>
                  <a:lnTo>
                    <a:pt x="250" y="273"/>
                  </a:lnTo>
                  <a:lnTo>
                    <a:pt x="250" y="271"/>
                  </a:lnTo>
                  <a:lnTo>
                    <a:pt x="250" y="271"/>
                  </a:lnTo>
                  <a:lnTo>
                    <a:pt x="252" y="269"/>
                  </a:lnTo>
                  <a:lnTo>
                    <a:pt x="252" y="267"/>
                  </a:lnTo>
                  <a:lnTo>
                    <a:pt x="254" y="263"/>
                  </a:lnTo>
                  <a:lnTo>
                    <a:pt x="254" y="261"/>
                  </a:lnTo>
                  <a:lnTo>
                    <a:pt x="256" y="256"/>
                  </a:lnTo>
                  <a:lnTo>
                    <a:pt x="258" y="254"/>
                  </a:lnTo>
                  <a:lnTo>
                    <a:pt x="260" y="248"/>
                  </a:lnTo>
                  <a:lnTo>
                    <a:pt x="262" y="246"/>
                  </a:lnTo>
                  <a:lnTo>
                    <a:pt x="264" y="244"/>
                  </a:lnTo>
                  <a:lnTo>
                    <a:pt x="266" y="244"/>
                  </a:lnTo>
                  <a:lnTo>
                    <a:pt x="266" y="240"/>
                  </a:lnTo>
                  <a:lnTo>
                    <a:pt x="266" y="240"/>
                  </a:lnTo>
                  <a:lnTo>
                    <a:pt x="266" y="236"/>
                  </a:lnTo>
                  <a:lnTo>
                    <a:pt x="268" y="232"/>
                  </a:lnTo>
                  <a:lnTo>
                    <a:pt x="268" y="230"/>
                  </a:lnTo>
                  <a:lnTo>
                    <a:pt x="270" y="228"/>
                  </a:lnTo>
                  <a:lnTo>
                    <a:pt x="270" y="228"/>
                  </a:lnTo>
                  <a:lnTo>
                    <a:pt x="270" y="222"/>
                  </a:lnTo>
                  <a:lnTo>
                    <a:pt x="272" y="220"/>
                  </a:lnTo>
                  <a:lnTo>
                    <a:pt x="272" y="220"/>
                  </a:lnTo>
                  <a:lnTo>
                    <a:pt x="274" y="222"/>
                  </a:lnTo>
                  <a:lnTo>
                    <a:pt x="274" y="222"/>
                  </a:lnTo>
                  <a:lnTo>
                    <a:pt x="274" y="224"/>
                  </a:lnTo>
                  <a:lnTo>
                    <a:pt x="272" y="226"/>
                  </a:lnTo>
                  <a:lnTo>
                    <a:pt x="272" y="228"/>
                  </a:lnTo>
                  <a:lnTo>
                    <a:pt x="272" y="228"/>
                  </a:lnTo>
                  <a:lnTo>
                    <a:pt x="272" y="230"/>
                  </a:lnTo>
                  <a:lnTo>
                    <a:pt x="272" y="232"/>
                  </a:lnTo>
                  <a:lnTo>
                    <a:pt x="272" y="234"/>
                  </a:lnTo>
                  <a:lnTo>
                    <a:pt x="274" y="234"/>
                  </a:lnTo>
                  <a:lnTo>
                    <a:pt x="274" y="236"/>
                  </a:lnTo>
                  <a:lnTo>
                    <a:pt x="274" y="240"/>
                  </a:lnTo>
                  <a:lnTo>
                    <a:pt x="274" y="242"/>
                  </a:lnTo>
                  <a:lnTo>
                    <a:pt x="276" y="244"/>
                  </a:lnTo>
                  <a:lnTo>
                    <a:pt x="276" y="244"/>
                  </a:lnTo>
                  <a:lnTo>
                    <a:pt x="276" y="242"/>
                  </a:lnTo>
                  <a:lnTo>
                    <a:pt x="276" y="242"/>
                  </a:lnTo>
                  <a:lnTo>
                    <a:pt x="280" y="240"/>
                  </a:lnTo>
                  <a:lnTo>
                    <a:pt x="283" y="240"/>
                  </a:lnTo>
                  <a:lnTo>
                    <a:pt x="283" y="240"/>
                  </a:lnTo>
                  <a:lnTo>
                    <a:pt x="285" y="238"/>
                  </a:lnTo>
                  <a:lnTo>
                    <a:pt x="285" y="238"/>
                  </a:lnTo>
                  <a:lnTo>
                    <a:pt x="285" y="236"/>
                  </a:lnTo>
                  <a:lnTo>
                    <a:pt x="287" y="232"/>
                  </a:lnTo>
                  <a:lnTo>
                    <a:pt x="287" y="232"/>
                  </a:lnTo>
                  <a:lnTo>
                    <a:pt x="287" y="230"/>
                  </a:lnTo>
                  <a:lnTo>
                    <a:pt x="289" y="230"/>
                  </a:lnTo>
                  <a:lnTo>
                    <a:pt x="289" y="228"/>
                  </a:lnTo>
                  <a:lnTo>
                    <a:pt x="289" y="228"/>
                  </a:lnTo>
                  <a:lnTo>
                    <a:pt x="289" y="226"/>
                  </a:lnTo>
                  <a:lnTo>
                    <a:pt x="289" y="224"/>
                  </a:lnTo>
                  <a:lnTo>
                    <a:pt x="291" y="224"/>
                  </a:lnTo>
                  <a:lnTo>
                    <a:pt x="291" y="224"/>
                  </a:lnTo>
                  <a:lnTo>
                    <a:pt x="295" y="226"/>
                  </a:lnTo>
                  <a:lnTo>
                    <a:pt x="297" y="226"/>
                  </a:lnTo>
                  <a:lnTo>
                    <a:pt x="299" y="224"/>
                  </a:lnTo>
                  <a:lnTo>
                    <a:pt x="299" y="224"/>
                  </a:lnTo>
                  <a:lnTo>
                    <a:pt x="301" y="222"/>
                  </a:lnTo>
                  <a:lnTo>
                    <a:pt x="301" y="220"/>
                  </a:lnTo>
                  <a:lnTo>
                    <a:pt x="303" y="220"/>
                  </a:lnTo>
                  <a:lnTo>
                    <a:pt x="305" y="220"/>
                  </a:lnTo>
                  <a:lnTo>
                    <a:pt x="305" y="220"/>
                  </a:lnTo>
                  <a:lnTo>
                    <a:pt x="307" y="220"/>
                  </a:lnTo>
                  <a:lnTo>
                    <a:pt x="307" y="222"/>
                  </a:lnTo>
                  <a:lnTo>
                    <a:pt x="305" y="228"/>
                  </a:lnTo>
                  <a:lnTo>
                    <a:pt x="305" y="230"/>
                  </a:lnTo>
                  <a:lnTo>
                    <a:pt x="307" y="230"/>
                  </a:lnTo>
                  <a:lnTo>
                    <a:pt x="307" y="230"/>
                  </a:lnTo>
                  <a:lnTo>
                    <a:pt x="307" y="230"/>
                  </a:lnTo>
                  <a:lnTo>
                    <a:pt x="307" y="232"/>
                  </a:lnTo>
                  <a:lnTo>
                    <a:pt x="305" y="232"/>
                  </a:lnTo>
                  <a:lnTo>
                    <a:pt x="305" y="230"/>
                  </a:lnTo>
                  <a:lnTo>
                    <a:pt x="303" y="230"/>
                  </a:lnTo>
                  <a:lnTo>
                    <a:pt x="303" y="230"/>
                  </a:lnTo>
                  <a:lnTo>
                    <a:pt x="301" y="232"/>
                  </a:lnTo>
                  <a:lnTo>
                    <a:pt x="301" y="232"/>
                  </a:lnTo>
                  <a:lnTo>
                    <a:pt x="301" y="232"/>
                  </a:lnTo>
                  <a:lnTo>
                    <a:pt x="301" y="232"/>
                  </a:lnTo>
                  <a:lnTo>
                    <a:pt x="301" y="234"/>
                  </a:lnTo>
                  <a:lnTo>
                    <a:pt x="301" y="234"/>
                  </a:lnTo>
                  <a:lnTo>
                    <a:pt x="301" y="234"/>
                  </a:lnTo>
                  <a:lnTo>
                    <a:pt x="301" y="234"/>
                  </a:lnTo>
                  <a:lnTo>
                    <a:pt x="299" y="234"/>
                  </a:lnTo>
                  <a:lnTo>
                    <a:pt x="299" y="236"/>
                  </a:lnTo>
                  <a:lnTo>
                    <a:pt x="299" y="238"/>
                  </a:lnTo>
                  <a:lnTo>
                    <a:pt x="299" y="240"/>
                  </a:lnTo>
                  <a:lnTo>
                    <a:pt x="297" y="242"/>
                  </a:lnTo>
                  <a:lnTo>
                    <a:pt x="297" y="242"/>
                  </a:lnTo>
                  <a:lnTo>
                    <a:pt x="297" y="244"/>
                  </a:lnTo>
                  <a:lnTo>
                    <a:pt x="299" y="246"/>
                  </a:lnTo>
                  <a:lnTo>
                    <a:pt x="301" y="248"/>
                  </a:lnTo>
                  <a:lnTo>
                    <a:pt x="303" y="248"/>
                  </a:lnTo>
                  <a:lnTo>
                    <a:pt x="303" y="248"/>
                  </a:lnTo>
                  <a:lnTo>
                    <a:pt x="305" y="248"/>
                  </a:lnTo>
                  <a:lnTo>
                    <a:pt x="305" y="248"/>
                  </a:lnTo>
                  <a:lnTo>
                    <a:pt x="305" y="248"/>
                  </a:lnTo>
                  <a:lnTo>
                    <a:pt x="305" y="246"/>
                  </a:lnTo>
                  <a:lnTo>
                    <a:pt x="303" y="246"/>
                  </a:lnTo>
                  <a:lnTo>
                    <a:pt x="303" y="246"/>
                  </a:lnTo>
                  <a:lnTo>
                    <a:pt x="303" y="244"/>
                  </a:lnTo>
                  <a:lnTo>
                    <a:pt x="303" y="244"/>
                  </a:lnTo>
                  <a:lnTo>
                    <a:pt x="303" y="242"/>
                  </a:lnTo>
                  <a:lnTo>
                    <a:pt x="303" y="242"/>
                  </a:lnTo>
                  <a:lnTo>
                    <a:pt x="305" y="242"/>
                  </a:lnTo>
                  <a:lnTo>
                    <a:pt x="305" y="242"/>
                  </a:lnTo>
                  <a:lnTo>
                    <a:pt x="305" y="238"/>
                  </a:lnTo>
                  <a:lnTo>
                    <a:pt x="307" y="238"/>
                  </a:lnTo>
                  <a:lnTo>
                    <a:pt x="309" y="236"/>
                  </a:lnTo>
                  <a:lnTo>
                    <a:pt x="309" y="236"/>
                  </a:lnTo>
                  <a:lnTo>
                    <a:pt x="309" y="234"/>
                  </a:lnTo>
                  <a:lnTo>
                    <a:pt x="309" y="234"/>
                  </a:lnTo>
                  <a:lnTo>
                    <a:pt x="309" y="232"/>
                  </a:lnTo>
                  <a:lnTo>
                    <a:pt x="311" y="232"/>
                  </a:lnTo>
                  <a:lnTo>
                    <a:pt x="313" y="232"/>
                  </a:lnTo>
                  <a:lnTo>
                    <a:pt x="315" y="230"/>
                  </a:lnTo>
                  <a:lnTo>
                    <a:pt x="315" y="230"/>
                  </a:lnTo>
                  <a:lnTo>
                    <a:pt x="317" y="228"/>
                  </a:lnTo>
                  <a:lnTo>
                    <a:pt x="317" y="228"/>
                  </a:lnTo>
                  <a:lnTo>
                    <a:pt x="317" y="228"/>
                  </a:lnTo>
                  <a:lnTo>
                    <a:pt x="321" y="226"/>
                  </a:lnTo>
                  <a:lnTo>
                    <a:pt x="321" y="226"/>
                  </a:lnTo>
                  <a:lnTo>
                    <a:pt x="321" y="224"/>
                  </a:lnTo>
                  <a:lnTo>
                    <a:pt x="321" y="224"/>
                  </a:lnTo>
                  <a:lnTo>
                    <a:pt x="323" y="218"/>
                  </a:lnTo>
                  <a:lnTo>
                    <a:pt x="326" y="213"/>
                  </a:lnTo>
                  <a:lnTo>
                    <a:pt x="328" y="209"/>
                  </a:lnTo>
                  <a:lnTo>
                    <a:pt x="342" y="205"/>
                  </a:lnTo>
                  <a:lnTo>
                    <a:pt x="344" y="205"/>
                  </a:lnTo>
                  <a:close/>
                  <a:moveTo>
                    <a:pt x="287" y="156"/>
                  </a:moveTo>
                  <a:lnTo>
                    <a:pt x="287" y="156"/>
                  </a:lnTo>
                  <a:lnTo>
                    <a:pt x="289" y="156"/>
                  </a:lnTo>
                  <a:lnTo>
                    <a:pt x="289" y="158"/>
                  </a:lnTo>
                  <a:lnTo>
                    <a:pt x="289" y="158"/>
                  </a:lnTo>
                  <a:lnTo>
                    <a:pt x="289" y="160"/>
                  </a:lnTo>
                  <a:lnTo>
                    <a:pt x="289" y="160"/>
                  </a:lnTo>
                  <a:lnTo>
                    <a:pt x="291" y="160"/>
                  </a:lnTo>
                  <a:lnTo>
                    <a:pt x="291" y="160"/>
                  </a:lnTo>
                  <a:lnTo>
                    <a:pt x="291" y="160"/>
                  </a:lnTo>
                  <a:lnTo>
                    <a:pt x="291" y="158"/>
                  </a:lnTo>
                  <a:lnTo>
                    <a:pt x="291" y="158"/>
                  </a:lnTo>
                  <a:lnTo>
                    <a:pt x="291" y="160"/>
                  </a:lnTo>
                  <a:lnTo>
                    <a:pt x="293" y="160"/>
                  </a:lnTo>
                  <a:lnTo>
                    <a:pt x="293" y="160"/>
                  </a:lnTo>
                  <a:lnTo>
                    <a:pt x="293" y="160"/>
                  </a:lnTo>
                  <a:lnTo>
                    <a:pt x="295" y="160"/>
                  </a:lnTo>
                  <a:lnTo>
                    <a:pt x="295" y="158"/>
                  </a:lnTo>
                  <a:lnTo>
                    <a:pt x="295" y="158"/>
                  </a:lnTo>
                  <a:lnTo>
                    <a:pt x="293" y="156"/>
                  </a:lnTo>
                  <a:lnTo>
                    <a:pt x="293" y="158"/>
                  </a:lnTo>
                  <a:lnTo>
                    <a:pt x="291" y="158"/>
                  </a:lnTo>
                  <a:lnTo>
                    <a:pt x="291" y="156"/>
                  </a:lnTo>
                  <a:lnTo>
                    <a:pt x="291" y="156"/>
                  </a:lnTo>
                  <a:lnTo>
                    <a:pt x="293" y="154"/>
                  </a:lnTo>
                  <a:lnTo>
                    <a:pt x="291" y="152"/>
                  </a:lnTo>
                  <a:lnTo>
                    <a:pt x="291" y="150"/>
                  </a:lnTo>
                  <a:lnTo>
                    <a:pt x="291" y="150"/>
                  </a:lnTo>
                  <a:lnTo>
                    <a:pt x="289" y="150"/>
                  </a:lnTo>
                  <a:lnTo>
                    <a:pt x="287" y="150"/>
                  </a:lnTo>
                  <a:lnTo>
                    <a:pt x="287" y="152"/>
                  </a:lnTo>
                  <a:lnTo>
                    <a:pt x="287" y="154"/>
                  </a:lnTo>
                  <a:lnTo>
                    <a:pt x="287" y="156"/>
                  </a:lnTo>
                  <a:close/>
                  <a:moveTo>
                    <a:pt x="133" y="99"/>
                  </a:moveTo>
                  <a:lnTo>
                    <a:pt x="131" y="101"/>
                  </a:lnTo>
                  <a:lnTo>
                    <a:pt x="131" y="103"/>
                  </a:lnTo>
                  <a:lnTo>
                    <a:pt x="131" y="107"/>
                  </a:lnTo>
                  <a:lnTo>
                    <a:pt x="133" y="109"/>
                  </a:lnTo>
                  <a:lnTo>
                    <a:pt x="139" y="109"/>
                  </a:lnTo>
                  <a:lnTo>
                    <a:pt x="141" y="109"/>
                  </a:lnTo>
                  <a:lnTo>
                    <a:pt x="143" y="111"/>
                  </a:lnTo>
                  <a:lnTo>
                    <a:pt x="143" y="111"/>
                  </a:lnTo>
                  <a:lnTo>
                    <a:pt x="145" y="109"/>
                  </a:lnTo>
                  <a:lnTo>
                    <a:pt x="147" y="109"/>
                  </a:lnTo>
                  <a:lnTo>
                    <a:pt x="147" y="107"/>
                  </a:lnTo>
                  <a:lnTo>
                    <a:pt x="145" y="105"/>
                  </a:lnTo>
                  <a:lnTo>
                    <a:pt x="143" y="107"/>
                  </a:lnTo>
                  <a:lnTo>
                    <a:pt x="145" y="105"/>
                  </a:lnTo>
                  <a:lnTo>
                    <a:pt x="145" y="103"/>
                  </a:lnTo>
                  <a:lnTo>
                    <a:pt x="147" y="101"/>
                  </a:lnTo>
                  <a:lnTo>
                    <a:pt x="147" y="101"/>
                  </a:lnTo>
                  <a:lnTo>
                    <a:pt x="147" y="103"/>
                  </a:lnTo>
                  <a:lnTo>
                    <a:pt x="147" y="107"/>
                  </a:lnTo>
                  <a:lnTo>
                    <a:pt x="147" y="107"/>
                  </a:lnTo>
                  <a:lnTo>
                    <a:pt x="147" y="109"/>
                  </a:lnTo>
                  <a:lnTo>
                    <a:pt x="147" y="111"/>
                  </a:lnTo>
                  <a:lnTo>
                    <a:pt x="145" y="113"/>
                  </a:lnTo>
                  <a:lnTo>
                    <a:pt x="143" y="113"/>
                  </a:lnTo>
                  <a:lnTo>
                    <a:pt x="143" y="115"/>
                  </a:lnTo>
                  <a:lnTo>
                    <a:pt x="143" y="115"/>
                  </a:lnTo>
                  <a:lnTo>
                    <a:pt x="149" y="121"/>
                  </a:lnTo>
                  <a:lnTo>
                    <a:pt x="149" y="121"/>
                  </a:lnTo>
                  <a:lnTo>
                    <a:pt x="151" y="119"/>
                  </a:lnTo>
                  <a:lnTo>
                    <a:pt x="151" y="117"/>
                  </a:lnTo>
                  <a:lnTo>
                    <a:pt x="153" y="111"/>
                  </a:lnTo>
                  <a:lnTo>
                    <a:pt x="153" y="111"/>
                  </a:lnTo>
                  <a:lnTo>
                    <a:pt x="158" y="109"/>
                  </a:lnTo>
                  <a:lnTo>
                    <a:pt x="158" y="107"/>
                  </a:lnTo>
                  <a:lnTo>
                    <a:pt x="158" y="105"/>
                  </a:lnTo>
                  <a:lnTo>
                    <a:pt x="158" y="105"/>
                  </a:lnTo>
                  <a:lnTo>
                    <a:pt x="160" y="105"/>
                  </a:lnTo>
                  <a:lnTo>
                    <a:pt x="162" y="105"/>
                  </a:lnTo>
                  <a:lnTo>
                    <a:pt x="162" y="103"/>
                  </a:lnTo>
                  <a:lnTo>
                    <a:pt x="160" y="103"/>
                  </a:lnTo>
                  <a:lnTo>
                    <a:pt x="160" y="101"/>
                  </a:lnTo>
                  <a:lnTo>
                    <a:pt x="162" y="99"/>
                  </a:lnTo>
                  <a:lnTo>
                    <a:pt x="162" y="97"/>
                  </a:lnTo>
                  <a:lnTo>
                    <a:pt x="164" y="97"/>
                  </a:lnTo>
                  <a:lnTo>
                    <a:pt x="164" y="97"/>
                  </a:lnTo>
                  <a:lnTo>
                    <a:pt x="166" y="97"/>
                  </a:lnTo>
                  <a:lnTo>
                    <a:pt x="166" y="95"/>
                  </a:lnTo>
                  <a:lnTo>
                    <a:pt x="168" y="93"/>
                  </a:lnTo>
                  <a:lnTo>
                    <a:pt x="170" y="90"/>
                  </a:lnTo>
                  <a:lnTo>
                    <a:pt x="172" y="90"/>
                  </a:lnTo>
                  <a:lnTo>
                    <a:pt x="172" y="90"/>
                  </a:lnTo>
                  <a:lnTo>
                    <a:pt x="172" y="86"/>
                  </a:lnTo>
                  <a:lnTo>
                    <a:pt x="174" y="86"/>
                  </a:lnTo>
                  <a:lnTo>
                    <a:pt x="176" y="86"/>
                  </a:lnTo>
                  <a:lnTo>
                    <a:pt x="176" y="84"/>
                  </a:lnTo>
                  <a:lnTo>
                    <a:pt x="180" y="80"/>
                  </a:lnTo>
                  <a:lnTo>
                    <a:pt x="180" y="80"/>
                  </a:lnTo>
                  <a:lnTo>
                    <a:pt x="176" y="78"/>
                  </a:lnTo>
                  <a:lnTo>
                    <a:pt x="174" y="78"/>
                  </a:lnTo>
                  <a:lnTo>
                    <a:pt x="176" y="78"/>
                  </a:lnTo>
                  <a:lnTo>
                    <a:pt x="176" y="76"/>
                  </a:lnTo>
                  <a:lnTo>
                    <a:pt x="180" y="76"/>
                  </a:lnTo>
                  <a:lnTo>
                    <a:pt x="184" y="74"/>
                  </a:lnTo>
                  <a:lnTo>
                    <a:pt x="186" y="74"/>
                  </a:lnTo>
                  <a:lnTo>
                    <a:pt x="188" y="74"/>
                  </a:lnTo>
                  <a:lnTo>
                    <a:pt x="190" y="76"/>
                  </a:lnTo>
                  <a:lnTo>
                    <a:pt x="192" y="76"/>
                  </a:lnTo>
                  <a:lnTo>
                    <a:pt x="194" y="74"/>
                  </a:lnTo>
                  <a:lnTo>
                    <a:pt x="196" y="72"/>
                  </a:lnTo>
                  <a:lnTo>
                    <a:pt x="199" y="72"/>
                  </a:lnTo>
                  <a:lnTo>
                    <a:pt x="199" y="72"/>
                  </a:lnTo>
                  <a:lnTo>
                    <a:pt x="196" y="72"/>
                  </a:lnTo>
                  <a:lnTo>
                    <a:pt x="194" y="68"/>
                  </a:lnTo>
                  <a:lnTo>
                    <a:pt x="194" y="68"/>
                  </a:lnTo>
                  <a:lnTo>
                    <a:pt x="190" y="66"/>
                  </a:lnTo>
                  <a:lnTo>
                    <a:pt x="188" y="66"/>
                  </a:lnTo>
                  <a:lnTo>
                    <a:pt x="172" y="68"/>
                  </a:lnTo>
                  <a:lnTo>
                    <a:pt x="166" y="70"/>
                  </a:lnTo>
                  <a:lnTo>
                    <a:pt x="160" y="72"/>
                  </a:lnTo>
                  <a:lnTo>
                    <a:pt x="160" y="74"/>
                  </a:lnTo>
                  <a:lnTo>
                    <a:pt x="158" y="76"/>
                  </a:lnTo>
                  <a:lnTo>
                    <a:pt x="158" y="76"/>
                  </a:lnTo>
                  <a:lnTo>
                    <a:pt x="156" y="76"/>
                  </a:lnTo>
                  <a:lnTo>
                    <a:pt x="156" y="76"/>
                  </a:lnTo>
                  <a:lnTo>
                    <a:pt x="153" y="76"/>
                  </a:lnTo>
                  <a:lnTo>
                    <a:pt x="153" y="76"/>
                  </a:lnTo>
                  <a:lnTo>
                    <a:pt x="151" y="78"/>
                  </a:lnTo>
                  <a:lnTo>
                    <a:pt x="145" y="80"/>
                  </a:lnTo>
                  <a:lnTo>
                    <a:pt x="143" y="82"/>
                  </a:lnTo>
                  <a:lnTo>
                    <a:pt x="137" y="93"/>
                  </a:lnTo>
                  <a:lnTo>
                    <a:pt x="137" y="95"/>
                  </a:lnTo>
                  <a:lnTo>
                    <a:pt x="133" y="97"/>
                  </a:lnTo>
                  <a:lnTo>
                    <a:pt x="133" y="99"/>
                  </a:lnTo>
                  <a:close/>
                  <a:moveTo>
                    <a:pt x="80" y="35"/>
                  </a:moveTo>
                  <a:lnTo>
                    <a:pt x="84" y="33"/>
                  </a:lnTo>
                  <a:lnTo>
                    <a:pt x="84" y="33"/>
                  </a:lnTo>
                  <a:lnTo>
                    <a:pt x="80" y="35"/>
                  </a:lnTo>
                  <a:lnTo>
                    <a:pt x="80" y="35"/>
                  </a:lnTo>
                  <a:lnTo>
                    <a:pt x="80" y="39"/>
                  </a:lnTo>
                  <a:lnTo>
                    <a:pt x="80" y="39"/>
                  </a:lnTo>
                  <a:lnTo>
                    <a:pt x="80" y="39"/>
                  </a:lnTo>
                  <a:lnTo>
                    <a:pt x="80" y="39"/>
                  </a:lnTo>
                  <a:lnTo>
                    <a:pt x="80" y="39"/>
                  </a:lnTo>
                  <a:lnTo>
                    <a:pt x="82" y="41"/>
                  </a:lnTo>
                  <a:lnTo>
                    <a:pt x="84" y="41"/>
                  </a:lnTo>
                  <a:lnTo>
                    <a:pt x="86" y="41"/>
                  </a:lnTo>
                  <a:lnTo>
                    <a:pt x="98" y="33"/>
                  </a:lnTo>
                  <a:lnTo>
                    <a:pt x="102" y="33"/>
                  </a:lnTo>
                  <a:lnTo>
                    <a:pt x="102" y="33"/>
                  </a:lnTo>
                  <a:lnTo>
                    <a:pt x="94" y="33"/>
                  </a:lnTo>
                  <a:lnTo>
                    <a:pt x="96" y="31"/>
                  </a:lnTo>
                  <a:lnTo>
                    <a:pt x="98" y="29"/>
                  </a:lnTo>
                  <a:lnTo>
                    <a:pt x="98" y="29"/>
                  </a:lnTo>
                  <a:lnTo>
                    <a:pt x="117" y="19"/>
                  </a:lnTo>
                  <a:lnTo>
                    <a:pt x="121" y="17"/>
                  </a:lnTo>
                  <a:lnTo>
                    <a:pt x="125" y="15"/>
                  </a:lnTo>
                  <a:lnTo>
                    <a:pt x="125" y="13"/>
                  </a:lnTo>
                  <a:lnTo>
                    <a:pt x="125" y="13"/>
                  </a:lnTo>
                  <a:lnTo>
                    <a:pt x="123" y="11"/>
                  </a:lnTo>
                  <a:lnTo>
                    <a:pt x="123" y="11"/>
                  </a:lnTo>
                  <a:lnTo>
                    <a:pt x="125" y="8"/>
                  </a:lnTo>
                  <a:lnTo>
                    <a:pt x="131" y="4"/>
                  </a:lnTo>
                  <a:lnTo>
                    <a:pt x="133" y="2"/>
                  </a:lnTo>
                  <a:lnTo>
                    <a:pt x="133" y="0"/>
                  </a:lnTo>
                  <a:lnTo>
                    <a:pt x="133" y="0"/>
                  </a:lnTo>
                  <a:lnTo>
                    <a:pt x="133" y="0"/>
                  </a:lnTo>
                  <a:lnTo>
                    <a:pt x="133" y="0"/>
                  </a:lnTo>
                  <a:lnTo>
                    <a:pt x="131" y="2"/>
                  </a:lnTo>
                  <a:lnTo>
                    <a:pt x="129" y="2"/>
                  </a:lnTo>
                  <a:lnTo>
                    <a:pt x="129" y="2"/>
                  </a:lnTo>
                  <a:lnTo>
                    <a:pt x="131" y="0"/>
                  </a:lnTo>
                  <a:lnTo>
                    <a:pt x="131" y="0"/>
                  </a:lnTo>
                  <a:lnTo>
                    <a:pt x="127" y="2"/>
                  </a:lnTo>
                  <a:lnTo>
                    <a:pt x="125" y="4"/>
                  </a:lnTo>
                  <a:lnTo>
                    <a:pt x="123" y="4"/>
                  </a:lnTo>
                  <a:lnTo>
                    <a:pt x="121" y="6"/>
                  </a:lnTo>
                  <a:lnTo>
                    <a:pt x="121" y="4"/>
                  </a:lnTo>
                  <a:lnTo>
                    <a:pt x="115" y="11"/>
                  </a:lnTo>
                  <a:lnTo>
                    <a:pt x="115" y="8"/>
                  </a:lnTo>
                  <a:lnTo>
                    <a:pt x="113" y="11"/>
                  </a:lnTo>
                  <a:lnTo>
                    <a:pt x="108" y="13"/>
                  </a:lnTo>
                  <a:lnTo>
                    <a:pt x="106" y="15"/>
                  </a:lnTo>
                  <a:lnTo>
                    <a:pt x="104" y="17"/>
                  </a:lnTo>
                  <a:lnTo>
                    <a:pt x="102" y="17"/>
                  </a:lnTo>
                  <a:lnTo>
                    <a:pt x="100" y="19"/>
                  </a:lnTo>
                  <a:lnTo>
                    <a:pt x="98" y="19"/>
                  </a:lnTo>
                  <a:lnTo>
                    <a:pt x="98" y="19"/>
                  </a:lnTo>
                  <a:lnTo>
                    <a:pt x="96" y="21"/>
                  </a:lnTo>
                  <a:lnTo>
                    <a:pt x="86" y="27"/>
                  </a:lnTo>
                  <a:lnTo>
                    <a:pt x="78" y="33"/>
                  </a:lnTo>
                  <a:lnTo>
                    <a:pt x="80" y="35"/>
                  </a:lnTo>
                  <a:lnTo>
                    <a:pt x="80" y="35"/>
                  </a:lnTo>
                  <a:close/>
                  <a:moveTo>
                    <a:pt x="352" y="302"/>
                  </a:moveTo>
                  <a:lnTo>
                    <a:pt x="352" y="302"/>
                  </a:lnTo>
                  <a:lnTo>
                    <a:pt x="350" y="302"/>
                  </a:lnTo>
                  <a:lnTo>
                    <a:pt x="350" y="302"/>
                  </a:lnTo>
                  <a:lnTo>
                    <a:pt x="348" y="304"/>
                  </a:lnTo>
                  <a:lnTo>
                    <a:pt x="348" y="306"/>
                  </a:lnTo>
                  <a:lnTo>
                    <a:pt x="348" y="306"/>
                  </a:lnTo>
                  <a:lnTo>
                    <a:pt x="350" y="308"/>
                  </a:lnTo>
                  <a:lnTo>
                    <a:pt x="352" y="306"/>
                  </a:lnTo>
                  <a:lnTo>
                    <a:pt x="352" y="304"/>
                  </a:lnTo>
                  <a:lnTo>
                    <a:pt x="354" y="302"/>
                  </a:lnTo>
                  <a:lnTo>
                    <a:pt x="352" y="302"/>
                  </a:lnTo>
                  <a:lnTo>
                    <a:pt x="352" y="302"/>
                  </a:lnTo>
                  <a:close/>
                  <a:moveTo>
                    <a:pt x="358" y="297"/>
                  </a:moveTo>
                  <a:lnTo>
                    <a:pt x="360" y="297"/>
                  </a:lnTo>
                  <a:lnTo>
                    <a:pt x="360" y="295"/>
                  </a:lnTo>
                  <a:lnTo>
                    <a:pt x="360" y="295"/>
                  </a:lnTo>
                  <a:lnTo>
                    <a:pt x="360" y="293"/>
                  </a:lnTo>
                  <a:lnTo>
                    <a:pt x="360" y="291"/>
                  </a:lnTo>
                  <a:lnTo>
                    <a:pt x="360" y="291"/>
                  </a:lnTo>
                  <a:lnTo>
                    <a:pt x="358" y="289"/>
                  </a:lnTo>
                  <a:lnTo>
                    <a:pt x="358" y="289"/>
                  </a:lnTo>
                  <a:lnTo>
                    <a:pt x="356" y="289"/>
                  </a:lnTo>
                  <a:lnTo>
                    <a:pt x="356" y="289"/>
                  </a:lnTo>
                  <a:lnTo>
                    <a:pt x="354" y="289"/>
                  </a:lnTo>
                  <a:lnTo>
                    <a:pt x="354" y="291"/>
                  </a:lnTo>
                  <a:lnTo>
                    <a:pt x="356" y="297"/>
                  </a:lnTo>
                  <a:lnTo>
                    <a:pt x="358" y="297"/>
                  </a:lnTo>
                  <a:close/>
                  <a:moveTo>
                    <a:pt x="473" y="187"/>
                  </a:moveTo>
                  <a:lnTo>
                    <a:pt x="471" y="185"/>
                  </a:lnTo>
                  <a:lnTo>
                    <a:pt x="469" y="187"/>
                  </a:lnTo>
                  <a:lnTo>
                    <a:pt x="469" y="187"/>
                  </a:lnTo>
                  <a:lnTo>
                    <a:pt x="469" y="187"/>
                  </a:lnTo>
                  <a:lnTo>
                    <a:pt x="469" y="187"/>
                  </a:lnTo>
                  <a:lnTo>
                    <a:pt x="469" y="189"/>
                  </a:lnTo>
                  <a:lnTo>
                    <a:pt x="471" y="189"/>
                  </a:lnTo>
                  <a:lnTo>
                    <a:pt x="471" y="189"/>
                  </a:lnTo>
                  <a:lnTo>
                    <a:pt x="469" y="189"/>
                  </a:lnTo>
                  <a:lnTo>
                    <a:pt x="471" y="189"/>
                  </a:lnTo>
                  <a:lnTo>
                    <a:pt x="473" y="191"/>
                  </a:lnTo>
                  <a:lnTo>
                    <a:pt x="477" y="189"/>
                  </a:lnTo>
                  <a:lnTo>
                    <a:pt x="475" y="189"/>
                  </a:lnTo>
                  <a:lnTo>
                    <a:pt x="475" y="189"/>
                  </a:lnTo>
                  <a:lnTo>
                    <a:pt x="473" y="187"/>
                  </a:lnTo>
                  <a:lnTo>
                    <a:pt x="473" y="189"/>
                  </a:lnTo>
                  <a:lnTo>
                    <a:pt x="473" y="187"/>
                  </a:lnTo>
                  <a:lnTo>
                    <a:pt x="473" y="187"/>
                  </a:lnTo>
                  <a:close/>
                  <a:moveTo>
                    <a:pt x="364" y="256"/>
                  </a:moveTo>
                  <a:lnTo>
                    <a:pt x="364" y="256"/>
                  </a:lnTo>
                  <a:lnTo>
                    <a:pt x="364" y="256"/>
                  </a:lnTo>
                  <a:lnTo>
                    <a:pt x="362" y="256"/>
                  </a:lnTo>
                  <a:lnTo>
                    <a:pt x="366" y="263"/>
                  </a:lnTo>
                  <a:lnTo>
                    <a:pt x="369" y="263"/>
                  </a:lnTo>
                  <a:lnTo>
                    <a:pt x="369" y="261"/>
                  </a:lnTo>
                  <a:lnTo>
                    <a:pt x="369" y="261"/>
                  </a:lnTo>
                  <a:lnTo>
                    <a:pt x="366" y="259"/>
                  </a:lnTo>
                  <a:lnTo>
                    <a:pt x="364" y="256"/>
                  </a:lnTo>
                  <a:close/>
                  <a:moveTo>
                    <a:pt x="674" y="478"/>
                  </a:moveTo>
                  <a:lnTo>
                    <a:pt x="674" y="476"/>
                  </a:lnTo>
                  <a:lnTo>
                    <a:pt x="674" y="472"/>
                  </a:lnTo>
                  <a:lnTo>
                    <a:pt x="674" y="472"/>
                  </a:lnTo>
                  <a:lnTo>
                    <a:pt x="672" y="470"/>
                  </a:lnTo>
                  <a:lnTo>
                    <a:pt x="670" y="465"/>
                  </a:lnTo>
                  <a:lnTo>
                    <a:pt x="668" y="463"/>
                  </a:lnTo>
                  <a:lnTo>
                    <a:pt x="668" y="463"/>
                  </a:lnTo>
                  <a:lnTo>
                    <a:pt x="661" y="445"/>
                  </a:lnTo>
                  <a:lnTo>
                    <a:pt x="655" y="429"/>
                  </a:lnTo>
                  <a:lnTo>
                    <a:pt x="653" y="420"/>
                  </a:lnTo>
                  <a:lnTo>
                    <a:pt x="643" y="392"/>
                  </a:lnTo>
                  <a:lnTo>
                    <a:pt x="639" y="386"/>
                  </a:lnTo>
                  <a:lnTo>
                    <a:pt x="639" y="386"/>
                  </a:lnTo>
                  <a:lnTo>
                    <a:pt x="639" y="384"/>
                  </a:lnTo>
                  <a:lnTo>
                    <a:pt x="637" y="381"/>
                  </a:lnTo>
                  <a:lnTo>
                    <a:pt x="633" y="375"/>
                  </a:lnTo>
                  <a:lnTo>
                    <a:pt x="629" y="373"/>
                  </a:lnTo>
                  <a:lnTo>
                    <a:pt x="627" y="371"/>
                  </a:lnTo>
                  <a:lnTo>
                    <a:pt x="616" y="369"/>
                  </a:lnTo>
                  <a:lnTo>
                    <a:pt x="614" y="369"/>
                  </a:lnTo>
                  <a:lnTo>
                    <a:pt x="612" y="369"/>
                  </a:lnTo>
                  <a:lnTo>
                    <a:pt x="608" y="371"/>
                  </a:lnTo>
                  <a:lnTo>
                    <a:pt x="608" y="371"/>
                  </a:lnTo>
                  <a:lnTo>
                    <a:pt x="606" y="375"/>
                  </a:lnTo>
                  <a:lnTo>
                    <a:pt x="604" y="375"/>
                  </a:lnTo>
                  <a:lnTo>
                    <a:pt x="602" y="377"/>
                  </a:lnTo>
                  <a:lnTo>
                    <a:pt x="600" y="377"/>
                  </a:lnTo>
                  <a:lnTo>
                    <a:pt x="600" y="379"/>
                  </a:lnTo>
                  <a:lnTo>
                    <a:pt x="598" y="379"/>
                  </a:lnTo>
                  <a:lnTo>
                    <a:pt x="592" y="381"/>
                  </a:lnTo>
                  <a:lnTo>
                    <a:pt x="592" y="381"/>
                  </a:lnTo>
                  <a:lnTo>
                    <a:pt x="592" y="381"/>
                  </a:lnTo>
                  <a:lnTo>
                    <a:pt x="590" y="381"/>
                  </a:lnTo>
                  <a:lnTo>
                    <a:pt x="588" y="386"/>
                  </a:lnTo>
                  <a:lnTo>
                    <a:pt x="588" y="388"/>
                  </a:lnTo>
                  <a:lnTo>
                    <a:pt x="588" y="388"/>
                  </a:lnTo>
                  <a:lnTo>
                    <a:pt x="579" y="390"/>
                  </a:lnTo>
                  <a:lnTo>
                    <a:pt x="582" y="390"/>
                  </a:lnTo>
                  <a:lnTo>
                    <a:pt x="584" y="390"/>
                  </a:lnTo>
                  <a:lnTo>
                    <a:pt x="586" y="390"/>
                  </a:lnTo>
                  <a:lnTo>
                    <a:pt x="586" y="392"/>
                  </a:lnTo>
                  <a:lnTo>
                    <a:pt x="584" y="394"/>
                  </a:lnTo>
                  <a:lnTo>
                    <a:pt x="584" y="396"/>
                  </a:lnTo>
                  <a:lnTo>
                    <a:pt x="582" y="398"/>
                  </a:lnTo>
                  <a:lnTo>
                    <a:pt x="582" y="400"/>
                  </a:lnTo>
                  <a:lnTo>
                    <a:pt x="579" y="406"/>
                  </a:lnTo>
                  <a:lnTo>
                    <a:pt x="577" y="412"/>
                  </a:lnTo>
                  <a:lnTo>
                    <a:pt x="577" y="414"/>
                  </a:lnTo>
                  <a:lnTo>
                    <a:pt x="575" y="414"/>
                  </a:lnTo>
                  <a:lnTo>
                    <a:pt x="575" y="412"/>
                  </a:lnTo>
                  <a:lnTo>
                    <a:pt x="575" y="412"/>
                  </a:lnTo>
                  <a:lnTo>
                    <a:pt x="573" y="410"/>
                  </a:lnTo>
                  <a:lnTo>
                    <a:pt x="573" y="412"/>
                  </a:lnTo>
                  <a:lnTo>
                    <a:pt x="569" y="420"/>
                  </a:lnTo>
                  <a:lnTo>
                    <a:pt x="567" y="422"/>
                  </a:lnTo>
                  <a:lnTo>
                    <a:pt x="563" y="427"/>
                  </a:lnTo>
                  <a:lnTo>
                    <a:pt x="561" y="425"/>
                  </a:lnTo>
                  <a:lnTo>
                    <a:pt x="557" y="425"/>
                  </a:lnTo>
                  <a:lnTo>
                    <a:pt x="553" y="422"/>
                  </a:lnTo>
                  <a:lnTo>
                    <a:pt x="551" y="422"/>
                  </a:lnTo>
                  <a:lnTo>
                    <a:pt x="547" y="420"/>
                  </a:lnTo>
                  <a:lnTo>
                    <a:pt x="545" y="420"/>
                  </a:lnTo>
                  <a:lnTo>
                    <a:pt x="543" y="418"/>
                  </a:lnTo>
                  <a:lnTo>
                    <a:pt x="541" y="416"/>
                  </a:lnTo>
                  <a:lnTo>
                    <a:pt x="541" y="414"/>
                  </a:lnTo>
                  <a:lnTo>
                    <a:pt x="541" y="410"/>
                  </a:lnTo>
                  <a:lnTo>
                    <a:pt x="541" y="410"/>
                  </a:lnTo>
                  <a:lnTo>
                    <a:pt x="541" y="406"/>
                  </a:lnTo>
                  <a:lnTo>
                    <a:pt x="541" y="404"/>
                  </a:lnTo>
                  <a:lnTo>
                    <a:pt x="541" y="404"/>
                  </a:lnTo>
                  <a:lnTo>
                    <a:pt x="541" y="402"/>
                  </a:lnTo>
                  <a:lnTo>
                    <a:pt x="541" y="402"/>
                  </a:lnTo>
                  <a:lnTo>
                    <a:pt x="541" y="400"/>
                  </a:lnTo>
                  <a:lnTo>
                    <a:pt x="541" y="392"/>
                  </a:lnTo>
                  <a:lnTo>
                    <a:pt x="543" y="388"/>
                  </a:lnTo>
                  <a:lnTo>
                    <a:pt x="547" y="386"/>
                  </a:lnTo>
                  <a:lnTo>
                    <a:pt x="547" y="386"/>
                  </a:lnTo>
                  <a:lnTo>
                    <a:pt x="549" y="386"/>
                  </a:lnTo>
                  <a:lnTo>
                    <a:pt x="551" y="386"/>
                  </a:lnTo>
                  <a:lnTo>
                    <a:pt x="551" y="386"/>
                  </a:lnTo>
                  <a:lnTo>
                    <a:pt x="553" y="386"/>
                  </a:lnTo>
                  <a:lnTo>
                    <a:pt x="553" y="384"/>
                  </a:lnTo>
                  <a:lnTo>
                    <a:pt x="553" y="384"/>
                  </a:lnTo>
                  <a:lnTo>
                    <a:pt x="555" y="386"/>
                  </a:lnTo>
                  <a:lnTo>
                    <a:pt x="557" y="384"/>
                  </a:lnTo>
                  <a:lnTo>
                    <a:pt x="557" y="384"/>
                  </a:lnTo>
                  <a:lnTo>
                    <a:pt x="557" y="381"/>
                  </a:lnTo>
                  <a:lnTo>
                    <a:pt x="557" y="379"/>
                  </a:lnTo>
                  <a:lnTo>
                    <a:pt x="559" y="379"/>
                  </a:lnTo>
                  <a:lnTo>
                    <a:pt x="563" y="377"/>
                  </a:lnTo>
                  <a:lnTo>
                    <a:pt x="563" y="377"/>
                  </a:lnTo>
                  <a:lnTo>
                    <a:pt x="563" y="375"/>
                  </a:lnTo>
                  <a:lnTo>
                    <a:pt x="563" y="375"/>
                  </a:lnTo>
                  <a:lnTo>
                    <a:pt x="563" y="373"/>
                  </a:lnTo>
                  <a:lnTo>
                    <a:pt x="563" y="373"/>
                  </a:lnTo>
                  <a:lnTo>
                    <a:pt x="565" y="373"/>
                  </a:lnTo>
                  <a:lnTo>
                    <a:pt x="565" y="371"/>
                  </a:lnTo>
                  <a:lnTo>
                    <a:pt x="563" y="363"/>
                  </a:lnTo>
                  <a:lnTo>
                    <a:pt x="563" y="359"/>
                  </a:lnTo>
                  <a:lnTo>
                    <a:pt x="565" y="355"/>
                  </a:lnTo>
                  <a:lnTo>
                    <a:pt x="567" y="353"/>
                  </a:lnTo>
                  <a:lnTo>
                    <a:pt x="569" y="353"/>
                  </a:lnTo>
                  <a:lnTo>
                    <a:pt x="571" y="353"/>
                  </a:lnTo>
                  <a:lnTo>
                    <a:pt x="571" y="353"/>
                  </a:lnTo>
                  <a:lnTo>
                    <a:pt x="571" y="355"/>
                  </a:lnTo>
                  <a:lnTo>
                    <a:pt x="571" y="355"/>
                  </a:lnTo>
                  <a:lnTo>
                    <a:pt x="571" y="355"/>
                  </a:lnTo>
                  <a:lnTo>
                    <a:pt x="573" y="349"/>
                  </a:lnTo>
                  <a:lnTo>
                    <a:pt x="575" y="349"/>
                  </a:lnTo>
                  <a:lnTo>
                    <a:pt x="575" y="347"/>
                  </a:lnTo>
                  <a:lnTo>
                    <a:pt x="577" y="347"/>
                  </a:lnTo>
                  <a:lnTo>
                    <a:pt x="577" y="347"/>
                  </a:lnTo>
                  <a:lnTo>
                    <a:pt x="579" y="345"/>
                  </a:lnTo>
                  <a:lnTo>
                    <a:pt x="579" y="345"/>
                  </a:lnTo>
                  <a:lnTo>
                    <a:pt x="579" y="343"/>
                  </a:lnTo>
                  <a:lnTo>
                    <a:pt x="579" y="338"/>
                  </a:lnTo>
                  <a:lnTo>
                    <a:pt x="577" y="316"/>
                  </a:lnTo>
                  <a:lnTo>
                    <a:pt x="577" y="314"/>
                  </a:lnTo>
                  <a:lnTo>
                    <a:pt x="577" y="310"/>
                  </a:lnTo>
                  <a:lnTo>
                    <a:pt x="577" y="308"/>
                  </a:lnTo>
                  <a:lnTo>
                    <a:pt x="577" y="306"/>
                  </a:lnTo>
                  <a:lnTo>
                    <a:pt x="575" y="302"/>
                  </a:lnTo>
                  <a:lnTo>
                    <a:pt x="575" y="295"/>
                  </a:lnTo>
                  <a:lnTo>
                    <a:pt x="573" y="293"/>
                  </a:lnTo>
                  <a:lnTo>
                    <a:pt x="573" y="291"/>
                  </a:lnTo>
                  <a:lnTo>
                    <a:pt x="571" y="291"/>
                  </a:lnTo>
                  <a:lnTo>
                    <a:pt x="571" y="289"/>
                  </a:lnTo>
                  <a:lnTo>
                    <a:pt x="571" y="289"/>
                  </a:lnTo>
                  <a:lnTo>
                    <a:pt x="571" y="289"/>
                  </a:lnTo>
                  <a:lnTo>
                    <a:pt x="569" y="287"/>
                  </a:lnTo>
                  <a:lnTo>
                    <a:pt x="569" y="287"/>
                  </a:lnTo>
                  <a:lnTo>
                    <a:pt x="567" y="287"/>
                  </a:lnTo>
                  <a:lnTo>
                    <a:pt x="565" y="285"/>
                  </a:lnTo>
                  <a:lnTo>
                    <a:pt x="563" y="285"/>
                  </a:lnTo>
                  <a:lnTo>
                    <a:pt x="563" y="283"/>
                  </a:lnTo>
                  <a:lnTo>
                    <a:pt x="561" y="283"/>
                  </a:lnTo>
                  <a:lnTo>
                    <a:pt x="561" y="281"/>
                  </a:lnTo>
                  <a:lnTo>
                    <a:pt x="561" y="281"/>
                  </a:lnTo>
                  <a:lnTo>
                    <a:pt x="561" y="279"/>
                  </a:lnTo>
                  <a:lnTo>
                    <a:pt x="561" y="279"/>
                  </a:lnTo>
                  <a:lnTo>
                    <a:pt x="559" y="279"/>
                  </a:lnTo>
                  <a:lnTo>
                    <a:pt x="559" y="279"/>
                  </a:lnTo>
                  <a:lnTo>
                    <a:pt x="559" y="277"/>
                  </a:lnTo>
                  <a:lnTo>
                    <a:pt x="559" y="277"/>
                  </a:lnTo>
                  <a:lnTo>
                    <a:pt x="559" y="277"/>
                  </a:lnTo>
                  <a:lnTo>
                    <a:pt x="561" y="277"/>
                  </a:lnTo>
                  <a:lnTo>
                    <a:pt x="559" y="273"/>
                  </a:lnTo>
                  <a:lnTo>
                    <a:pt x="561" y="271"/>
                  </a:lnTo>
                  <a:lnTo>
                    <a:pt x="561" y="271"/>
                  </a:lnTo>
                  <a:lnTo>
                    <a:pt x="565" y="269"/>
                  </a:lnTo>
                  <a:lnTo>
                    <a:pt x="565" y="269"/>
                  </a:lnTo>
                  <a:lnTo>
                    <a:pt x="567" y="271"/>
                  </a:lnTo>
                  <a:lnTo>
                    <a:pt x="569" y="273"/>
                  </a:lnTo>
                  <a:lnTo>
                    <a:pt x="569" y="273"/>
                  </a:lnTo>
                  <a:lnTo>
                    <a:pt x="571" y="273"/>
                  </a:lnTo>
                  <a:lnTo>
                    <a:pt x="573" y="273"/>
                  </a:lnTo>
                  <a:lnTo>
                    <a:pt x="573" y="271"/>
                  </a:lnTo>
                  <a:lnTo>
                    <a:pt x="569" y="269"/>
                  </a:lnTo>
                  <a:lnTo>
                    <a:pt x="569" y="267"/>
                  </a:lnTo>
                  <a:lnTo>
                    <a:pt x="569" y="267"/>
                  </a:lnTo>
                  <a:lnTo>
                    <a:pt x="569" y="267"/>
                  </a:lnTo>
                  <a:lnTo>
                    <a:pt x="569" y="267"/>
                  </a:lnTo>
                  <a:lnTo>
                    <a:pt x="569" y="267"/>
                  </a:lnTo>
                  <a:lnTo>
                    <a:pt x="569" y="265"/>
                  </a:lnTo>
                  <a:lnTo>
                    <a:pt x="569" y="265"/>
                  </a:lnTo>
                  <a:lnTo>
                    <a:pt x="569" y="265"/>
                  </a:lnTo>
                  <a:lnTo>
                    <a:pt x="569" y="265"/>
                  </a:lnTo>
                  <a:lnTo>
                    <a:pt x="569" y="263"/>
                  </a:lnTo>
                  <a:lnTo>
                    <a:pt x="567" y="261"/>
                  </a:lnTo>
                  <a:lnTo>
                    <a:pt x="567" y="261"/>
                  </a:lnTo>
                  <a:lnTo>
                    <a:pt x="567" y="261"/>
                  </a:lnTo>
                  <a:lnTo>
                    <a:pt x="565" y="261"/>
                  </a:lnTo>
                  <a:lnTo>
                    <a:pt x="565" y="259"/>
                  </a:lnTo>
                  <a:lnTo>
                    <a:pt x="563" y="259"/>
                  </a:lnTo>
                  <a:lnTo>
                    <a:pt x="561" y="256"/>
                  </a:lnTo>
                  <a:lnTo>
                    <a:pt x="559" y="252"/>
                  </a:lnTo>
                  <a:lnTo>
                    <a:pt x="559" y="252"/>
                  </a:lnTo>
                  <a:lnTo>
                    <a:pt x="559" y="250"/>
                  </a:lnTo>
                  <a:lnTo>
                    <a:pt x="559" y="250"/>
                  </a:lnTo>
                  <a:lnTo>
                    <a:pt x="561" y="248"/>
                  </a:lnTo>
                  <a:lnTo>
                    <a:pt x="557" y="246"/>
                  </a:lnTo>
                  <a:lnTo>
                    <a:pt x="553" y="244"/>
                  </a:lnTo>
                  <a:lnTo>
                    <a:pt x="549" y="242"/>
                  </a:lnTo>
                  <a:lnTo>
                    <a:pt x="547" y="242"/>
                  </a:lnTo>
                  <a:lnTo>
                    <a:pt x="543" y="242"/>
                  </a:lnTo>
                  <a:lnTo>
                    <a:pt x="543" y="242"/>
                  </a:lnTo>
                  <a:lnTo>
                    <a:pt x="539" y="242"/>
                  </a:lnTo>
                  <a:lnTo>
                    <a:pt x="539" y="242"/>
                  </a:lnTo>
                  <a:lnTo>
                    <a:pt x="536" y="240"/>
                  </a:lnTo>
                  <a:lnTo>
                    <a:pt x="534" y="238"/>
                  </a:lnTo>
                  <a:lnTo>
                    <a:pt x="532" y="238"/>
                  </a:lnTo>
                  <a:lnTo>
                    <a:pt x="532" y="238"/>
                  </a:lnTo>
                  <a:lnTo>
                    <a:pt x="528" y="238"/>
                  </a:lnTo>
                  <a:lnTo>
                    <a:pt x="528" y="238"/>
                  </a:lnTo>
                  <a:lnTo>
                    <a:pt x="526" y="238"/>
                  </a:lnTo>
                  <a:lnTo>
                    <a:pt x="522" y="238"/>
                  </a:lnTo>
                  <a:lnTo>
                    <a:pt x="520" y="236"/>
                  </a:lnTo>
                  <a:lnTo>
                    <a:pt x="518" y="234"/>
                  </a:lnTo>
                  <a:lnTo>
                    <a:pt x="514" y="232"/>
                  </a:lnTo>
                  <a:lnTo>
                    <a:pt x="502" y="234"/>
                  </a:lnTo>
                  <a:lnTo>
                    <a:pt x="500" y="234"/>
                  </a:lnTo>
                  <a:lnTo>
                    <a:pt x="500" y="232"/>
                  </a:lnTo>
                  <a:lnTo>
                    <a:pt x="498" y="230"/>
                  </a:lnTo>
                  <a:lnTo>
                    <a:pt x="498" y="228"/>
                  </a:lnTo>
                  <a:lnTo>
                    <a:pt x="498" y="226"/>
                  </a:lnTo>
                  <a:lnTo>
                    <a:pt x="496" y="226"/>
                  </a:lnTo>
                  <a:lnTo>
                    <a:pt x="493" y="222"/>
                  </a:lnTo>
                  <a:lnTo>
                    <a:pt x="489" y="222"/>
                  </a:lnTo>
                  <a:lnTo>
                    <a:pt x="485" y="220"/>
                  </a:lnTo>
                  <a:lnTo>
                    <a:pt x="483" y="220"/>
                  </a:lnTo>
                  <a:lnTo>
                    <a:pt x="479" y="220"/>
                  </a:lnTo>
                  <a:lnTo>
                    <a:pt x="471" y="220"/>
                  </a:lnTo>
                  <a:lnTo>
                    <a:pt x="469" y="220"/>
                  </a:lnTo>
                  <a:lnTo>
                    <a:pt x="461" y="215"/>
                  </a:lnTo>
                  <a:lnTo>
                    <a:pt x="450" y="211"/>
                  </a:lnTo>
                  <a:lnTo>
                    <a:pt x="448" y="209"/>
                  </a:lnTo>
                  <a:lnTo>
                    <a:pt x="446" y="209"/>
                  </a:lnTo>
                  <a:lnTo>
                    <a:pt x="444" y="211"/>
                  </a:lnTo>
                  <a:lnTo>
                    <a:pt x="444" y="211"/>
                  </a:lnTo>
                  <a:lnTo>
                    <a:pt x="444" y="213"/>
                  </a:lnTo>
                  <a:lnTo>
                    <a:pt x="442" y="213"/>
                  </a:lnTo>
                  <a:lnTo>
                    <a:pt x="442" y="215"/>
                  </a:lnTo>
                  <a:lnTo>
                    <a:pt x="432" y="215"/>
                  </a:lnTo>
                  <a:lnTo>
                    <a:pt x="428" y="215"/>
                  </a:lnTo>
                  <a:lnTo>
                    <a:pt x="428" y="215"/>
                  </a:lnTo>
                  <a:lnTo>
                    <a:pt x="430" y="215"/>
                  </a:lnTo>
                  <a:lnTo>
                    <a:pt x="432" y="220"/>
                  </a:lnTo>
                  <a:lnTo>
                    <a:pt x="432" y="220"/>
                  </a:lnTo>
                  <a:lnTo>
                    <a:pt x="432" y="220"/>
                  </a:lnTo>
                  <a:lnTo>
                    <a:pt x="430" y="226"/>
                  </a:lnTo>
                  <a:lnTo>
                    <a:pt x="426" y="230"/>
                  </a:lnTo>
                  <a:lnTo>
                    <a:pt x="424" y="232"/>
                  </a:lnTo>
                  <a:lnTo>
                    <a:pt x="422" y="234"/>
                  </a:lnTo>
                  <a:lnTo>
                    <a:pt x="422" y="238"/>
                  </a:lnTo>
                  <a:lnTo>
                    <a:pt x="424" y="242"/>
                  </a:lnTo>
                  <a:lnTo>
                    <a:pt x="426" y="246"/>
                  </a:lnTo>
                  <a:lnTo>
                    <a:pt x="426" y="248"/>
                  </a:lnTo>
                  <a:lnTo>
                    <a:pt x="430" y="250"/>
                  </a:lnTo>
                  <a:lnTo>
                    <a:pt x="430" y="250"/>
                  </a:lnTo>
                  <a:lnTo>
                    <a:pt x="438" y="250"/>
                  </a:lnTo>
                  <a:lnTo>
                    <a:pt x="440" y="250"/>
                  </a:lnTo>
                  <a:lnTo>
                    <a:pt x="438" y="254"/>
                  </a:lnTo>
                  <a:lnTo>
                    <a:pt x="434" y="256"/>
                  </a:lnTo>
                  <a:lnTo>
                    <a:pt x="430" y="256"/>
                  </a:lnTo>
                  <a:lnTo>
                    <a:pt x="424" y="256"/>
                  </a:lnTo>
                  <a:lnTo>
                    <a:pt x="420" y="259"/>
                  </a:lnTo>
                  <a:lnTo>
                    <a:pt x="407" y="267"/>
                  </a:lnTo>
                  <a:lnTo>
                    <a:pt x="405" y="269"/>
                  </a:lnTo>
                  <a:lnTo>
                    <a:pt x="405" y="273"/>
                  </a:lnTo>
                  <a:lnTo>
                    <a:pt x="405" y="277"/>
                  </a:lnTo>
                  <a:lnTo>
                    <a:pt x="407" y="289"/>
                  </a:lnTo>
                  <a:lnTo>
                    <a:pt x="407" y="300"/>
                  </a:lnTo>
                  <a:lnTo>
                    <a:pt x="407" y="308"/>
                  </a:lnTo>
                  <a:lnTo>
                    <a:pt x="403" y="316"/>
                  </a:lnTo>
                  <a:lnTo>
                    <a:pt x="399" y="324"/>
                  </a:lnTo>
                  <a:lnTo>
                    <a:pt x="399" y="326"/>
                  </a:lnTo>
                  <a:lnTo>
                    <a:pt x="399" y="326"/>
                  </a:lnTo>
                  <a:lnTo>
                    <a:pt x="397" y="326"/>
                  </a:lnTo>
                  <a:lnTo>
                    <a:pt x="397" y="324"/>
                  </a:lnTo>
                  <a:lnTo>
                    <a:pt x="397" y="324"/>
                  </a:lnTo>
                  <a:lnTo>
                    <a:pt x="397" y="322"/>
                  </a:lnTo>
                  <a:lnTo>
                    <a:pt x="397" y="320"/>
                  </a:lnTo>
                  <a:lnTo>
                    <a:pt x="397" y="318"/>
                  </a:lnTo>
                  <a:lnTo>
                    <a:pt x="397" y="318"/>
                  </a:lnTo>
                  <a:lnTo>
                    <a:pt x="399" y="316"/>
                  </a:lnTo>
                  <a:lnTo>
                    <a:pt x="401" y="314"/>
                  </a:lnTo>
                  <a:lnTo>
                    <a:pt x="401" y="312"/>
                  </a:lnTo>
                  <a:lnTo>
                    <a:pt x="401" y="310"/>
                  </a:lnTo>
                  <a:lnTo>
                    <a:pt x="401" y="306"/>
                  </a:lnTo>
                  <a:lnTo>
                    <a:pt x="401" y="306"/>
                  </a:lnTo>
                  <a:lnTo>
                    <a:pt x="401" y="304"/>
                  </a:lnTo>
                  <a:lnTo>
                    <a:pt x="401" y="304"/>
                  </a:lnTo>
                  <a:lnTo>
                    <a:pt x="401" y="302"/>
                  </a:lnTo>
                  <a:lnTo>
                    <a:pt x="399" y="302"/>
                  </a:lnTo>
                  <a:lnTo>
                    <a:pt x="399" y="302"/>
                  </a:lnTo>
                  <a:lnTo>
                    <a:pt x="397" y="302"/>
                  </a:lnTo>
                  <a:lnTo>
                    <a:pt x="397" y="302"/>
                  </a:lnTo>
                  <a:lnTo>
                    <a:pt x="397" y="304"/>
                  </a:lnTo>
                  <a:lnTo>
                    <a:pt x="397" y="308"/>
                  </a:lnTo>
                  <a:lnTo>
                    <a:pt x="397" y="308"/>
                  </a:lnTo>
                  <a:lnTo>
                    <a:pt x="397" y="310"/>
                  </a:lnTo>
                  <a:lnTo>
                    <a:pt x="395" y="312"/>
                  </a:lnTo>
                  <a:lnTo>
                    <a:pt x="395" y="312"/>
                  </a:lnTo>
                  <a:lnTo>
                    <a:pt x="397" y="312"/>
                  </a:lnTo>
                  <a:lnTo>
                    <a:pt x="397" y="312"/>
                  </a:lnTo>
                  <a:lnTo>
                    <a:pt x="395" y="314"/>
                  </a:lnTo>
                  <a:lnTo>
                    <a:pt x="395" y="316"/>
                  </a:lnTo>
                  <a:lnTo>
                    <a:pt x="395" y="318"/>
                  </a:lnTo>
                  <a:lnTo>
                    <a:pt x="395" y="320"/>
                  </a:lnTo>
                  <a:lnTo>
                    <a:pt x="395" y="322"/>
                  </a:lnTo>
                  <a:lnTo>
                    <a:pt x="395" y="324"/>
                  </a:lnTo>
                  <a:lnTo>
                    <a:pt x="393" y="324"/>
                  </a:lnTo>
                  <a:lnTo>
                    <a:pt x="393" y="324"/>
                  </a:lnTo>
                  <a:lnTo>
                    <a:pt x="391" y="322"/>
                  </a:lnTo>
                  <a:lnTo>
                    <a:pt x="389" y="320"/>
                  </a:lnTo>
                  <a:lnTo>
                    <a:pt x="389" y="318"/>
                  </a:lnTo>
                  <a:lnTo>
                    <a:pt x="389" y="314"/>
                  </a:lnTo>
                  <a:lnTo>
                    <a:pt x="391" y="308"/>
                  </a:lnTo>
                  <a:lnTo>
                    <a:pt x="391" y="306"/>
                  </a:lnTo>
                  <a:lnTo>
                    <a:pt x="391" y="304"/>
                  </a:lnTo>
                  <a:lnTo>
                    <a:pt x="391" y="304"/>
                  </a:lnTo>
                  <a:lnTo>
                    <a:pt x="391" y="304"/>
                  </a:lnTo>
                  <a:lnTo>
                    <a:pt x="389" y="304"/>
                  </a:lnTo>
                  <a:lnTo>
                    <a:pt x="389" y="302"/>
                  </a:lnTo>
                  <a:lnTo>
                    <a:pt x="389" y="300"/>
                  </a:lnTo>
                  <a:lnTo>
                    <a:pt x="391" y="297"/>
                  </a:lnTo>
                  <a:lnTo>
                    <a:pt x="393" y="295"/>
                  </a:lnTo>
                  <a:lnTo>
                    <a:pt x="393" y="295"/>
                  </a:lnTo>
                  <a:lnTo>
                    <a:pt x="391" y="293"/>
                  </a:lnTo>
                  <a:lnTo>
                    <a:pt x="389" y="289"/>
                  </a:lnTo>
                  <a:lnTo>
                    <a:pt x="389" y="287"/>
                  </a:lnTo>
                  <a:lnTo>
                    <a:pt x="391" y="285"/>
                  </a:lnTo>
                  <a:lnTo>
                    <a:pt x="391" y="285"/>
                  </a:lnTo>
                  <a:lnTo>
                    <a:pt x="393" y="285"/>
                  </a:lnTo>
                  <a:lnTo>
                    <a:pt x="393" y="283"/>
                  </a:lnTo>
                  <a:lnTo>
                    <a:pt x="393" y="281"/>
                  </a:lnTo>
                  <a:lnTo>
                    <a:pt x="393" y="279"/>
                  </a:lnTo>
                  <a:lnTo>
                    <a:pt x="391" y="279"/>
                  </a:lnTo>
                  <a:lnTo>
                    <a:pt x="389" y="281"/>
                  </a:lnTo>
                  <a:lnTo>
                    <a:pt x="389" y="281"/>
                  </a:lnTo>
                  <a:lnTo>
                    <a:pt x="387" y="281"/>
                  </a:lnTo>
                  <a:lnTo>
                    <a:pt x="387" y="283"/>
                  </a:lnTo>
                  <a:lnTo>
                    <a:pt x="387" y="283"/>
                  </a:lnTo>
                  <a:lnTo>
                    <a:pt x="383" y="291"/>
                  </a:lnTo>
                  <a:lnTo>
                    <a:pt x="383" y="293"/>
                  </a:lnTo>
                  <a:lnTo>
                    <a:pt x="379" y="295"/>
                  </a:lnTo>
                  <a:lnTo>
                    <a:pt x="379" y="297"/>
                  </a:lnTo>
                  <a:lnTo>
                    <a:pt x="379" y="300"/>
                  </a:lnTo>
                  <a:lnTo>
                    <a:pt x="375" y="308"/>
                  </a:lnTo>
                  <a:lnTo>
                    <a:pt x="375" y="310"/>
                  </a:lnTo>
                  <a:lnTo>
                    <a:pt x="373" y="310"/>
                  </a:lnTo>
                  <a:lnTo>
                    <a:pt x="373" y="310"/>
                  </a:lnTo>
                  <a:lnTo>
                    <a:pt x="369" y="308"/>
                  </a:lnTo>
                  <a:lnTo>
                    <a:pt x="369" y="308"/>
                  </a:lnTo>
                  <a:lnTo>
                    <a:pt x="366" y="308"/>
                  </a:lnTo>
                  <a:lnTo>
                    <a:pt x="366" y="308"/>
                  </a:lnTo>
                  <a:lnTo>
                    <a:pt x="366" y="308"/>
                  </a:lnTo>
                  <a:lnTo>
                    <a:pt x="364" y="308"/>
                  </a:lnTo>
                  <a:lnTo>
                    <a:pt x="364" y="308"/>
                  </a:lnTo>
                  <a:lnTo>
                    <a:pt x="364" y="308"/>
                  </a:lnTo>
                  <a:lnTo>
                    <a:pt x="364" y="310"/>
                  </a:lnTo>
                  <a:lnTo>
                    <a:pt x="362" y="314"/>
                  </a:lnTo>
                  <a:lnTo>
                    <a:pt x="362" y="316"/>
                  </a:lnTo>
                  <a:lnTo>
                    <a:pt x="360" y="316"/>
                  </a:lnTo>
                  <a:lnTo>
                    <a:pt x="360" y="314"/>
                  </a:lnTo>
                  <a:lnTo>
                    <a:pt x="360" y="314"/>
                  </a:lnTo>
                  <a:lnTo>
                    <a:pt x="358" y="314"/>
                  </a:lnTo>
                  <a:lnTo>
                    <a:pt x="356" y="314"/>
                  </a:lnTo>
                  <a:lnTo>
                    <a:pt x="356" y="316"/>
                  </a:lnTo>
                  <a:lnTo>
                    <a:pt x="356" y="316"/>
                  </a:lnTo>
                  <a:lnTo>
                    <a:pt x="356" y="320"/>
                  </a:lnTo>
                  <a:lnTo>
                    <a:pt x="356" y="330"/>
                  </a:lnTo>
                  <a:lnTo>
                    <a:pt x="356" y="330"/>
                  </a:lnTo>
                  <a:lnTo>
                    <a:pt x="356" y="332"/>
                  </a:lnTo>
                  <a:lnTo>
                    <a:pt x="356" y="334"/>
                  </a:lnTo>
                  <a:lnTo>
                    <a:pt x="354" y="334"/>
                  </a:lnTo>
                  <a:lnTo>
                    <a:pt x="354" y="334"/>
                  </a:lnTo>
                  <a:lnTo>
                    <a:pt x="352" y="334"/>
                  </a:lnTo>
                  <a:lnTo>
                    <a:pt x="352" y="334"/>
                  </a:lnTo>
                  <a:lnTo>
                    <a:pt x="350" y="334"/>
                  </a:lnTo>
                  <a:lnTo>
                    <a:pt x="350" y="334"/>
                  </a:lnTo>
                  <a:lnTo>
                    <a:pt x="348" y="334"/>
                  </a:lnTo>
                  <a:lnTo>
                    <a:pt x="346" y="336"/>
                  </a:lnTo>
                  <a:lnTo>
                    <a:pt x="344" y="338"/>
                  </a:lnTo>
                  <a:lnTo>
                    <a:pt x="344" y="340"/>
                  </a:lnTo>
                  <a:lnTo>
                    <a:pt x="344" y="345"/>
                  </a:lnTo>
                  <a:lnTo>
                    <a:pt x="346" y="347"/>
                  </a:lnTo>
                  <a:lnTo>
                    <a:pt x="348" y="349"/>
                  </a:lnTo>
                  <a:lnTo>
                    <a:pt x="348" y="351"/>
                  </a:lnTo>
                  <a:lnTo>
                    <a:pt x="346" y="359"/>
                  </a:lnTo>
                  <a:lnTo>
                    <a:pt x="346" y="359"/>
                  </a:lnTo>
                  <a:lnTo>
                    <a:pt x="346" y="361"/>
                  </a:lnTo>
                  <a:lnTo>
                    <a:pt x="346" y="365"/>
                  </a:lnTo>
                  <a:lnTo>
                    <a:pt x="346" y="365"/>
                  </a:lnTo>
                  <a:lnTo>
                    <a:pt x="348" y="369"/>
                  </a:lnTo>
                  <a:lnTo>
                    <a:pt x="348" y="373"/>
                  </a:lnTo>
                  <a:lnTo>
                    <a:pt x="346" y="377"/>
                  </a:lnTo>
                  <a:lnTo>
                    <a:pt x="344" y="386"/>
                  </a:lnTo>
                  <a:lnTo>
                    <a:pt x="340" y="394"/>
                  </a:lnTo>
                  <a:lnTo>
                    <a:pt x="340" y="398"/>
                  </a:lnTo>
                  <a:lnTo>
                    <a:pt x="334" y="404"/>
                  </a:lnTo>
                  <a:lnTo>
                    <a:pt x="332" y="406"/>
                  </a:lnTo>
                  <a:lnTo>
                    <a:pt x="332" y="410"/>
                  </a:lnTo>
                  <a:lnTo>
                    <a:pt x="334" y="412"/>
                  </a:lnTo>
                  <a:lnTo>
                    <a:pt x="336" y="414"/>
                  </a:lnTo>
                  <a:lnTo>
                    <a:pt x="336" y="416"/>
                  </a:lnTo>
                  <a:lnTo>
                    <a:pt x="338" y="418"/>
                  </a:lnTo>
                  <a:lnTo>
                    <a:pt x="338" y="418"/>
                  </a:lnTo>
                  <a:lnTo>
                    <a:pt x="338" y="422"/>
                  </a:lnTo>
                  <a:lnTo>
                    <a:pt x="338" y="422"/>
                  </a:lnTo>
                  <a:lnTo>
                    <a:pt x="340" y="425"/>
                  </a:lnTo>
                  <a:lnTo>
                    <a:pt x="342" y="433"/>
                  </a:lnTo>
                  <a:lnTo>
                    <a:pt x="342" y="437"/>
                  </a:lnTo>
                  <a:lnTo>
                    <a:pt x="340" y="441"/>
                  </a:lnTo>
                  <a:lnTo>
                    <a:pt x="336" y="447"/>
                  </a:lnTo>
                  <a:lnTo>
                    <a:pt x="336" y="451"/>
                  </a:lnTo>
                  <a:lnTo>
                    <a:pt x="336" y="455"/>
                  </a:lnTo>
                  <a:lnTo>
                    <a:pt x="336" y="457"/>
                  </a:lnTo>
                  <a:lnTo>
                    <a:pt x="338" y="459"/>
                  </a:lnTo>
                  <a:lnTo>
                    <a:pt x="340" y="463"/>
                  </a:lnTo>
                  <a:lnTo>
                    <a:pt x="354" y="492"/>
                  </a:lnTo>
                  <a:lnTo>
                    <a:pt x="356" y="492"/>
                  </a:lnTo>
                  <a:lnTo>
                    <a:pt x="358" y="492"/>
                  </a:lnTo>
                  <a:lnTo>
                    <a:pt x="362" y="488"/>
                  </a:lnTo>
                  <a:lnTo>
                    <a:pt x="362" y="490"/>
                  </a:lnTo>
                  <a:lnTo>
                    <a:pt x="362" y="492"/>
                  </a:lnTo>
                  <a:lnTo>
                    <a:pt x="360" y="494"/>
                  </a:lnTo>
                  <a:lnTo>
                    <a:pt x="358" y="494"/>
                  </a:lnTo>
                  <a:lnTo>
                    <a:pt x="358" y="494"/>
                  </a:lnTo>
                  <a:lnTo>
                    <a:pt x="358" y="496"/>
                  </a:lnTo>
                  <a:lnTo>
                    <a:pt x="364" y="506"/>
                  </a:lnTo>
                  <a:lnTo>
                    <a:pt x="364" y="511"/>
                  </a:lnTo>
                  <a:lnTo>
                    <a:pt x="366" y="513"/>
                  </a:lnTo>
                  <a:lnTo>
                    <a:pt x="369" y="515"/>
                  </a:lnTo>
                  <a:lnTo>
                    <a:pt x="369" y="517"/>
                  </a:lnTo>
                  <a:lnTo>
                    <a:pt x="369" y="517"/>
                  </a:lnTo>
                  <a:lnTo>
                    <a:pt x="369" y="517"/>
                  </a:lnTo>
                  <a:lnTo>
                    <a:pt x="369" y="517"/>
                  </a:lnTo>
                  <a:lnTo>
                    <a:pt x="369" y="517"/>
                  </a:lnTo>
                  <a:lnTo>
                    <a:pt x="369" y="517"/>
                  </a:lnTo>
                  <a:lnTo>
                    <a:pt x="369" y="517"/>
                  </a:lnTo>
                  <a:lnTo>
                    <a:pt x="369" y="517"/>
                  </a:lnTo>
                  <a:lnTo>
                    <a:pt x="369" y="519"/>
                  </a:lnTo>
                  <a:lnTo>
                    <a:pt x="371" y="521"/>
                  </a:lnTo>
                  <a:lnTo>
                    <a:pt x="373" y="547"/>
                  </a:lnTo>
                  <a:lnTo>
                    <a:pt x="373" y="572"/>
                  </a:lnTo>
                  <a:lnTo>
                    <a:pt x="371" y="580"/>
                  </a:lnTo>
                  <a:lnTo>
                    <a:pt x="366" y="597"/>
                  </a:lnTo>
                  <a:lnTo>
                    <a:pt x="358" y="611"/>
                  </a:lnTo>
                  <a:lnTo>
                    <a:pt x="352" y="631"/>
                  </a:lnTo>
                  <a:lnTo>
                    <a:pt x="348" y="640"/>
                  </a:lnTo>
                  <a:lnTo>
                    <a:pt x="344" y="646"/>
                  </a:lnTo>
                  <a:lnTo>
                    <a:pt x="340" y="648"/>
                  </a:lnTo>
                  <a:lnTo>
                    <a:pt x="338" y="650"/>
                  </a:lnTo>
                  <a:lnTo>
                    <a:pt x="338" y="652"/>
                  </a:lnTo>
                  <a:lnTo>
                    <a:pt x="336" y="654"/>
                  </a:lnTo>
                  <a:lnTo>
                    <a:pt x="338" y="654"/>
                  </a:lnTo>
                  <a:lnTo>
                    <a:pt x="344" y="652"/>
                  </a:lnTo>
                  <a:lnTo>
                    <a:pt x="350" y="652"/>
                  </a:lnTo>
                  <a:lnTo>
                    <a:pt x="356" y="650"/>
                  </a:lnTo>
                  <a:lnTo>
                    <a:pt x="362" y="650"/>
                  </a:lnTo>
                  <a:lnTo>
                    <a:pt x="369" y="650"/>
                  </a:lnTo>
                  <a:lnTo>
                    <a:pt x="381" y="648"/>
                  </a:lnTo>
                  <a:lnTo>
                    <a:pt x="387" y="648"/>
                  </a:lnTo>
                  <a:lnTo>
                    <a:pt x="395" y="646"/>
                  </a:lnTo>
                  <a:lnTo>
                    <a:pt x="401" y="646"/>
                  </a:lnTo>
                  <a:lnTo>
                    <a:pt x="407" y="644"/>
                  </a:lnTo>
                  <a:lnTo>
                    <a:pt x="420" y="644"/>
                  </a:lnTo>
                  <a:lnTo>
                    <a:pt x="426" y="642"/>
                  </a:lnTo>
                  <a:lnTo>
                    <a:pt x="432" y="642"/>
                  </a:lnTo>
                  <a:lnTo>
                    <a:pt x="438" y="640"/>
                  </a:lnTo>
                  <a:lnTo>
                    <a:pt x="444" y="640"/>
                  </a:lnTo>
                  <a:lnTo>
                    <a:pt x="450" y="640"/>
                  </a:lnTo>
                  <a:lnTo>
                    <a:pt x="457" y="638"/>
                  </a:lnTo>
                  <a:lnTo>
                    <a:pt x="463" y="638"/>
                  </a:lnTo>
                  <a:lnTo>
                    <a:pt x="471" y="636"/>
                  </a:lnTo>
                  <a:lnTo>
                    <a:pt x="477" y="636"/>
                  </a:lnTo>
                  <a:lnTo>
                    <a:pt x="483" y="636"/>
                  </a:lnTo>
                  <a:lnTo>
                    <a:pt x="489" y="634"/>
                  </a:lnTo>
                  <a:lnTo>
                    <a:pt x="496" y="634"/>
                  </a:lnTo>
                  <a:lnTo>
                    <a:pt x="502" y="631"/>
                  </a:lnTo>
                  <a:lnTo>
                    <a:pt x="502" y="638"/>
                  </a:lnTo>
                  <a:lnTo>
                    <a:pt x="510" y="638"/>
                  </a:lnTo>
                  <a:lnTo>
                    <a:pt x="516" y="636"/>
                  </a:lnTo>
                  <a:lnTo>
                    <a:pt x="522" y="636"/>
                  </a:lnTo>
                  <a:lnTo>
                    <a:pt x="530" y="634"/>
                  </a:lnTo>
                  <a:lnTo>
                    <a:pt x="536" y="631"/>
                  </a:lnTo>
                  <a:lnTo>
                    <a:pt x="543" y="631"/>
                  </a:lnTo>
                  <a:lnTo>
                    <a:pt x="549" y="629"/>
                  </a:lnTo>
                  <a:lnTo>
                    <a:pt x="557" y="629"/>
                  </a:lnTo>
                  <a:lnTo>
                    <a:pt x="563" y="627"/>
                  </a:lnTo>
                  <a:lnTo>
                    <a:pt x="569" y="625"/>
                  </a:lnTo>
                  <a:lnTo>
                    <a:pt x="577" y="625"/>
                  </a:lnTo>
                  <a:lnTo>
                    <a:pt x="584" y="623"/>
                  </a:lnTo>
                  <a:lnTo>
                    <a:pt x="590" y="623"/>
                  </a:lnTo>
                  <a:lnTo>
                    <a:pt x="596" y="621"/>
                  </a:lnTo>
                  <a:lnTo>
                    <a:pt x="604" y="619"/>
                  </a:lnTo>
                  <a:lnTo>
                    <a:pt x="610" y="619"/>
                  </a:lnTo>
                  <a:lnTo>
                    <a:pt x="610" y="617"/>
                  </a:lnTo>
                  <a:lnTo>
                    <a:pt x="610" y="617"/>
                  </a:lnTo>
                  <a:lnTo>
                    <a:pt x="610" y="615"/>
                  </a:lnTo>
                  <a:lnTo>
                    <a:pt x="612" y="615"/>
                  </a:lnTo>
                  <a:lnTo>
                    <a:pt x="612" y="615"/>
                  </a:lnTo>
                  <a:lnTo>
                    <a:pt x="612" y="615"/>
                  </a:lnTo>
                  <a:lnTo>
                    <a:pt x="612" y="613"/>
                  </a:lnTo>
                  <a:lnTo>
                    <a:pt x="612" y="611"/>
                  </a:lnTo>
                  <a:lnTo>
                    <a:pt x="612" y="609"/>
                  </a:lnTo>
                  <a:lnTo>
                    <a:pt x="616" y="603"/>
                  </a:lnTo>
                  <a:lnTo>
                    <a:pt x="616" y="601"/>
                  </a:lnTo>
                  <a:lnTo>
                    <a:pt x="618" y="601"/>
                  </a:lnTo>
                  <a:lnTo>
                    <a:pt x="618" y="599"/>
                  </a:lnTo>
                  <a:lnTo>
                    <a:pt x="620" y="597"/>
                  </a:lnTo>
                  <a:lnTo>
                    <a:pt x="620" y="595"/>
                  </a:lnTo>
                  <a:lnTo>
                    <a:pt x="625" y="595"/>
                  </a:lnTo>
                  <a:lnTo>
                    <a:pt x="625" y="595"/>
                  </a:lnTo>
                  <a:lnTo>
                    <a:pt x="625" y="593"/>
                  </a:lnTo>
                  <a:lnTo>
                    <a:pt x="622" y="591"/>
                  </a:lnTo>
                  <a:lnTo>
                    <a:pt x="622" y="591"/>
                  </a:lnTo>
                  <a:lnTo>
                    <a:pt x="625" y="591"/>
                  </a:lnTo>
                  <a:lnTo>
                    <a:pt x="627" y="588"/>
                  </a:lnTo>
                  <a:lnTo>
                    <a:pt x="627" y="584"/>
                  </a:lnTo>
                  <a:lnTo>
                    <a:pt x="627" y="584"/>
                  </a:lnTo>
                  <a:lnTo>
                    <a:pt x="629" y="584"/>
                  </a:lnTo>
                  <a:lnTo>
                    <a:pt x="629" y="586"/>
                  </a:lnTo>
                  <a:lnTo>
                    <a:pt x="629" y="584"/>
                  </a:lnTo>
                  <a:lnTo>
                    <a:pt x="629" y="584"/>
                  </a:lnTo>
                  <a:lnTo>
                    <a:pt x="629" y="582"/>
                  </a:lnTo>
                  <a:lnTo>
                    <a:pt x="627" y="582"/>
                  </a:lnTo>
                  <a:lnTo>
                    <a:pt x="627" y="582"/>
                  </a:lnTo>
                  <a:lnTo>
                    <a:pt x="627" y="580"/>
                  </a:lnTo>
                  <a:lnTo>
                    <a:pt x="627" y="580"/>
                  </a:lnTo>
                  <a:lnTo>
                    <a:pt x="627" y="578"/>
                  </a:lnTo>
                  <a:lnTo>
                    <a:pt x="627" y="578"/>
                  </a:lnTo>
                  <a:lnTo>
                    <a:pt x="627" y="576"/>
                  </a:lnTo>
                  <a:lnTo>
                    <a:pt x="627" y="576"/>
                  </a:lnTo>
                  <a:lnTo>
                    <a:pt x="627" y="574"/>
                  </a:lnTo>
                  <a:lnTo>
                    <a:pt x="629" y="562"/>
                  </a:lnTo>
                  <a:lnTo>
                    <a:pt x="629" y="560"/>
                  </a:lnTo>
                  <a:lnTo>
                    <a:pt x="633" y="554"/>
                  </a:lnTo>
                  <a:lnTo>
                    <a:pt x="633" y="552"/>
                  </a:lnTo>
                  <a:lnTo>
                    <a:pt x="635" y="550"/>
                  </a:lnTo>
                  <a:lnTo>
                    <a:pt x="639" y="547"/>
                  </a:lnTo>
                  <a:lnTo>
                    <a:pt x="641" y="547"/>
                  </a:lnTo>
                  <a:lnTo>
                    <a:pt x="643" y="545"/>
                  </a:lnTo>
                  <a:lnTo>
                    <a:pt x="643" y="545"/>
                  </a:lnTo>
                  <a:lnTo>
                    <a:pt x="645" y="543"/>
                  </a:lnTo>
                  <a:lnTo>
                    <a:pt x="645" y="541"/>
                  </a:lnTo>
                  <a:lnTo>
                    <a:pt x="647" y="539"/>
                  </a:lnTo>
                  <a:lnTo>
                    <a:pt x="647" y="539"/>
                  </a:lnTo>
                  <a:lnTo>
                    <a:pt x="647" y="537"/>
                  </a:lnTo>
                  <a:lnTo>
                    <a:pt x="647" y="535"/>
                  </a:lnTo>
                  <a:lnTo>
                    <a:pt x="647" y="535"/>
                  </a:lnTo>
                  <a:lnTo>
                    <a:pt x="645" y="533"/>
                  </a:lnTo>
                  <a:lnTo>
                    <a:pt x="645" y="531"/>
                  </a:lnTo>
                  <a:lnTo>
                    <a:pt x="645" y="529"/>
                  </a:lnTo>
                  <a:lnTo>
                    <a:pt x="645" y="527"/>
                  </a:lnTo>
                  <a:lnTo>
                    <a:pt x="645" y="525"/>
                  </a:lnTo>
                  <a:lnTo>
                    <a:pt x="647" y="525"/>
                  </a:lnTo>
                  <a:lnTo>
                    <a:pt x="649" y="523"/>
                  </a:lnTo>
                  <a:lnTo>
                    <a:pt x="651" y="523"/>
                  </a:lnTo>
                  <a:lnTo>
                    <a:pt x="651" y="521"/>
                  </a:lnTo>
                  <a:lnTo>
                    <a:pt x="651" y="521"/>
                  </a:lnTo>
                  <a:lnTo>
                    <a:pt x="651" y="519"/>
                  </a:lnTo>
                  <a:lnTo>
                    <a:pt x="649" y="519"/>
                  </a:lnTo>
                  <a:lnTo>
                    <a:pt x="649" y="517"/>
                  </a:lnTo>
                  <a:lnTo>
                    <a:pt x="647" y="515"/>
                  </a:lnTo>
                  <a:lnTo>
                    <a:pt x="649" y="513"/>
                  </a:lnTo>
                  <a:lnTo>
                    <a:pt x="651" y="513"/>
                  </a:lnTo>
                  <a:lnTo>
                    <a:pt x="653" y="511"/>
                  </a:lnTo>
                  <a:lnTo>
                    <a:pt x="653" y="511"/>
                  </a:lnTo>
                  <a:lnTo>
                    <a:pt x="655" y="509"/>
                  </a:lnTo>
                  <a:lnTo>
                    <a:pt x="657" y="509"/>
                  </a:lnTo>
                  <a:lnTo>
                    <a:pt x="661" y="511"/>
                  </a:lnTo>
                  <a:lnTo>
                    <a:pt x="661" y="509"/>
                  </a:lnTo>
                  <a:lnTo>
                    <a:pt x="661" y="511"/>
                  </a:lnTo>
                  <a:lnTo>
                    <a:pt x="661" y="513"/>
                  </a:lnTo>
                  <a:lnTo>
                    <a:pt x="661" y="515"/>
                  </a:lnTo>
                  <a:lnTo>
                    <a:pt x="661" y="515"/>
                  </a:lnTo>
                  <a:lnTo>
                    <a:pt x="663" y="515"/>
                  </a:lnTo>
                  <a:lnTo>
                    <a:pt x="663" y="517"/>
                  </a:lnTo>
                  <a:lnTo>
                    <a:pt x="663" y="519"/>
                  </a:lnTo>
                  <a:lnTo>
                    <a:pt x="666" y="519"/>
                  </a:lnTo>
                  <a:lnTo>
                    <a:pt x="666" y="519"/>
                  </a:lnTo>
                  <a:lnTo>
                    <a:pt x="663" y="521"/>
                  </a:lnTo>
                  <a:lnTo>
                    <a:pt x="663" y="523"/>
                  </a:lnTo>
                  <a:lnTo>
                    <a:pt x="663" y="523"/>
                  </a:lnTo>
                  <a:lnTo>
                    <a:pt x="666" y="521"/>
                  </a:lnTo>
                  <a:lnTo>
                    <a:pt x="668" y="521"/>
                  </a:lnTo>
                  <a:lnTo>
                    <a:pt x="670" y="519"/>
                  </a:lnTo>
                  <a:lnTo>
                    <a:pt x="672" y="515"/>
                  </a:lnTo>
                  <a:lnTo>
                    <a:pt x="672" y="511"/>
                  </a:lnTo>
                  <a:lnTo>
                    <a:pt x="674" y="504"/>
                  </a:lnTo>
                  <a:lnTo>
                    <a:pt x="674" y="498"/>
                  </a:lnTo>
                  <a:lnTo>
                    <a:pt x="674" y="496"/>
                  </a:lnTo>
                  <a:lnTo>
                    <a:pt x="674" y="496"/>
                  </a:lnTo>
                  <a:lnTo>
                    <a:pt x="674" y="494"/>
                  </a:lnTo>
                  <a:lnTo>
                    <a:pt x="672" y="494"/>
                  </a:lnTo>
                  <a:lnTo>
                    <a:pt x="672" y="492"/>
                  </a:lnTo>
                  <a:lnTo>
                    <a:pt x="672" y="488"/>
                  </a:lnTo>
                  <a:lnTo>
                    <a:pt x="672" y="486"/>
                  </a:lnTo>
                  <a:lnTo>
                    <a:pt x="672" y="482"/>
                  </a:lnTo>
                  <a:lnTo>
                    <a:pt x="674" y="478"/>
                  </a:lnTo>
                  <a:close/>
                  <a:moveTo>
                    <a:pt x="393" y="218"/>
                  </a:moveTo>
                  <a:lnTo>
                    <a:pt x="393" y="218"/>
                  </a:lnTo>
                  <a:lnTo>
                    <a:pt x="393" y="218"/>
                  </a:lnTo>
                  <a:lnTo>
                    <a:pt x="393" y="215"/>
                  </a:lnTo>
                  <a:lnTo>
                    <a:pt x="393" y="215"/>
                  </a:lnTo>
                  <a:lnTo>
                    <a:pt x="391" y="215"/>
                  </a:lnTo>
                  <a:lnTo>
                    <a:pt x="391" y="215"/>
                  </a:lnTo>
                  <a:lnTo>
                    <a:pt x="389" y="215"/>
                  </a:lnTo>
                  <a:lnTo>
                    <a:pt x="389" y="215"/>
                  </a:lnTo>
                  <a:lnTo>
                    <a:pt x="387" y="215"/>
                  </a:lnTo>
                  <a:lnTo>
                    <a:pt x="387" y="215"/>
                  </a:lnTo>
                  <a:lnTo>
                    <a:pt x="387" y="215"/>
                  </a:lnTo>
                  <a:lnTo>
                    <a:pt x="387" y="213"/>
                  </a:lnTo>
                  <a:lnTo>
                    <a:pt x="387" y="215"/>
                  </a:lnTo>
                  <a:lnTo>
                    <a:pt x="389" y="218"/>
                  </a:lnTo>
                  <a:lnTo>
                    <a:pt x="389" y="218"/>
                  </a:lnTo>
                  <a:lnTo>
                    <a:pt x="391" y="220"/>
                  </a:lnTo>
                  <a:lnTo>
                    <a:pt x="391" y="218"/>
                  </a:lnTo>
                  <a:lnTo>
                    <a:pt x="393" y="218"/>
                  </a:lnTo>
                  <a:close/>
                  <a:moveTo>
                    <a:pt x="463" y="205"/>
                  </a:moveTo>
                  <a:lnTo>
                    <a:pt x="461" y="205"/>
                  </a:lnTo>
                  <a:lnTo>
                    <a:pt x="461" y="207"/>
                  </a:lnTo>
                  <a:lnTo>
                    <a:pt x="461" y="207"/>
                  </a:lnTo>
                  <a:lnTo>
                    <a:pt x="465" y="211"/>
                  </a:lnTo>
                  <a:lnTo>
                    <a:pt x="469" y="213"/>
                  </a:lnTo>
                  <a:lnTo>
                    <a:pt x="469" y="213"/>
                  </a:lnTo>
                  <a:lnTo>
                    <a:pt x="471" y="213"/>
                  </a:lnTo>
                  <a:lnTo>
                    <a:pt x="473" y="213"/>
                  </a:lnTo>
                  <a:lnTo>
                    <a:pt x="473" y="213"/>
                  </a:lnTo>
                  <a:lnTo>
                    <a:pt x="475" y="213"/>
                  </a:lnTo>
                  <a:lnTo>
                    <a:pt x="475" y="211"/>
                  </a:lnTo>
                  <a:lnTo>
                    <a:pt x="477" y="209"/>
                  </a:lnTo>
                  <a:lnTo>
                    <a:pt x="477" y="207"/>
                  </a:lnTo>
                  <a:lnTo>
                    <a:pt x="475" y="207"/>
                  </a:lnTo>
                  <a:lnTo>
                    <a:pt x="473" y="207"/>
                  </a:lnTo>
                  <a:lnTo>
                    <a:pt x="473" y="205"/>
                  </a:lnTo>
                  <a:lnTo>
                    <a:pt x="473" y="203"/>
                  </a:lnTo>
                  <a:lnTo>
                    <a:pt x="471" y="205"/>
                  </a:lnTo>
                  <a:lnTo>
                    <a:pt x="471" y="205"/>
                  </a:lnTo>
                  <a:lnTo>
                    <a:pt x="471" y="207"/>
                  </a:lnTo>
                  <a:lnTo>
                    <a:pt x="471" y="207"/>
                  </a:lnTo>
                  <a:lnTo>
                    <a:pt x="469" y="205"/>
                  </a:lnTo>
                  <a:lnTo>
                    <a:pt x="463" y="205"/>
                  </a:lnTo>
                  <a:close/>
                  <a:moveTo>
                    <a:pt x="385" y="226"/>
                  </a:moveTo>
                  <a:lnTo>
                    <a:pt x="385" y="226"/>
                  </a:lnTo>
                  <a:lnTo>
                    <a:pt x="383" y="228"/>
                  </a:lnTo>
                  <a:lnTo>
                    <a:pt x="383" y="230"/>
                  </a:lnTo>
                  <a:lnTo>
                    <a:pt x="383" y="230"/>
                  </a:lnTo>
                  <a:lnTo>
                    <a:pt x="383" y="234"/>
                  </a:lnTo>
                  <a:lnTo>
                    <a:pt x="381" y="236"/>
                  </a:lnTo>
                  <a:lnTo>
                    <a:pt x="381" y="238"/>
                  </a:lnTo>
                  <a:lnTo>
                    <a:pt x="383" y="240"/>
                  </a:lnTo>
                  <a:lnTo>
                    <a:pt x="385" y="240"/>
                  </a:lnTo>
                  <a:lnTo>
                    <a:pt x="389" y="240"/>
                  </a:lnTo>
                  <a:lnTo>
                    <a:pt x="391" y="238"/>
                  </a:lnTo>
                  <a:lnTo>
                    <a:pt x="391" y="236"/>
                  </a:lnTo>
                  <a:lnTo>
                    <a:pt x="391" y="234"/>
                  </a:lnTo>
                  <a:lnTo>
                    <a:pt x="391" y="230"/>
                  </a:lnTo>
                  <a:lnTo>
                    <a:pt x="391" y="230"/>
                  </a:lnTo>
                  <a:lnTo>
                    <a:pt x="391" y="228"/>
                  </a:lnTo>
                  <a:lnTo>
                    <a:pt x="391" y="228"/>
                  </a:lnTo>
                  <a:lnTo>
                    <a:pt x="391" y="226"/>
                  </a:lnTo>
                  <a:lnTo>
                    <a:pt x="389" y="224"/>
                  </a:lnTo>
                  <a:lnTo>
                    <a:pt x="389" y="224"/>
                  </a:lnTo>
                  <a:lnTo>
                    <a:pt x="389" y="224"/>
                  </a:lnTo>
                  <a:lnTo>
                    <a:pt x="389" y="222"/>
                  </a:lnTo>
                  <a:lnTo>
                    <a:pt x="391" y="222"/>
                  </a:lnTo>
                  <a:lnTo>
                    <a:pt x="389" y="222"/>
                  </a:lnTo>
                  <a:lnTo>
                    <a:pt x="387" y="222"/>
                  </a:lnTo>
                  <a:lnTo>
                    <a:pt x="385" y="222"/>
                  </a:lnTo>
                  <a:lnTo>
                    <a:pt x="385" y="224"/>
                  </a:lnTo>
                  <a:lnTo>
                    <a:pt x="385" y="224"/>
                  </a:lnTo>
                  <a:lnTo>
                    <a:pt x="385" y="226"/>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192000" bIns="144000" numCol="1" anchor="b" anchorCtr="0" compatLnSpc="1">
              <a:prstTxWarp prst="textNoShape">
                <a:avLst/>
              </a:prstTxWarp>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MI</a:t>
              </a:r>
            </a:p>
          </p:txBody>
        </p:sp>
        <p:sp>
          <p:nvSpPr>
            <p:cNvPr id="93" name="Freeform 34">
              <a:extLst>
                <a:ext uri="{FF2B5EF4-FFF2-40B4-BE49-F238E27FC236}">
                  <a16:creationId xmlns:a16="http://schemas.microsoft.com/office/drawing/2014/main" id="{10A7B218-5ED1-8C29-CA4D-6AABC4E6D895}"/>
                </a:ext>
              </a:extLst>
            </p:cNvPr>
            <p:cNvSpPr>
              <a:spLocks noEditPoints="1"/>
            </p:cNvSpPr>
            <p:nvPr/>
          </p:nvSpPr>
          <p:spPr bwMode="auto">
            <a:xfrm>
              <a:off x="4981" y="0"/>
              <a:ext cx="328" cy="484"/>
            </a:xfrm>
            <a:custGeom>
              <a:avLst/>
              <a:gdLst>
                <a:gd name="T0" fmla="*/ 211 w 328"/>
                <a:gd name="T1" fmla="*/ 338 h 484"/>
                <a:gd name="T2" fmla="*/ 213 w 328"/>
                <a:gd name="T3" fmla="*/ 322 h 484"/>
                <a:gd name="T4" fmla="*/ 234 w 328"/>
                <a:gd name="T5" fmla="*/ 295 h 484"/>
                <a:gd name="T6" fmla="*/ 240 w 328"/>
                <a:gd name="T7" fmla="*/ 314 h 484"/>
                <a:gd name="T8" fmla="*/ 326 w 328"/>
                <a:gd name="T9" fmla="*/ 223 h 484"/>
                <a:gd name="T10" fmla="*/ 316 w 328"/>
                <a:gd name="T11" fmla="*/ 219 h 484"/>
                <a:gd name="T12" fmla="*/ 312 w 328"/>
                <a:gd name="T13" fmla="*/ 219 h 484"/>
                <a:gd name="T14" fmla="*/ 310 w 328"/>
                <a:gd name="T15" fmla="*/ 203 h 484"/>
                <a:gd name="T16" fmla="*/ 293 w 328"/>
                <a:gd name="T17" fmla="*/ 193 h 484"/>
                <a:gd name="T18" fmla="*/ 269 w 328"/>
                <a:gd name="T19" fmla="*/ 166 h 484"/>
                <a:gd name="T20" fmla="*/ 242 w 328"/>
                <a:gd name="T21" fmla="*/ 156 h 484"/>
                <a:gd name="T22" fmla="*/ 232 w 328"/>
                <a:gd name="T23" fmla="*/ 131 h 484"/>
                <a:gd name="T24" fmla="*/ 183 w 328"/>
                <a:gd name="T25" fmla="*/ 10 h 484"/>
                <a:gd name="T26" fmla="*/ 146 w 328"/>
                <a:gd name="T27" fmla="*/ 10 h 484"/>
                <a:gd name="T28" fmla="*/ 97 w 328"/>
                <a:gd name="T29" fmla="*/ 25 h 484"/>
                <a:gd name="T30" fmla="*/ 43 w 328"/>
                <a:gd name="T31" fmla="*/ 107 h 484"/>
                <a:gd name="T32" fmla="*/ 41 w 328"/>
                <a:gd name="T33" fmla="*/ 164 h 484"/>
                <a:gd name="T34" fmla="*/ 45 w 328"/>
                <a:gd name="T35" fmla="*/ 182 h 484"/>
                <a:gd name="T36" fmla="*/ 35 w 328"/>
                <a:gd name="T37" fmla="*/ 213 h 484"/>
                <a:gd name="T38" fmla="*/ 19 w 328"/>
                <a:gd name="T39" fmla="*/ 246 h 484"/>
                <a:gd name="T40" fmla="*/ 4 w 328"/>
                <a:gd name="T41" fmla="*/ 260 h 484"/>
                <a:gd name="T42" fmla="*/ 25 w 328"/>
                <a:gd name="T43" fmla="*/ 340 h 484"/>
                <a:gd name="T44" fmla="*/ 58 w 328"/>
                <a:gd name="T45" fmla="*/ 437 h 484"/>
                <a:gd name="T46" fmla="*/ 66 w 328"/>
                <a:gd name="T47" fmla="*/ 461 h 484"/>
                <a:gd name="T48" fmla="*/ 88 w 328"/>
                <a:gd name="T49" fmla="*/ 480 h 484"/>
                <a:gd name="T50" fmla="*/ 99 w 328"/>
                <a:gd name="T51" fmla="*/ 451 h 484"/>
                <a:gd name="T52" fmla="*/ 107 w 328"/>
                <a:gd name="T53" fmla="*/ 437 h 484"/>
                <a:gd name="T54" fmla="*/ 117 w 328"/>
                <a:gd name="T55" fmla="*/ 418 h 484"/>
                <a:gd name="T56" fmla="*/ 119 w 328"/>
                <a:gd name="T57" fmla="*/ 394 h 484"/>
                <a:gd name="T58" fmla="*/ 127 w 328"/>
                <a:gd name="T59" fmla="*/ 400 h 484"/>
                <a:gd name="T60" fmla="*/ 133 w 328"/>
                <a:gd name="T61" fmla="*/ 391 h 484"/>
                <a:gd name="T62" fmla="*/ 137 w 328"/>
                <a:gd name="T63" fmla="*/ 387 h 484"/>
                <a:gd name="T64" fmla="*/ 142 w 328"/>
                <a:gd name="T65" fmla="*/ 389 h 484"/>
                <a:gd name="T66" fmla="*/ 135 w 328"/>
                <a:gd name="T67" fmla="*/ 363 h 484"/>
                <a:gd name="T68" fmla="*/ 144 w 328"/>
                <a:gd name="T69" fmla="*/ 387 h 484"/>
                <a:gd name="T70" fmla="*/ 142 w 328"/>
                <a:gd name="T71" fmla="*/ 379 h 484"/>
                <a:gd name="T72" fmla="*/ 150 w 328"/>
                <a:gd name="T73" fmla="*/ 373 h 484"/>
                <a:gd name="T74" fmla="*/ 154 w 328"/>
                <a:gd name="T75" fmla="*/ 375 h 484"/>
                <a:gd name="T76" fmla="*/ 156 w 328"/>
                <a:gd name="T77" fmla="*/ 371 h 484"/>
                <a:gd name="T78" fmla="*/ 162 w 328"/>
                <a:gd name="T79" fmla="*/ 379 h 484"/>
                <a:gd name="T80" fmla="*/ 168 w 328"/>
                <a:gd name="T81" fmla="*/ 357 h 484"/>
                <a:gd name="T82" fmla="*/ 180 w 328"/>
                <a:gd name="T83" fmla="*/ 363 h 484"/>
                <a:gd name="T84" fmla="*/ 191 w 328"/>
                <a:gd name="T85" fmla="*/ 342 h 484"/>
                <a:gd name="T86" fmla="*/ 187 w 328"/>
                <a:gd name="T87" fmla="*/ 310 h 484"/>
                <a:gd name="T88" fmla="*/ 197 w 328"/>
                <a:gd name="T89" fmla="*/ 289 h 484"/>
                <a:gd name="T90" fmla="*/ 203 w 328"/>
                <a:gd name="T91" fmla="*/ 301 h 484"/>
                <a:gd name="T92" fmla="*/ 201 w 328"/>
                <a:gd name="T93" fmla="*/ 312 h 484"/>
                <a:gd name="T94" fmla="*/ 226 w 328"/>
                <a:gd name="T95" fmla="*/ 310 h 484"/>
                <a:gd name="T96" fmla="*/ 226 w 328"/>
                <a:gd name="T97" fmla="*/ 301 h 484"/>
                <a:gd name="T98" fmla="*/ 230 w 328"/>
                <a:gd name="T99" fmla="*/ 297 h 484"/>
                <a:gd name="T100" fmla="*/ 238 w 328"/>
                <a:gd name="T101" fmla="*/ 283 h 484"/>
                <a:gd name="T102" fmla="*/ 246 w 328"/>
                <a:gd name="T103" fmla="*/ 283 h 484"/>
                <a:gd name="T104" fmla="*/ 258 w 328"/>
                <a:gd name="T105" fmla="*/ 295 h 484"/>
                <a:gd name="T106" fmla="*/ 262 w 328"/>
                <a:gd name="T107" fmla="*/ 283 h 484"/>
                <a:gd name="T108" fmla="*/ 267 w 328"/>
                <a:gd name="T109" fmla="*/ 285 h 484"/>
                <a:gd name="T110" fmla="*/ 269 w 328"/>
                <a:gd name="T111" fmla="*/ 273 h 484"/>
                <a:gd name="T112" fmla="*/ 275 w 328"/>
                <a:gd name="T113" fmla="*/ 269 h 484"/>
                <a:gd name="T114" fmla="*/ 285 w 328"/>
                <a:gd name="T115" fmla="*/ 266 h 484"/>
                <a:gd name="T116" fmla="*/ 289 w 328"/>
                <a:gd name="T117" fmla="*/ 254 h 484"/>
                <a:gd name="T118" fmla="*/ 299 w 328"/>
                <a:gd name="T119" fmla="*/ 254 h 484"/>
                <a:gd name="T120" fmla="*/ 303 w 328"/>
                <a:gd name="T121" fmla="*/ 242 h 484"/>
                <a:gd name="T122" fmla="*/ 314 w 328"/>
                <a:gd name="T123" fmla="*/ 24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484">
                  <a:moveTo>
                    <a:pt x="211" y="338"/>
                  </a:moveTo>
                  <a:lnTo>
                    <a:pt x="207" y="338"/>
                  </a:lnTo>
                  <a:lnTo>
                    <a:pt x="205" y="338"/>
                  </a:lnTo>
                  <a:lnTo>
                    <a:pt x="203" y="336"/>
                  </a:lnTo>
                  <a:lnTo>
                    <a:pt x="201" y="336"/>
                  </a:lnTo>
                  <a:lnTo>
                    <a:pt x="201" y="338"/>
                  </a:lnTo>
                  <a:lnTo>
                    <a:pt x="203" y="338"/>
                  </a:lnTo>
                  <a:lnTo>
                    <a:pt x="205" y="340"/>
                  </a:lnTo>
                  <a:lnTo>
                    <a:pt x="205" y="340"/>
                  </a:lnTo>
                  <a:lnTo>
                    <a:pt x="205" y="342"/>
                  </a:lnTo>
                  <a:lnTo>
                    <a:pt x="209" y="344"/>
                  </a:lnTo>
                  <a:lnTo>
                    <a:pt x="211" y="344"/>
                  </a:lnTo>
                  <a:lnTo>
                    <a:pt x="211" y="342"/>
                  </a:lnTo>
                  <a:lnTo>
                    <a:pt x="211" y="342"/>
                  </a:lnTo>
                  <a:lnTo>
                    <a:pt x="211" y="340"/>
                  </a:lnTo>
                  <a:lnTo>
                    <a:pt x="213" y="340"/>
                  </a:lnTo>
                  <a:lnTo>
                    <a:pt x="211" y="338"/>
                  </a:lnTo>
                  <a:lnTo>
                    <a:pt x="211" y="338"/>
                  </a:lnTo>
                  <a:close/>
                  <a:moveTo>
                    <a:pt x="219" y="324"/>
                  </a:moveTo>
                  <a:lnTo>
                    <a:pt x="217" y="324"/>
                  </a:lnTo>
                  <a:lnTo>
                    <a:pt x="217" y="324"/>
                  </a:lnTo>
                  <a:lnTo>
                    <a:pt x="217" y="322"/>
                  </a:lnTo>
                  <a:lnTo>
                    <a:pt x="219" y="322"/>
                  </a:lnTo>
                  <a:lnTo>
                    <a:pt x="221" y="320"/>
                  </a:lnTo>
                  <a:lnTo>
                    <a:pt x="219" y="320"/>
                  </a:lnTo>
                  <a:lnTo>
                    <a:pt x="219" y="318"/>
                  </a:lnTo>
                  <a:lnTo>
                    <a:pt x="219" y="318"/>
                  </a:lnTo>
                  <a:lnTo>
                    <a:pt x="217" y="316"/>
                  </a:lnTo>
                  <a:lnTo>
                    <a:pt x="215" y="316"/>
                  </a:lnTo>
                  <a:lnTo>
                    <a:pt x="213" y="316"/>
                  </a:lnTo>
                  <a:lnTo>
                    <a:pt x="213" y="318"/>
                  </a:lnTo>
                  <a:lnTo>
                    <a:pt x="213" y="318"/>
                  </a:lnTo>
                  <a:lnTo>
                    <a:pt x="213" y="320"/>
                  </a:lnTo>
                  <a:lnTo>
                    <a:pt x="213" y="322"/>
                  </a:lnTo>
                  <a:lnTo>
                    <a:pt x="215" y="322"/>
                  </a:lnTo>
                  <a:lnTo>
                    <a:pt x="213" y="322"/>
                  </a:lnTo>
                  <a:lnTo>
                    <a:pt x="213" y="322"/>
                  </a:lnTo>
                  <a:lnTo>
                    <a:pt x="211" y="322"/>
                  </a:lnTo>
                  <a:lnTo>
                    <a:pt x="213" y="324"/>
                  </a:lnTo>
                  <a:lnTo>
                    <a:pt x="213" y="326"/>
                  </a:lnTo>
                  <a:lnTo>
                    <a:pt x="213" y="326"/>
                  </a:lnTo>
                  <a:lnTo>
                    <a:pt x="213" y="328"/>
                  </a:lnTo>
                  <a:lnTo>
                    <a:pt x="213" y="328"/>
                  </a:lnTo>
                  <a:lnTo>
                    <a:pt x="217" y="328"/>
                  </a:lnTo>
                  <a:lnTo>
                    <a:pt x="219" y="328"/>
                  </a:lnTo>
                  <a:lnTo>
                    <a:pt x="221" y="326"/>
                  </a:lnTo>
                  <a:lnTo>
                    <a:pt x="221" y="324"/>
                  </a:lnTo>
                  <a:lnTo>
                    <a:pt x="219" y="324"/>
                  </a:lnTo>
                  <a:close/>
                  <a:moveTo>
                    <a:pt x="244" y="293"/>
                  </a:moveTo>
                  <a:lnTo>
                    <a:pt x="242" y="291"/>
                  </a:lnTo>
                  <a:lnTo>
                    <a:pt x="240" y="291"/>
                  </a:lnTo>
                  <a:lnTo>
                    <a:pt x="236" y="291"/>
                  </a:lnTo>
                  <a:lnTo>
                    <a:pt x="234" y="293"/>
                  </a:lnTo>
                  <a:lnTo>
                    <a:pt x="234" y="295"/>
                  </a:lnTo>
                  <a:lnTo>
                    <a:pt x="234" y="297"/>
                  </a:lnTo>
                  <a:lnTo>
                    <a:pt x="234" y="297"/>
                  </a:lnTo>
                  <a:lnTo>
                    <a:pt x="234" y="299"/>
                  </a:lnTo>
                  <a:lnTo>
                    <a:pt x="232" y="299"/>
                  </a:lnTo>
                  <a:lnTo>
                    <a:pt x="232" y="299"/>
                  </a:lnTo>
                  <a:lnTo>
                    <a:pt x="232" y="301"/>
                  </a:lnTo>
                  <a:lnTo>
                    <a:pt x="232" y="305"/>
                  </a:lnTo>
                  <a:lnTo>
                    <a:pt x="232" y="307"/>
                  </a:lnTo>
                  <a:lnTo>
                    <a:pt x="232" y="307"/>
                  </a:lnTo>
                  <a:lnTo>
                    <a:pt x="232" y="307"/>
                  </a:lnTo>
                  <a:lnTo>
                    <a:pt x="234" y="307"/>
                  </a:lnTo>
                  <a:lnTo>
                    <a:pt x="234" y="310"/>
                  </a:lnTo>
                  <a:lnTo>
                    <a:pt x="234" y="310"/>
                  </a:lnTo>
                  <a:lnTo>
                    <a:pt x="234" y="310"/>
                  </a:lnTo>
                  <a:lnTo>
                    <a:pt x="234" y="312"/>
                  </a:lnTo>
                  <a:lnTo>
                    <a:pt x="238" y="312"/>
                  </a:lnTo>
                  <a:lnTo>
                    <a:pt x="238" y="314"/>
                  </a:lnTo>
                  <a:lnTo>
                    <a:pt x="240" y="314"/>
                  </a:lnTo>
                  <a:lnTo>
                    <a:pt x="240" y="312"/>
                  </a:lnTo>
                  <a:lnTo>
                    <a:pt x="240" y="312"/>
                  </a:lnTo>
                  <a:lnTo>
                    <a:pt x="242" y="314"/>
                  </a:lnTo>
                  <a:lnTo>
                    <a:pt x="242" y="314"/>
                  </a:lnTo>
                  <a:lnTo>
                    <a:pt x="244" y="312"/>
                  </a:lnTo>
                  <a:lnTo>
                    <a:pt x="244" y="310"/>
                  </a:lnTo>
                  <a:lnTo>
                    <a:pt x="244" y="310"/>
                  </a:lnTo>
                  <a:lnTo>
                    <a:pt x="242" y="307"/>
                  </a:lnTo>
                  <a:lnTo>
                    <a:pt x="240" y="307"/>
                  </a:lnTo>
                  <a:lnTo>
                    <a:pt x="240" y="303"/>
                  </a:lnTo>
                  <a:lnTo>
                    <a:pt x="242" y="303"/>
                  </a:lnTo>
                  <a:lnTo>
                    <a:pt x="244" y="305"/>
                  </a:lnTo>
                  <a:lnTo>
                    <a:pt x="246" y="303"/>
                  </a:lnTo>
                  <a:lnTo>
                    <a:pt x="250" y="301"/>
                  </a:lnTo>
                  <a:lnTo>
                    <a:pt x="250" y="299"/>
                  </a:lnTo>
                  <a:lnTo>
                    <a:pt x="248" y="297"/>
                  </a:lnTo>
                  <a:lnTo>
                    <a:pt x="244" y="293"/>
                  </a:lnTo>
                  <a:close/>
                  <a:moveTo>
                    <a:pt x="326" y="223"/>
                  </a:moveTo>
                  <a:lnTo>
                    <a:pt x="326" y="219"/>
                  </a:lnTo>
                  <a:lnTo>
                    <a:pt x="324" y="219"/>
                  </a:lnTo>
                  <a:lnTo>
                    <a:pt x="324" y="219"/>
                  </a:lnTo>
                  <a:lnTo>
                    <a:pt x="324" y="219"/>
                  </a:lnTo>
                  <a:lnTo>
                    <a:pt x="324" y="219"/>
                  </a:lnTo>
                  <a:lnTo>
                    <a:pt x="324" y="219"/>
                  </a:lnTo>
                  <a:lnTo>
                    <a:pt x="324" y="219"/>
                  </a:lnTo>
                  <a:lnTo>
                    <a:pt x="320" y="217"/>
                  </a:lnTo>
                  <a:lnTo>
                    <a:pt x="320" y="217"/>
                  </a:lnTo>
                  <a:lnTo>
                    <a:pt x="318" y="217"/>
                  </a:lnTo>
                  <a:lnTo>
                    <a:pt x="322" y="221"/>
                  </a:lnTo>
                  <a:lnTo>
                    <a:pt x="322" y="223"/>
                  </a:lnTo>
                  <a:lnTo>
                    <a:pt x="320" y="223"/>
                  </a:lnTo>
                  <a:lnTo>
                    <a:pt x="320" y="221"/>
                  </a:lnTo>
                  <a:lnTo>
                    <a:pt x="318" y="219"/>
                  </a:lnTo>
                  <a:lnTo>
                    <a:pt x="316" y="217"/>
                  </a:lnTo>
                  <a:lnTo>
                    <a:pt x="316" y="219"/>
                  </a:lnTo>
                  <a:lnTo>
                    <a:pt x="316" y="219"/>
                  </a:lnTo>
                  <a:lnTo>
                    <a:pt x="316" y="219"/>
                  </a:lnTo>
                  <a:lnTo>
                    <a:pt x="316" y="221"/>
                  </a:lnTo>
                  <a:lnTo>
                    <a:pt x="316" y="221"/>
                  </a:lnTo>
                  <a:lnTo>
                    <a:pt x="316" y="221"/>
                  </a:lnTo>
                  <a:lnTo>
                    <a:pt x="316" y="223"/>
                  </a:lnTo>
                  <a:lnTo>
                    <a:pt x="314" y="221"/>
                  </a:lnTo>
                  <a:lnTo>
                    <a:pt x="314" y="221"/>
                  </a:lnTo>
                  <a:lnTo>
                    <a:pt x="314" y="223"/>
                  </a:lnTo>
                  <a:lnTo>
                    <a:pt x="314" y="225"/>
                  </a:lnTo>
                  <a:lnTo>
                    <a:pt x="314" y="228"/>
                  </a:lnTo>
                  <a:lnTo>
                    <a:pt x="312" y="221"/>
                  </a:lnTo>
                  <a:lnTo>
                    <a:pt x="310" y="221"/>
                  </a:lnTo>
                  <a:lnTo>
                    <a:pt x="307" y="219"/>
                  </a:lnTo>
                  <a:lnTo>
                    <a:pt x="307" y="219"/>
                  </a:lnTo>
                  <a:lnTo>
                    <a:pt x="307" y="217"/>
                  </a:lnTo>
                  <a:lnTo>
                    <a:pt x="307" y="217"/>
                  </a:lnTo>
                  <a:lnTo>
                    <a:pt x="312" y="219"/>
                  </a:lnTo>
                  <a:lnTo>
                    <a:pt x="312" y="219"/>
                  </a:lnTo>
                  <a:lnTo>
                    <a:pt x="314" y="217"/>
                  </a:lnTo>
                  <a:lnTo>
                    <a:pt x="314" y="217"/>
                  </a:lnTo>
                  <a:lnTo>
                    <a:pt x="314" y="215"/>
                  </a:lnTo>
                  <a:lnTo>
                    <a:pt x="312" y="215"/>
                  </a:lnTo>
                  <a:lnTo>
                    <a:pt x="312" y="213"/>
                  </a:lnTo>
                  <a:lnTo>
                    <a:pt x="314" y="213"/>
                  </a:lnTo>
                  <a:lnTo>
                    <a:pt x="314" y="213"/>
                  </a:lnTo>
                  <a:lnTo>
                    <a:pt x="316" y="215"/>
                  </a:lnTo>
                  <a:lnTo>
                    <a:pt x="318" y="213"/>
                  </a:lnTo>
                  <a:lnTo>
                    <a:pt x="318" y="211"/>
                  </a:lnTo>
                  <a:lnTo>
                    <a:pt x="318" y="209"/>
                  </a:lnTo>
                  <a:lnTo>
                    <a:pt x="318" y="209"/>
                  </a:lnTo>
                  <a:lnTo>
                    <a:pt x="316" y="207"/>
                  </a:lnTo>
                  <a:lnTo>
                    <a:pt x="314" y="205"/>
                  </a:lnTo>
                  <a:lnTo>
                    <a:pt x="314" y="205"/>
                  </a:lnTo>
                  <a:lnTo>
                    <a:pt x="312" y="205"/>
                  </a:lnTo>
                  <a:lnTo>
                    <a:pt x="310" y="203"/>
                  </a:lnTo>
                  <a:lnTo>
                    <a:pt x="310" y="203"/>
                  </a:lnTo>
                  <a:lnTo>
                    <a:pt x="310" y="201"/>
                  </a:lnTo>
                  <a:lnTo>
                    <a:pt x="307" y="199"/>
                  </a:lnTo>
                  <a:lnTo>
                    <a:pt x="307" y="197"/>
                  </a:lnTo>
                  <a:lnTo>
                    <a:pt x="305" y="197"/>
                  </a:lnTo>
                  <a:lnTo>
                    <a:pt x="305" y="197"/>
                  </a:lnTo>
                  <a:lnTo>
                    <a:pt x="305" y="197"/>
                  </a:lnTo>
                  <a:lnTo>
                    <a:pt x="303" y="197"/>
                  </a:lnTo>
                  <a:lnTo>
                    <a:pt x="303" y="195"/>
                  </a:lnTo>
                  <a:lnTo>
                    <a:pt x="303" y="195"/>
                  </a:lnTo>
                  <a:lnTo>
                    <a:pt x="301" y="195"/>
                  </a:lnTo>
                  <a:lnTo>
                    <a:pt x="301" y="193"/>
                  </a:lnTo>
                  <a:lnTo>
                    <a:pt x="301" y="193"/>
                  </a:lnTo>
                  <a:lnTo>
                    <a:pt x="299" y="195"/>
                  </a:lnTo>
                  <a:lnTo>
                    <a:pt x="299" y="195"/>
                  </a:lnTo>
                  <a:lnTo>
                    <a:pt x="299" y="193"/>
                  </a:lnTo>
                  <a:lnTo>
                    <a:pt x="297" y="193"/>
                  </a:lnTo>
                  <a:lnTo>
                    <a:pt x="295" y="193"/>
                  </a:lnTo>
                  <a:lnTo>
                    <a:pt x="293" y="193"/>
                  </a:lnTo>
                  <a:lnTo>
                    <a:pt x="293" y="193"/>
                  </a:lnTo>
                  <a:lnTo>
                    <a:pt x="293" y="193"/>
                  </a:lnTo>
                  <a:lnTo>
                    <a:pt x="293" y="195"/>
                  </a:lnTo>
                  <a:lnTo>
                    <a:pt x="293" y="195"/>
                  </a:lnTo>
                  <a:lnTo>
                    <a:pt x="293" y="197"/>
                  </a:lnTo>
                  <a:lnTo>
                    <a:pt x="291" y="199"/>
                  </a:lnTo>
                  <a:lnTo>
                    <a:pt x="287" y="199"/>
                  </a:lnTo>
                  <a:lnTo>
                    <a:pt x="285" y="197"/>
                  </a:lnTo>
                  <a:lnTo>
                    <a:pt x="281" y="193"/>
                  </a:lnTo>
                  <a:lnTo>
                    <a:pt x="277" y="191"/>
                  </a:lnTo>
                  <a:lnTo>
                    <a:pt x="275" y="189"/>
                  </a:lnTo>
                  <a:lnTo>
                    <a:pt x="275" y="187"/>
                  </a:lnTo>
                  <a:lnTo>
                    <a:pt x="275" y="185"/>
                  </a:lnTo>
                  <a:lnTo>
                    <a:pt x="277" y="182"/>
                  </a:lnTo>
                  <a:lnTo>
                    <a:pt x="275" y="178"/>
                  </a:lnTo>
                  <a:lnTo>
                    <a:pt x="269" y="172"/>
                  </a:lnTo>
                  <a:lnTo>
                    <a:pt x="267" y="168"/>
                  </a:lnTo>
                  <a:lnTo>
                    <a:pt x="269" y="166"/>
                  </a:lnTo>
                  <a:lnTo>
                    <a:pt x="271" y="164"/>
                  </a:lnTo>
                  <a:lnTo>
                    <a:pt x="271" y="164"/>
                  </a:lnTo>
                  <a:lnTo>
                    <a:pt x="271" y="160"/>
                  </a:lnTo>
                  <a:lnTo>
                    <a:pt x="269" y="158"/>
                  </a:lnTo>
                  <a:lnTo>
                    <a:pt x="267" y="156"/>
                  </a:lnTo>
                  <a:lnTo>
                    <a:pt x="264" y="156"/>
                  </a:lnTo>
                  <a:lnTo>
                    <a:pt x="262" y="158"/>
                  </a:lnTo>
                  <a:lnTo>
                    <a:pt x="260" y="158"/>
                  </a:lnTo>
                  <a:lnTo>
                    <a:pt x="254" y="158"/>
                  </a:lnTo>
                  <a:lnTo>
                    <a:pt x="250" y="158"/>
                  </a:lnTo>
                  <a:lnTo>
                    <a:pt x="248" y="158"/>
                  </a:lnTo>
                  <a:lnTo>
                    <a:pt x="246" y="156"/>
                  </a:lnTo>
                  <a:lnTo>
                    <a:pt x="246" y="156"/>
                  </a:lnTo>
                  <a:lnTo>
                    <a:pt x="244" y="154"/>
                  </a:lnTo>
                  <a:lnTo>
                    <a:pt x="244" y="154"/>
                  </a:lnTo>
                  <a:lnTo>
                    <a:pt x="244" y="154"/>
                  </a:lnTo>
                  <a:lnTo>
                    <a:pt x="244" y="156"/>
                  </a:lnTo>
                  <a:lnTo>
                    <a:pt x="242" y="156"/>
                  </a:lnTo>
                  <a:lnTo>
                    <a:pt x="242" y="156"/>
                  </a:lnTo>
                  <a:lnTo>
                    <a:pt x="240" y="156"/>
                  </a:lnTo>
                  <a:lnTo>
                    <a:pt x="238" y="156"/>
                  </a:lnTo>
                  <a:lnTo>
                    <a:pt x="238" y="154"/>
                  </a:lnTo>
                  <a:lnTo>
                    <a:pt x="236" y="150"/>
                  </a:lnTo>
                  <a:lnTo>
                    <a:pt x="236" y="148"/>
                  </a:lnTo>
                  <a:lnTo>
                    <a:pt x="236" y="146"/>
                  </a:lnTo>
                  <a:lnTo>
                    <a:pt x="236" y="144"/>
                  </a:lnTo>
                  <a:lnTo>
                    <a:pt x="236" y="141"/>
                  </a:lnTo>
                  <a:lnTo>
                    <a:pt x="236" y="141"/>
                  </a:lnTo>
                  <a:lnTo>
                    <a:pt x="234" y="139"/>
                  </a:lnTo>
                  <a:lnTo>
                    <a:pt x="234" y="137"/>
                  </a:lnTo>
                  <a:lnTo>
                    <a:pt x="234" y="135"/>
                  </a:lnTo>
                  <a:lnTo>
                    <a:pt x="234" y="133"/>
                  </a:lnTo>
                  <a:lnTo>
                    <a:pt x="234" y="133"/>
                  </a:lnTo>
                  <a:lnTo>
                    <a:pt x="234" y="131"/>
                  </a:lnTo>
                  <a:lnTo>
                    <a:pt x="234" y="131"/>
                  </a:lnTo>
                  <a:lnTo>
                    <a:pt x="232" y="131"/>
                  </a:lnTo>
                  <a:lnTo>
                    <a:pt x="232" y="129"/>
                  </a:lnTo>
                  <a:lnTo>
                    <a:pt x="232" y="129"/>
                  </a:lnTo>
                  <a:lnTo>
                    <a:pt x="228" y="115"/>
                  </a:lnTo>
                  <a:lnTo>
                    <a:pt x="223" y="103"/>
                  </a:lnTo>
                  <a:lnTo>
                    <a:pt x="219" y="88"/>
                  </a:lnTo>
                  <a:lnTo>
                    <a:pt x="215" y="76"/>
                  </a:lnTo>
                  <a:lnTo>
                    <a:pt x="211" y="62"/>
                  </a:lnTo>
                  <a:lnTo>
                    <a:pt x="207" y="49"/>
                  </a:lnTo>
                  <a:lnTo>
                    <a:pt x="203" y="35"/>
                  </a:lnTo>
                  <a:lnTo>
                    <a:pt x="199" y="23"/>
                  </a:lnTo>
                  <a:lnTo>
                    <a:pt x="197" y="19"/>
                  </a:lnTo>
                  <a:lnTo>
                    <a:pt x="197" y="19"/>
                  </a:lnTo>
                  <a:lnTo>
                    <a:pt x="193" y="16"/>
                  </a:lnTo>
                  <a:lnTo>
                    <a:pt x="191" y="16"/>
                  </a:lnTo>
                  <a:lnTo>
                    <a:pt x="189" y="14"/>
                  </a:lnTo>
                  <a:lnTo>
                    <a:pt x="185" y="12"/>
                  </a:lnTo>
                  <a:lnTo>
                    <a:pt x="183" y="12"/>
                  </a:lnTo>
                  <a:lnTo>
                    <a:pt x="183" y="10"/>
                  </a:lnTo>
                  <a:lnTo>
                    <a:pt x="183" y="10"/>
                  </a:lnTo>
                  <a:lnTo>
                    <a:pt x="178" y="8"/>
                  </a:lnTo>
                  <a:lnTo>
                    <a:pt x="174" y="6"/>
                  </a:lnTo>
                  <a:lnTo>
                    <a:pt x="168" y="4"/>
                  </a:lnTo>
                  <a:lnTo>
                    <a:pt x="168" y="4"/>
                  </a:lnTo>
                  <a:lnTo>
                    <a:pt x="164" y="4"/>
                  </a:lnTo>
                  <a:lnTo>
                    <a:pt x="164" y="4"/>
                  </a:lnTo>
                  <a:lnTo>
                    <a:pt x="162" y="2"/>
                  </a:lnTo>
                  <a:lnTo>
                    <a:pt x="160" y="0"/>
                  </a:lnTo>
                  <a:lnTo>
                    <a:pt x="156" y="0"/>
                  </a:lnTo>
                  <a:lnTo>
                    <a:pt x="152" y="0"/>
                  </a:lnTo>
                  <a:lnTo>
                    <a:pt x="148" y="2"/>
                  </a:lnTo>
                  <a:lnTo>
                    <a:pt x="148" y="6"/>
                  </a:lnTo>
                  <a:lnTo>
                    <a:pt x="148" y="8"/>
                  </a:lnTo>
                  <a:lnTo>
                    <a:pt x="148" y="8"/>
                  </a:lnTo>
                  <a:lnTo>
                    <a:pt x="148" y="8"/>
                  </a:lnTo>
                  <a:lnTo>
                    <a:pt x="146" y="10"/>
                  </a:lnTo>
                  <a:lnTo>
                    <a:pt x="146" y="10"/>
                  </a:lnTo>
                  <a:lnTo>
                    <a:pt x="144" y="10"/>
                  </a:lnTo>
                  <a:lnTo>
                    <a:pt x="142" y="10"/>
                  </a:lnTo>
                  <a:lnTo>
                    <a:pt x="140" y="10"/>
                  </a:lnTo>
                  <a:lnTo>
                    <a:pt x="137" y="10"/>
                  </a:lnTo>
                  <a:lnTo>
                    <a:pt x="135" y="12"/>
                  </a:lnTo>
                  <a:lnTo>
                    <a:pt x="133" y="14"/>
                  </a:lnTo>
                  <a:lnTo>
                    <a:pt x="131" y="16"/>
                  </a:lnTo>
                  <a:lnTo>
                    <a:pt x="131" y="19"/>
                  </a:lnTo>
                  <a:lnTo>
                    <a:pt x="129" y="21"/>
                  </a:lnTo>
                  <a:lnTo>
                    <a:pt x="127" y="21"/>
                  </a:lnTo>
                  <a:lnTo>
                    <a:pt x="125" y="21"/>
                  </a:lnTo>
                  <a:lnTo>
                    <a:pt x="121" y="23"/>
                  </a:lnTo>
                  <a:lnTo>
                    <a:pt x="113" y="31"/>
                  </a:lnTo>
                  <a:lnTo>
                    <a:pt x="113" y="31"/>
                  </a:lnTo>
                  <a:lnTo>
                    <a:pt x="101" y="29"/>
                  </a:lnTo>
                  <a:lnTo>
                    <a:pt x="99" y="27"/>
                  </a:lnTo>
                  <a:lnTo>
                    <a:pt x="99" y="25"/>
                  </a:lnTo>
                  <a:lnTo>
                    <a:pt x="97" y="25"/>
                  </a:lnTo>
                  <a:lnTo>
                    <a:pt x="97" y="21"/>
                  </a:lnTo>
                  <a:lnTo>
                    <a:pt x="94" y="14"/>
                  </a:lnTo>
                  <a:lnTo>
                    <a:pt x="94" y="12"/>
                  </a:lnTo>
                  <a:lnTo>
                    <a:pt x="92" y="10"/>
                  </a:lnTo>
                  <a:lnTo>
                    <a:pt x="80" y="10"/>
                  </a:lnTo>
                  <a:lnTo>
                    <a:pt x="80" y="12"/>
                  </a:lnTo>
                  <a:lnTo>
                    <a:pt x="80" y="12"/>
                  </a:lnTo>
                  <a:lnTo>
                    <a:pt x="78" y="14"/>
                  </a:lnTo>
                  <a:lnTo>
                    <a:pt x="74" y="25"/>
                  </a:lnTo>
                  <a:lnTo>
                    <a:pt x="70" y="35"/>
                  </a:lnTo>
                  <a:lnTo>
                    <a:pt x="66" y="47"/>
                  </a:lnTo>
                  <a:lnTo>
                    <a:pt x="62" y="57"/>
                  </a:lnTo>
                  <a:lnTo>
                    <a:pt x="58" y="68"/>
                  </a:lnTo>
                  <a:lnTo>
                    <a:pt x="54" y="78"/>
                  </a:lnTo>
                  <a:lnTo>
                    <a:pt x="49" y="90"/>
                  </a:lnTo>
                  <a:lnTo>
                    <a:pt x="45" y="100"/>
                  </a:lnTo>
                  <a:lnTo>
                    <a:pt x="43" y="103"/>
                  </a:lnTo>
                  <a:lnTo>
                    <a:pt x="43" y="107"/>
                  </a:lnTo>
                  <a:lnTo>
                    <a:pt x="45" y="113"/>
                  </a:lnTo>
                  <a:lnTo>
                    <a:pt x="45" y="123"/>
                  </a:lnTo>
                  <a:lnTo>
                    <a:pt x="47" y="129"/>
                  </a:lnTo>
                  <a:lnTo>
                    <a:pt x="47" y="133"/>
                  </a:lnTo>
                  <a:lnTo>
                    <a:pt x="43" y="139"/>
                  </a:lnTo>
                  <a:lnTo>
                    <a:pt x="41" y="139"/>
                  </a:lnTo>
                  <a:lnTo>
                    <a:pt x="39" y="141"/>
                  </a:lnTo>
                  <a:lnTo>
                    <a:pt x="39" y="144"/>
                  </a:lnTo>
                  <a:lnTo>
                    <a:pt x="41" y="146"/>
                  </a:lnTo>
                  <a:lnTo>
                    <a:pt x="41" y="146"/>
                  </a:lnTo>
                  <a:lnTo>
                    <a:pt x="39" y="148"/>
                  </a:lnTo>
                  <a:lnTo>
                    <a:pt x="39" y="150"/>
                  </a:lnTo>
                  <a:lnTo>
                    <a:pt x="37" y="154"/>
                  </a:lnTo>
                  <a:lnTo>
                    <a:pt x="37" y="158"/>
                  </a:lnTo>
                  <a:lnTo>
                    <a:pt x="37" y="160"/>
                  </a:lnTo>
                  <a:lnTo>
                    <a:pt x="39" y="160"/>
                  </a:lnTo>
                  <a:lnTo>
                    <a:pt x="41" y="162"/>
                  </a:lnTo>
                  <a:lnTo>
                    <a:pt x="41" y="164"/>
                  </a:lnTo>
                  <a:lnTo>
                    <a:pt x="41" y="166"/>
                  </a:lnTo>
                  <a:lnTo>
                    <a:pt x="41" y="168"/>
                  </a:lnTo>
                  <a:lnTo>
                    <a:pt x="39" y="170"/>
                  </a:lnTo>
                  <a:lnTo>
                    <a:pt x="39" y="172"/>
                  </a:lnTo>
                  <a:lnTo>
                    <a:pt x="39" y="172"/>
                  </a:lnTo>
                  <a:lnTo>
                    <a:pt x="39" y="172"/>
                  </a:lnTo>
                  <a:lnTo>
                    <a:pt x="39" y="172"/>
                  </a:lnTo>
                  <a:lnTo>
                    <a:pt x="39" y="172"/>
                  </a:lnTo>
                  <a:lnTo>
                    <a:pt x="41" y="174"/>
                  </a:lnTo>
                  <a:lnTo>
                    <a:pt x="41" y="174"/>
                  </a:lnTo>
                  <a:lnTo>
                    <a:pt x="41" y="174"/>
                  </a:lnTo>
                  <a:lnTo>
                    <a:pt x="39" y="174"/>
                  </a:lnTo>
                  <a:lnTo>
                    <a:pt x="39" y="176"/>
                  </a:lnTo>
                  <a:lnTo>
                    <a:pt x="41" y="180"/>
                  </a:lnTo>
                  <a:lnTo>
                    <a:pt x="41" y="180"/>
                  </a:lnTo>
                  <a:lnTo>
                    <a:pt x="41" y="182"/>
                  </a:lnTo>
                  <a:lnTo>
                    <a:pt x="43" y="182"/>
                  </a:lnTo>
                  <a:lnTo>
                    <a:pt x="45" y="182"/>
                  </a:lnTo>
                  <a:lnTo>
                    <a:pt x="45" y="182"/>
                  </a:lnTo>
                  <a:lnTo>
                    <a:pt x="47" y="187"/>
                  </a:lnTo>
                  <a:lnTo>
                    <a:pt x="45" y="191"/>
                  </a:lnTo>
                  <a:lnTo>
                    <a:pt x="43" y="193"/>
                  </a:lnTo>
                  <a:lnTo>
                    <a:pt x="39" y="199"/>
                  </a:lnTo>
                  <a:lnTo>
                    <a:pt x="39" y="201"/>
                  </a:lnTo>
                  <a:lnTo>
                    <a:pt x="39" y="201"/>
                  </a:lnTo>
                  <a:lnTo>
                    <a:pt x="39" y="203"/>
                  </a:lnTo>
                  <a:lnTo>
                    <a:pt x="39" y="203"/>
                  </a:lnTo>
                  <a:lnTo>
                    <a:pt x="39" y="203"/>
                  </a:lnTo>
                  <a:lnTo>
                    <a:pt x="39" y="205"/>
                  </a:lnTo>
                  <a:lnTo>
                    <a:pt x="41" y="207"/>
                  </a:lnTo>
                  <a:lnTo>
                    <a:pt x="41" y="209"/>
                  </a:lnTo>
                  <a:lnTo>
                    <a:pt x="41" y="209"/>
                  </a:lnTo>
                  <a:lnTo>
                    <a:pt x="39" y="211"/>
                  </a:lnTo>
                  <a:lnTo>
                    <a:pt x="39" y="211"/>
                  </a:lnTo>
                  <a:lnTo>
                    <a:pt x="37" y="213"/>
                  </a:lnTo>
                  <a:lnTo>
                    <a:pt x="35" y="213"/>
                  </a:lnTo>
                  <a:lnTo>
                    <a:pt x="33" y="215"/>
                  </a:lnTo>
                  <a:lnTo>
                    <a:pt x="31" y="219"/>
                  </a:lnTo>
                  <a:lnTo>
                    <a:pt x="29" y="219"/>
                  </a:lnTo>
                  <a:lnTo>
                    <a:pt x="25" y="230"/>
                  </a:lnTo>
                  <a:lnTo>
                    <a:pt x="23" y="238"/>
                  </a:lnTo>
                  <a:lnTo>
                    <a:pt x="23" y="240"/>
                  </a:lnTo>
                  <a:lnTo>
                    <a:pt x="25" y="242"/>
                  </a:lnTo>
                  <a:lnTo>
                    <a:pt x="25" y="242"/>
                  </a:lnTo>
                  <a:lnTo>
                    <a:pt x="29" y="244"/>
                  </a:lnTo>
                  <a:lnTo>
                    <a:pt x="31" y="244"/>
                  </a:lnTo>
                  <a:lnTo>
                    <a:pt x="31" y="246"/>
                  </a:lnTo>
                  <a:lnTo>
                    <a:pt x="31" y="248"/>
                  </a:lnTo>
                  <a:lnTo>
                    <a:pt x="29" y="248"/>
                  </a:lnTo>
                  <a:lnTo>
                    <a:pt x="29" y="248"/>
                  </a:lnTo>
                  <a:lnTo>
                    <a:pt x="27" y="248"/>
                  </a:lnTo>
                  <a:lnTo>
                    <a:pt x="23" y="246"/>
                  </a:lnTo>
                  <a:lnTo>
                    <a:pt x="21" y="246"/>
                  </a:lnTo>
                  <a:lnTo>
                    <a:pt x="19" y="246"/>
                  </a:lnTo>
                  <a:lnTo>
                    <a:pt x="19" y="248"/>
                  </a:lnTo>
                  <a:lnTo>
                    <a:pt x="19" y="250"/>
                  </a:lnTo>
                  <a:lnTo>
                    <a:pt x="19" y="252"/>
                  </a:lnTo>
                  <a:lnTo>
                    <a:pt x="19" y="254"/>
                  </a:lnTo>
                  <a:lnTo>
                    <a:pt x="19" y="258"/>
                  </a:lnTo>
                  <a:lnTo>
                    <a:pt x="21" y="260"/>
                  </a:lnTo>
                  <a:lnTo>
                    <a:pt x="19" y="260"/>
                  </a:lnTo>
                  <a:lnTo>
                    <a:pt x="19" y="262"/>
                  </a:lnTo>
                  <a:lnTo>
                    <a:pt x="19" y="262"/>
                  </a:lnTo>
                  <a:lnTo>
                    <a:pt x="19" y="264"/>
                  </a:lnTo>
                  <a:lnTo>
                    <a:pt x="19" y="266"/>
                  </a:lnTo>
                  <a:lnTo>
                    <a:pt x="19" y="266"/>
                  </a:lnTo>
                  <a:lnTo>
                    <a:pt x="17" y="269"/>
                  </a:lnTo>
                  <a:lnTo>
                    <a:pt x="17" y="266"/>
                  </a:lnTo>
                  <a:lnTo>
                    <a:pt x="10" y="260"/>
                  </a:lnTo>
                  <a:lnTo>
                    <a:pt x="8" y="258"/>
                  </a:lnTo>
                  <a:lnTo>
                    <a:pt x="6" y="258"/>
                  </a:lnTo>
                  <a:lnTo>
                    <a:pt x="4" y="260"/>
                  </a:lnTo>
                  <a:lnTo>
                    <a:pt x="4" y="260"/>
                  </a:lnTo>
                  <a:lnTo>
                    <a:pt x="4" y="262"/>
                  </a:lnTo>
                  <a:lnTo>
                    <a:pt x="2" y="264"/>
                  </a:lnTo>
                  <a:lnTo>
                    <a:pt x="2" y="264"/>
                  </a:lnTo>
                  <a:lnTo>
                    <a:pt x="0" y="264"/>
                  </a:lnTo>
                  <a:lnTo>
                    <a:pt x="2" y="271"/>
                  </a:lnTo>
                  <a:lnTo>
                    <a:pt x="4" y="277"/>
                  </a:lnTo>
                  <a:lnTo>
                    <a:pt x="6" y="281"/>
                  </a:lnTo>
                  <a:lnTo>
                    <a:pt x="8" y="287"/>
                  </a:lnTo>
                  <a:lnTo>
                    <a:pt x="10" y="291"/>
                  </a:lnTo>
                  <a:lnTo>
                    <a:pt x="13" y="303"/>
                  </a:lnTo>
                  <a:lnTo>
                    <a:pt x="15" y="307"/>
                  </a:lnTo>
                  <a:lnTo>
                    <a:pt x="17" y="314"/>
                  </a:lnTo>
                  <a:lnTo>
                    <a:pt x="19" y="318"/>
                  </a:lnTo>
                  <a:lnTo>
                    <a:pt x="21" y="324"/>
                  </a:lnTo>
                  <a:lnTo>
                    <a:pt x="23" y="330"/>
                  </a:lnTo>
                  <a:lnTo>
                    <a:pt x="23" y="334"/>
                  </a:lnTo>
                  <a:lnTo>
                    <a:pt x="25" y="340"/>
                  </a:lnTo>
                  <a:lnTo>
                    <a:pt x="27" y="344"/>
                  </a:lnTo>
                  <a:lnTo>
                    <a:pt x="29" y="351"/>
                  </a:lnTo>
                  <a:lnTo>
                    <a:pt x="31" y="357"/>
                  </a:lnTo>
                  <a:lnTo>
                    <a:pt x="33" y="361"/>
                  </a:lnTo>
                  <a:lnTo>
                    <a:pt x="35" y="367"/>
                  </a:lnTo>
                  <a:lnTo>
                    <a:pt x="35" y="371"/>
                  </a:lnTo>
                  <a:lnTo>
                    <a:pt x="37" y="377"/>
                  </a:lnTo>
                  <a:lnTo>
                    <a:pt x="39" y="383"/>
                  </a:lnTo>
                  <a:lnTo>
                    <a:pt x="41" y="387"/>
                  </a:lnTo>
                  <a:lnTo>
                    <a:pt x="43" y="394"/>
                  </a:lnTo>
                  <a:lnTo>
                    <a:pt x="45" y="400"/>
                  </a:lnTo>
                  <a:lnTo>
                    <a:pt x="47" y="404"/>
                  </a:lnTo>
                  <a:lnTo>
                    <a:pt x="47" y="410"/>
                  </a:lnTo>
                  <a:lnTo>
                    <a:pt x="49" y="414"/>
                  </a:lnTo>
                  <a:lnTo>
                    <a:pt x="51" y="420"/>
                  </a:lnTo>
                  <a:lnTo>
                    <a:pt x="54" y="426"/>
                  </a:lnTo>
                  <a:lnTo>
                    <a:pt x="56" y="430"/>
                  </a:lnTo>
                  <a:lnTo>
                    <a:pt x="58" y="437"/>
                  </a:lnTo>
                  <a:lnTo>
                    <a:pt x="58" y="439"/>
                  </a:lnTo>
                  <a:lnTo>
                    <a:pt x="60" y="443"/>
                  </a:lnTo>
                  <a:lnTo>
                    <a:pt x="60" y="445"/>
                  </a:lnTo>
                  <a:lnTo>
                    <a:pt x="60" y="445"/>
                  </a:lnTo>
                  <a:lnTo>
                    <a:pt x="60" y="447"/>
                  </a:lnTo>
                  <a:lnTo>
                    <a:pt x="60" y="447"/>
                  </a:lnTo>
                  <a:lnTo>
                    <a:pt x="60" y="447"/>
                  </a:lnTo>
                  <a:lnTo>
                    <a:pt x="60" y="449"/>
                  </a:lnTo>
                  <a:lnTo>
                    <a:pt x="62" y="451"/>
                  </a:lnTo>
                  <a:lnTo>
                    <a:pt x="62" y="451"/>
                  </a:lnTo>
                  <a:lnTo>
                    <a:pt x="62" y="455"/>
                  </a:lnTo>
                  <a:lnTo>
                    <a:pt x="62" y="455"/>
                  </a:lnTo>
                  <a:lnTo>
                    <a:pt x="62" y="455"/>
                  </a:lnTo>
                  <a:lnTo>
                    <a:pt x="62" y="457"/>
                  </a:lnTo>
                  <a:lnTo>
                    <a:pt x="62" y="457"/>
                  </a:lnTo>
                  <a:lnTo>
                    <a:pt x="62" y="459"/>
                  </a:lnTo>
                  <a:lnTo>
                    <a:pt x="64" y="459"/>
                  </a:lnTo>
                  <a:lnTo>
                    <a:pt x="66" y="461"/>
                  </a:lnTo>
                  <a:lnTo>
                    <a:pt x="70" y="463"/>
                  </a:lnTo>
                  <a:lnTo>
                    <a:pt x="74" y="467"/>
                  </a:lnTo>
                  <a:lnTo>
                    <a:pt x="76" y="467"/>
                  </a:lnTo>
                  <a:lnTo>
                    <a:pt x="78" y="469"/>
                  </a:lnTo>
                  <a:lnTo>
                    <a:pt x="78" y="469"/>
                  </a:lnTo>
                  <a:lnTo>
                    <a:pt x="78" y="471"/>
                  </a:lnTo>
                  <a:lnTo>
                    <a:pt x="78" y="471"/>
                  </a:lnTo>
                  <a:lnTo>
                    <a:pt x="78" y="471"/>
                  </a:lnTo>
                  <a:lnTo>
                    <a:pt x="78" y="476"/>
                  </a:lnTo>
                  <a:lnTo>
                    <a:pt x="80" y="478"/>
                  </a:lnTo>
                  <a:lnTo>
                    <a:pt x="80" y="478"/>
                  </a:lnTo>
                  <a:lnTo>
                    <a:pt x="82" y="480"/>
                  </a:lnTo>
                  <a:lnTo>
                    <a:pt x="84" y="482"/>
                  </a:lnTo>
                  <a:lnTo>
                    <a:pt x="88" y="484"/>
                  </a:lnTo>
                  <a:lnTo>
                    <a:pt x="88" y="484"/>
                  </a:lnTo>
                  <a:lnTo>
                    <a:pt x="88" y="480"/>
                  </a:lnTo>
                  <a:lnTo>
                    <a:pt x="88" y="480"/>
                  </a:lnTo>
                  <a:lnTo>
                    <a:pt x="88" y="480"/>
                  </a:lnTo>
                  <a:lnTo>
                    <a:pt x="90" y="480"/>
                  </a:lnTo>
                  <a:lnTo>
                    <a:pt x="92" y="482"/>
                  </a:lnTo>
                  <a:lnTo>
                    <a:pt x="94" y="482"/>
                  </a:lnTo>
                  <a:lnTo>
                    <a:pt x="94" y="480"/>
                  </a:lnTo>
                  <a:lnTo>
                    <a:pt x="94" y="476"/>
                  </a:lnTo>
                  <a:lnTo>
                    <a:pt x="97" y="471"/>
                  </a:lnTo>
                  <a:lnTo>
                    <a:pt x="97" y="469"/>
                  </a:lnTo>
                  <a:lnTo>
                    <a:pt x="99" y="469"/>
                  </a:lnTo>
                  <a:lnTo>
                    <a:pt x="97" y="469"/>
                  </a:lnTo>
                  <a:lnTo>
                    <a:pt x="97" y="467"/>
                  </a:lnTo>
                  <a:lnTo>
                    <a:pt x="99" y="465"/>
                  </a:lnTo>
                  <a:lnTo>
                    <a:pt x="97" y="463"/>
                  </a:lnTo>
                  <a:lnTo>
                    <a:pt x="94" y="461"/>
                  </a:lnTo>
                  <a:lnTo>
                    <a:pt x="97" y="457"/>
                  </a:lnTo>
                  <a:lnTo>
                    <a:pt x="97" y="455"/>
                  </a:lnTo>
                  <a:lnTo>
                    <a:pt x="99" y="451"/>
                  </a:lnTo>
                  <a:lnTo>
                    <a:pt x="99" y="451"/>
                  </a:lnTo>
                  <a:lnTo>
                    <a:pt x="99" y="451"/>
                  </a:lnTo>
                  <a:lnTo>
                    <a:pt x="101" y="449"/>
                  </a:lnTo>
                  <a:lnTo>
                    <a:pt x="103" y="449"/>
                  </a:lnTo>
                  <a:lnTo>
                    <a:pt x="105" y="447"/>
                  </a:lnTo>
                  <a:lnTo>
                    <a:pt x="105" y="445"/>
                  </a:lnTo>
                  <a:lnTo>
                    <a:pt x="107" y="443"/>
                  </a:lnTo>
                  <a:lnTo>
                    <a:pt x="107" y="443"/>
                  </a:lnTo>
                  <a:lnTo>
                    <a:pt x="107" y="443"/>
                  </a:lnTo>
                  <a:lnTo>
                    <a:pt x="109" y="443"/>
                  </a:lnTo>
                  <a:lnTo>
                    <a:pt x="109" y="441"/>
                  </a:lnTo>
                  <a:lnTo>
                    <a:pt x="109" y="441"/>
                  </a:lnTo>
                  <a:lnTo>
                    <a:pt x="109" y="439"/>
                  </a:lnTo>
                  <a:lnTo>
                    <a:pt x="109" y="437"/>
                  </a:lnTo>
                  <a:lnTo>
                    <a:pt x="109" y="437"/>
                  </a:lnTo>
                  <a:lnTo>
                    <a:pt x="111" y="435"/>
                  </a:lnTo>
                  <a:lnTo>
                    <a:pt x="111" y="435"/>
                  </a:lnTo>
                  <a:lnTo>
                    <a:pt x="109" y="435"/>
                  </a:lnTo>
                  <a:lnTo>
                    <a:pt x="109" y="435"/>
                  </a:lnTo>
                  <a:lnTo>
                    <a:pt x="107" y="437"/>
                  </a:lnTo>
                  <a:lnTo>
                    <a:pt x="107" y="435"/>
                  </a:lnTo>
                  <a:lnTo>
                    <a:pt x="107" y="432"/>
                  </a:lnTo>
                  <a:lnTo>
                    <a:pt x="105" y="430"/>
                  </a:lnTo>
                  <a:lnTo>
                    <a:pt x="107" y="428"/>
                  </a:lnTo>
                  <a:lnTo>
                    <a:pt x="107" y="426"/>
                  </a:lnTo>
                  <a:lnTo>
                    <a:pt x="107" y="424"/>
                  </a:lnTo>
                  <a:lnTo>
                    <a:pt x="109" y="424"/>
                  </a:lnTo>
                  <a:lnTo>
                    <a:pt x="109" y="426"/>
                  </a:lnTo>
                  <a:lnTo>
                    <a:pt x="111" y="426"/>
                  </a:lnTo>
                  <a:lnTo>
                    <a:pt x="111" y="424"/>
                  </a:lnTo>
                  <a:lnTo>
                    <a:pt x="113" y="422"/>
                  </a:lnTo>
                  <a:lnTo>
                    <a:pt x="113" y="422"/>
                  </a:lnTo>
                  <a:lnTo>
                    <a:pt x="113" y="424"/>
                  </a:lnTo>
                  <a:lnTo>
                    <a:pt x="113" y="424"/>
                  </a:lnTo>
                  <a:lnTo>
                    <a:pt x="115" y="422"/>
                  </a:lnTo>
                  <a:lnTo>
                    <a:pt x="117" y="422"/>
                  </a:lnTo>
                  <a:lnTo>
                    <a:pt x="117" y="420"/>
                  </a:lnTo>
                  <a:lnTo>
                    <a:pt x="117" y="418"/>
                  </a:lnTo>
                  <a:lnTo>
                    <a:pt x="115" y="416"/>
                  </a:lnTo>
                  <a:lnTo>
                    <a:pt x="115" y="414"/>
                  </a:lnTo>
                  <a:lnTo>
                    <a:pt x="113" y="414"/>
                  </a:lnTo>
                  <a:lnTo>
                    <a:pt x="111" y="414"/>
                  </a:lnTo>
                  <a:lnTo>
                    <a:pt x="109" y="414"/>
                  </a:lnTo>
                  <a:lnTo>
                    <a:pt x="107" y="414"/>
                  </a:lnTo>
                  <a:lnTo>
                    <a:pt x="111" y="414"/>
                  </a:lnTo>
                  <a:lnTo>
                    <a:pt x="111" y="412"/>
                  </a:lnTo>
                  <a:lnTo>
                    <a:pt x="111" y="412"/>
                  </a:lnTo>
                  <a:lnTo>
                    <a:pt x="111" y="410"/>
                  </a:lnTo>
                  <a:lnTo>
                    <a:pt x="111" y="410"/>
                  </a:lnTo>
                  <a:lnTo>
                    <a:pt x="111" y="408"/>
                  </a:lnTo>
                  <a:lnTo>
                    <a:pt x="113" y="406"/>
                  </a:lnTo>
                  <a:lnTo>
                    <a:pt x="113" y="402"/>
                  </a:lnTo>
                  <a:lnTo>
                    <a:pt x="115" y="400"/>
                  </a:lnTo>
                  <a:lnTo>
                    <a:pt x="117" y="394"/>
                  </a:lnTo>
                  <a:lnTo>
                    <a:pt x="117" y="394"/>
                  </a:lnTo>
                  <a:lnTo>
                    <a:pt x="119" y="394"/>
                  </a:lnTo>
                  <a:lnTo>
                    <a:pt x="119" y="394"/>
                  </a:lnTo>
                  <a:lnTo>
                    <a:pt x="121" y="391"/>
                  </a:lnTo>
                  <a:lnTo>
                    <a:pt x="121" y="391"/>
                  </a:lnTo>
                  <a:lnTo>
                    <a:pt x="123" y="389"/>
                  </a:lnTo>
                  <a:lnTo>
                    <a:pt x="123" y="387"/>
                  </a:lnTo>
                  <a:lnTo>
                    <a:pt x="123" y="387"/>
                  </a:lnTo>
                  <a:lnTo>
                    <a:pt x="125" y="385"/>
                  </a:lnTo>
                  <a:lnTo>
                    <a:pt x="125" y="387"/>
                  </a:lnTo>
                  <a:lnTo>
                    <a:pt x="125" y="389"/>
                  </a:lnTo>
                  <a:lnTo>
                    <a:pt x="123" y="389"/>
                  </a:lnTo>
                  <a:lnTo>
                    <a:pt x="123" y="389"/>
                  </a:lnTo>
                  <a:lnTo>
                    <a:pt x="125" y="389"/>
                  </a:lnTo>
                  <a:lnTo>
                    <a:pt x="127" y="387"/>
                  </a:lnTo>
                  <a:lnTo>
                    <a:pt x="127" y="387"/>
                  </a:lnTo>
                  <a:lnTo>
                    <a:pt x="127" y="389"/>
                  </a:lnTo>
                  <a:lnTo>
                    <a:pt x="125" y="396"/>
                  </a:lnTo>
                  <a:lnTo>
                    <a:pt x="125" y="400"/>
                  </a:lnTo>
                  <a:lnTo>
                    <a:pt x="127" y="400"/>
                  </a:lnTo>
                  <a:lnTo>
                    <a:pt x="127" y="398"/>
                  </a:lnTo>
                  <a:lnTo>
                    <a:pt x="127" y="396"/>
                  </a:lnTo>
                  <a:lnTo>
                    <a:pt x="127" y="394"/>
                  </a:lnTo>
                  <a:lnTo>
                    <a:pt x="127" y="391"/>
                  </a:lnTo>
                  <a:lnTo>
                    <a:pt x="129" y="389"/>
                  </a:lnTo>
                  <a:lnTo>
                    <a:pt x="129" y="387"/>
                  </a:lnTo>
                  <a:lnTo>
                    <a:pt x="129" y="385"/>
                  </a:lnTo>
                  <a:lnTo>
                    <a:pt x="131" y="387"/>
                  </a:lnTo>
                  <a:lnTo>
                    <a:pt x="129" y="400"/>
                  </a:lnTo>
                  <a:lnTo>
                    <a:pt x="129" y="400"/>
                  </a:lnTo>
                  <a:lnTo>
                    <a:pt x="129" y="400"/>
                  </a:lnTo>
                  <a:lnTo>
                    <a:pt x="129" y="400"/>
                  </a:lnTo>
                  <a:lnTo>
                    <a:pt x="129" y="398"/>
                  </a:lnTo>
                  <a:lnTo>
                    <a:pt x="129" y="398"/>
                  </a:lnTo>
                  <a:lnTo>
                    <a:pt x="129" y="396"/>
                  </a:lnTo>
                  <a:lnTo>
                    <a:pt x="131" y="396"/>
                  </a:lnTo>
                  <a:lnTo>
                    <a:pt x="133" y="391"/>
                  </a:lnTo>
                  <a:lnTo>
                    <a:pt x="133" y="391"/>
                  </a:lnTo>
                  <a:lnTo>
                    <a:pt x="133" y="391"/>
                  </a:lnTo>
                  <a:lnTo>
                    <a:pt x="135" y="389"/>
                  </a:lnTo>
                  <a:lnTo>
                    <a:pt x="135" y="389"/>
                  </a:lnTo>
                  <a:lnTo>
                    <a:pt x="135" y="387"/>
                  </a:lnTo>
                  <a:lnTo>
                    <a:pt x="133" y="385"/>
                  </a:lnTo>
                  <a:lnTo>
                    <a:pt x="133" y="385"/>
                  </a:lnTo>
                  <a:lnTo>
                    <a:pt x="131" y="385"/>
                  </a:lnTo>
                  <a:lnTo>
                    <a:pt x="131" y="383"/>
                  </a:lnTo>
                  <a:lnTo>
                    <a:pt x="133" y="383"/>
                  </a:lnTo>
                  <a:lnTo>
                    <a:pt x="133" y="383"/>
                  </a:lnTo>
                  <a:lnTo>
                    <a:pt x="133" y="383"/>
                  </a:lnTo>
                  <a:lnTo>
                    <a:pt x="135" y="383"/>
                  </a:lnTo>
                  <a:lnTo>
                    <a:pt x="135" y="383"/>
                  </a:lnTo>
                  <a:lnTo>
                    <a:pt x="135" y="383"/>
                  </a:lnTo>
                  <a:lnTo>
                    <a:pt x="135" y="385"/>
                  </a:lnTo>
                  <a:lnTo>
                    <a:pt x="135" y="385"/>
                  </a:lnTo>
                  <a:lnTo>
                    <a:pt x="137" y="387"/>
                  </a:lnTo>
                  <a:lnTo>
                    <a:pt x="137" y="387"/>
                  </a:lnTo>
                  <a:lnTo>
                    <a:pt x="137" y="389"/>
                  </a:lnTo>
                  <a:lnTo>
                    <a:pt x="137" y="389"/>
                  </a:lnTo>
                  <a:lnTo>
                    <a:pt x="137" y="389"/>
                  </a:lnTo>
                  <a:lnTo>
                    <a:pt x="137" y="389"/>
                  </a:lnTo>
                  <a:lnTo>
                    <a:pt x="137" y="394"/>
                  </a:lnTo>
                  <a:lnTo>
                    <a:pt x="137" y="394"/>
                  </a:lnTo>
                  <a:lnTo>
                    <a:pt x="140" y="396"/>
                  </a:lnTo>
                  <a:lnTo>
                    <a:pt x="140" y="396"/>
                  </a:lnTo>
                  <a:lnTo>
                    <a:pt x="142" y="398"/>
                  </a:lnTo>
                  <a:lnTo>
                    <a:pt x="142" y="400"/>
                  </a:lnTo>
                  <a:lnTo>
                    <a:pt x="142" y="398"/>
                  </a:lnTo>
                  <a:lnTo>
                    <a:pt x="142" y="398"/>
                  </a:lnTo>
                  <a:lnTo>
                    <a:pt x="144" y="396"/>
                  </a:lnTo>
                  <a:lnTo>
                    <a:pt x="144" y="396"/>
                  </a:lnTo>
                  <a:lnTo>
                    <a:pt x="144" y="394"/>
                  </a:lnTo>
                  <a:lnTo>
                    <a:pt x="144" y="391"/>
                  </a:lnTo>
                  <a:lnTo>
                    <a:pt x="144" y="391"/>
                  </a:lnTo>
                  <a:lnTo>
                    <a:pt x="142" y="389"/>
                  </a:lnTo>
                  <a:lnTo>
                    <a:pt x="140" y="385"/>
                  </a:lnTo>
                  <a:lnTo>
                    <a:pt x="140" y="383"/>
                  </a:lnTo>
                  <a:lnTo>
                    <a:pt x="135" y="375"/>
                  </a:lnTo>
                  <a:lnTo>
                    <a:pt x="133" y="371"/>
                  </a:lnTo>
                  <a:lnTo>
                    <a:pt x="133" y="373"/>
                  </a:lnTo>
                  <a:lnTo>
                    <a:pt x="133" y="373"/>
                  </a:lnTo>
                  <a:lnTo>
                    <a:pt x="131" y="375"/>
                  </a:lnTo>
                  <a:lnTo>
                    <a:pt x="131" y="375"/>
                  </a:lnTo>
                  <a:lnTo>
                    <a:pt x="129" y="373"/>
                  </a:lnTo>
                  <a:lnTo>
                    <a:pt x="129" y="373"/>
                  </a:lnTo>
                  <a:lnTo>
                    <a:pt x="129" y="371"/>
                  </a:lnTo>
                  <a:lnTo>
                    <a:pt x="133" y="365"/>
                  </a:lnTo>
                  <a:lnTo>
                    <a:pt x="133" y="365"/>
                  </a:lnTo>
                  <a:lnTo>
                    <a:pt x="135" y="363"/>
                  </a:lnTo>
                  <a:lnTo>
                    <a:pt x="135" y="363"/>
                  </a:lnTo>
                  <a:lnTo>
                    <a:pt x="135" y="361"/>
                  </a:lnTo>
                  <a:lnTo>
                    <a:pt x="137" y="363"/>
                  </a:lnTo>
                  <a:lnTo>
                    <a:pt x="135" y="363"/>
                  </a:lnTo>
                  <a:lnTo>
                    <a:pt x="135" y="365"/>
                  </a:lnTo>
                  <a:lnTo>
                    <a:pt x="135" y="367"/>
                  </a:lnTo>
                  <a:lnTo>
                    <a:pt x="135" y="371"/>
                  </a:lnTo>
                  <a:lnTo>
                    <a:pt x="135" y="371"/>
                  </a:lnTo>
                  <a:lnTo>
                    <a:pt x="137" y="373"/>
                  </a:lnTo>
                  <a:lnTo>
                    <a:pt x="137" y="375"/>
                  </a:lnTo>
                  <a:lnTo>
                    <a:pt x="137" y="375"/>
                  </a:lnTo>
                  <a:lnTo>
                    <a:pt x="137" y="377"/>
                  </a:lnTo>
                  <a:lnTo>
                    <a:pt x="140" y="379"/>
                  </a:lnTo>
                  <a:lnTo>
                    <a:pt x="140" y="379"/>
                  </a:lnTo>
                  <a:lnTo>
                    <a:pt x="140" y="381"/>
                  </a:lnTo>
                  <a:lnTo>
                    <a:pt x="142" y="381"/>
                  </a:lnTo>
                  <a:lnTo>
                    <a:pt x="144" y="387"/>
                  </a:lnTo>
                  <a:lnTo>
                    <a:pt x="144" y="387"/>
                  </a:lnTo>
                  <a:lnTo>
                    <a:pt x="144" y="387"/>
                  </a:lnTo>
                  <a:lnTo>
                    <a:pt x="144" y="387"/>
                  </a:lnTo>
                  <a:lnTo>
                    <a:pt x="144" y="387"/>
                  </a:lnTo>
                  <a:lnTo>
                    <a:pt x="144" y="387"/>
                  </a:lnTo>
                  <a:lnTo>
                    <a:pt x="144" y="387"/>
                  </a:lnTo>
                  <a:lnTo>
                    <a:pt x="144" y="387"/>
                  </a:lnTo>
                  <a:lnTo>
                    <a:pt x="144" y="389"/>
                  </a:lnTo>
                  <a:lnTo>
                    <a:pt x="146" y="391"/>
                  </a:lnTo>
                  <a:lnTo>
                    <a:pt x="146" y="391"/>
                  </a:lnTo>
                  <a:lnTo>
                    <a:pt x="148" y="389"/>
                  </a:lnTo>
                  <a:lnTo>
                    <a:pt x="148" y="383"/>
                  </a:lnTo>
                  <a:lnTo>
                    <a:pt x="148" y="381"/>
                  </a:lnTo>
                  <a:lnTo>
                    <a:pt x="146" y="381"/>
                  </a:lnTo>
                  <a:lnTo>
                    <a:pt x="146" y="383"/>
                  </a:lnTo>
                  <a:lnTo>
                    <a:pt x="146" y="385"/>
                  </a:lnTo>
                  <a:lnTo>
                    <a:pt x="146" y="385"/>
                  </a:lnTo>
                  <a:lnTo>
                    <a:pt x="146" y="383"/>
                  </a:lnTo>
                  <a:lnTo>
                    <a:pt x="146" y="381"/>
                  </a:lnTo>
                  <a:lnTo>
                    <a:pt x="144" y="379"/>
                  </a:lnTo>
                  <a:lnTo>
                    <a:pt x="144" y="379"/>
                  </a:lnTo>
                  <a:lnTo>
                    <a:pt x="142" y="379"/>
                  </a:lnTo>
                  <a:lnTo>
                    <a:pt x="142" y="379"/>
                  </a:lnTo>
                  <a:lnTo>
                    <a:pt x="142" y="377"/>
                  </a:lnTo>
                  <a:lnTo>
                    <a:pt x="146" y="365"/>
                  </a:lnTo>
                  <a:lnTo>
                    <a:pt x="148" y="363"/>
                  </a:lnTo>
                  <a:lnTo>
                    <a:pt x="148" y="363"/>
                  </a:lnTo>
                  <a:lnTo>
                    <a:pt x="150" y="361"/>
                  </a:lnTo>
                  <a:lnTo>
                    <a:pt x="150" y="363"/>
                  </a:lnTo>
                  <a:lnTo>
                    <a:pt x="148" y="363"/>
                  </a:lnTo>
                  <a:lnTo>
                    <a:pt x="148" y="365"/>
                  </a:lnTo>
                  <a:lnTo>
                    <a:pt x="148" y="369"/>
                  </a:lnTo>
                  <a:lnTo>
                    <a:pt x="148" y="369"/>
                  </a:lnTo>
                  <a:lnTo>
                    <a:pt x="148" y="371"/>
                  </a:lnTo>
                  <a:lnTo>
                    <a:pt x="150" y="371"/>
                  </a:lnTo>
                  <a:lnTo>
                    <a:pt x="150" y="371"/>
                  </a:lnTo>
                  <a:lnTo>
                    <a:pt x="152" y="373"/>
                  </a:lnTo>
                  <a:lnTo>
                    <a:pt x="152" y="373"/>
                  </a:lnTo>
                  <a:lnTo>
                    <a:pt x="150" y="373"/>
                  </a:lnTo>
                  <a:lnTo>
                    <a:pt x="150" y="373"/>
                  </a:lnTo>
                  <a:lnTo>
                    <a:pt x="150" y="373"/>
                  </a:lnTo>
                  <a:lnTo>
                    <a:pt x="150" y="375"/>
                  </a:lnTo>
                  <a:lnTo>
                    <a:pt x="150" y="375"/>
                  </a:lnTo>
                  <a:lnTo>
                    <a:pt x="150" y="375"/>
                  </a:lnTo>
                  <a:lnTo>
                    <a:pt x="150" y="379"/>
                  </a:lnTo>
                  <a:lnTo>
                    <a:pt x="150" y="379"/>
                  </a:lnTo>
                  <a:lnTo>
                    <a:pt x="150" y="379"/>
                  </a:lnTo>
                  <a:lnTo>
                    <a:pt x="152" y="381"/>
                  </a:lnTo>
                  <a:lnTo>
                    <a:pt x="154" y="381"/>
                  </a:lnTo>
                  <a:lnTo>
                    <a:pt x="154" y="381"/>
                  </a:lnTo>
                  <a:lnTo>
                    <a:pt x="156" y="379"/>
                  </a:lnTo>
                  <a:lnTo>
                    <a:pt x="156" y="383"/>
                  </a:lnTo>
                  <a:lnTo>
                    <a:pt x="158" y="383"/>
                  </a:lnTo>
                  <a:lnTo>
                    <a:pt x="158" y="381"/>
                  </a:lnTo>
                  <a:lnTo>
                    <a:pt x="158" y="379"/>
                  </a:lnTo>
                  <a:lnTo>
                    <a:pt x="156" y="377"/>
                  </a:lnTo>
                  <a:lnTo>
                    <a:pt x="156" y="377"/>
                  </a:lnTo>
                  <a:lnTo>
                    <a:pt x="154" y="375"/>
                  </a:lnTo>
                  <a:lnTo>
                    <a:pt x="154" y="375"/>
                  </a:lnTo>
                  <a:lnTo>
                    <a:pt x="154" y="373"/>
                  </a:lnTo>
                  <a:lnTo>
                    <a:pt x="154" y="373"/>
                  </a:lnTo>
                  <a:lnTo>
                    <a:pt x="154" y="373"/>
                  </a:lnTo>
                  <a:lnTo>
                    <a:pt x="154" y="373"/>
                  </a:lnTo>
                  <a:lnTo>
                    <a:pt x="154" y="371"/>
                  </a:lnTo>
                  <a:lnTo>
                    <a:pt x="154" y="371"/>
                  </a:lnTo>
                  <a:lnTo>
                    <a:pt x="154" y="369"/>
                  </a:lnTo>
                  <a:lnTo>
                    <a:pt x="154" y="369"/>
                  </a:lnTo>
                  <a:lnTo>
                    <a:pt x="154" y="367"/>
                  </a:lnTo>
                  <a:lnTo>
                    <a:pt x="154" y="367"/>
                  </a:lnTo>
                  <a:lnTo>
                    <a:pt x="154" y="363"/>
                  </a:lnTo>
                  <a:lnTo>
                    <a:pt x="154" y="361"/>
                  </a:lnTo>
                  <a:lnTo>
                    <a:pt x="156" y="361"/>
                  </a:lnTo>
                  <a:lnTo>
                    <a:pt x="156" y="363"/>
                  </a:lnTo>
                  <a:lnTo>
                    <a:pt x="156" y="367"/>
                  </a:lnTo>
                  <a:lnTo>
                    <a:pt x="156" y="369"/>
                  </a:lnTo>
                  <a:lnTo>
                    <a:pt x="156" y="369"/>
                  </a:lnTo>
                  <a:lnTo>
                    <a:pt x="156" y="371"/>
                  </a:lnTo>
                  <a:lnTo>
                    <a:pt x="156" y="371"/>
                  </a:lnTo>
                  <a:lnTo>
                    <a:pt x="156" y="371"/>
                  </a:lnTo>
                  <a:lnTo>
                    <a:pt x="156" y="373"/>
                  </a:lnTo>
                  <a:lnTo>
                    <a:pt x="156" y="373"/>
                  </a:lnTo>
                  <a:lnTo>
                    <a:pt x="156" y="375"/>
                  </a:lnTo>
                  <a:lnTo>
                    <a:pt x="156" y="375"/>
                  </a:lnTo>
                  <a:lnTo>
                    <a:pt x="158" y="377"/>
                  </a:lnTo>
                  <a:lnTo>
                    <a:pt x="158" y="377"/>
                  </a:lnTo>
                  <a:lnTo>
                    <a:pt x="158" y="379"/>
                  </a:lnTo>
                  <a:lnTo>
                    <a:pt x="160" y="379"/>
                  </a:lnTo>
                  <a:lnTo>
                    <a:pt x="158" y="377"/>
                  </a:lnTo>
                  <a:lnTo>
                    <a:pt x="158" y="375"/>
                  </a:lnTo>
                  <a:lnTo>
                    <a:pt x="158" y="373"/>
                  </a:lnTo>
                  <a:lnTo>
                    <a:pt x="158" y="373"/>
                  </a:lnTo>
                  <a:lnTo>
                    <a:pt x="160" y="375"/>
                  </a:lnTo>
                  <a:lnTo>
                    <a:pt x="160" y="375"/>
                  </a:lnTo>
                  <a:lnTo>
                    <a:pt x="162" y="377"/>
                  </a:lnTo>
                  <a:lnTo>
                    <a:pt x="162" y="379"/>
                  </a:lnTo>
                  <a:lnTo>
                    <a:pt x="164" y="377"/>
                  </a:lnTo>
                  <a:lnTo>
                    <a:pt x="164" y="373"/>
                  </a:lnTo>
                  <a:lnTo>
                    <a:pt x="164" y="365"/>
                  </a:lnTo>
                  <a:lnTo>
                    <a:pt x="164" y="363"/>
                  </a:lnTo>
                  <a:lnTo>
                    <a:pt x="164" y="361"/>
                  </a:lnTo>
                  <a:lnTo>
                    <a:pt x="164" y="361"/>
                  </a:lnTo>
                  <a:lnTo>
                    <a:pt x="166" y="361"/>
                  </a:lnTo>
                  <a:lnTo>
                    <a:pt x="166" y="359"/>
                  </a:lnTo>
                  <a:lnTo>
                    <a:pt x="166" y="357"/>
                  </a:lnTo>
                  <a:lnTo>
                    <a:pt x="166" y="357"/>
                  </a:lnTo>
                  <a:lnTo>
                    <a:pt x="166" y="355"/>
                  </a:lnTo>
                  <a:lnTo>
                    <a:pt x="168" y="355"/>
                  </a:lnTo>
                  <a:lnTo>
                    <a:pt x="168" y="353"/>
                  </a:lnTo>
                  <a:lnTo>
                    <a:pt x="168" y="353"/>
                  </a:lnTo>
                  <a:lnTo>
                    <a:pt x="168" y="353"/>
                  </a:lnTo>
                  <a:lnTo>
                    <a:pt x="168" y="355"/>
                  </a:lnTo>
                  <a:lnTo>
                    <a:pt x="168" y="357"/>
                  </a:lnTo>
                  <a:lnTo>
                    <a:pt x="168" y="357"/>
                  </a:lnTo>
                  <a:lnTo>
                    <a:pt x="170" y="357"/>
                  </a:lnTo>
                  <a:lnTo>
                    <a:pt x="170" y="357"/>
                  </a:lnTo>
                  <a:lnTo>
                    <a:pt x="170" y="359"/>
                  </a:lnTo>
                  <a:lnTo>
                    <a:pt x="170" y="361"/>
                  </a:lnTo>
                  <a:lnTo>
                    <a:pt x="170" y="361"/>
                  </a:lnTo>
                  <a:lnTo>
                    <a:pt x="172" y="359"/>
                  </a:lnTo>
                  <a:lnTo>
                    <a:pt x="172" y="359"/>
                  </a:lnTo>
                  <a:lnTo>
                    <a:pt x="174" y="359"/>
                  </a:lnTo>
                  <a:lnTo>
                    <a:pt x="174" y="363"/>
                  </a:lnTo>
                  <a:lnTo>
                    <a:pt x="174" y="363"/>
                  </a:lnTo>
                  <a:lnTo>
                    <a:pt x="176" y="363"/>
                  </a:lnTo>
                  <a:lnTo>
                    <a:pt x="178" y="355"/>
                  </a:lnTo>
                  <a:lnTo>
                    <a:pt x="180" y="355"/>
                  </a:lnTo>
                  <a:lnTo>
                    <a:pt x="180" y="357"/>
                  </a:lnTo>
                  <a:lnTo>
                    <a:pt x="178" y="361"/>
                  </a:lnTo>
                  <a:lnTo>
                    <a:pt x="178" y="363"/>
                  </a:lnTo>
                  <a:lnTo>
                    <a:pt x="178" y="363"/>
                  </a:lnTo>
                  <a:lnTo>
                    <a:pt x="180" y="363"/>
                  </a:lnTo>
                  <a:lnTo>
                    <a:pt x="180" y="363"/>
                  </a:lnTo>
                  <a:lnTo>
                    <a:pt x="185" y="361"/>
                  </a:lnTo>
                  <a:lnTo>
                    <a:pt x="183" y="359"/>
                  </a:lnTo>
                  <a:lnTo>
                    <a:pt x="183" y="359"/>
                  </a:lnTo>
                  <a:lnTo>
                    <a:pt x="183" y="357"/>
                  </a:lnTo>
                  <a:lnTo>
                    <a:pt x="183" y="357"/>
                  </a:lnTo>
                  <a:lnTo>
                    <a:pt x="183" y="357"/>
                  </a:lnTo>
                  <a:lnTo>
                    <a:pt x="185" y="355"/>
                  </a:lnTo>
                  <a:lnTo>
                    <a:pt x="185" y="355"/>
                  </a:lnTo>
                  <a:lnTo>
                    <a:pt x="185" y="355"/>
                  </a:lnTo>
                  <a:lnTo>
                    <a:pt x="187" y="355"/>
                  </a:lnTo>
                  <a:lnTo>
                    <a:pt x="187" y="353"/>
                  </a:lnTo>
                  <a:lnTo>
                    <a:pt x="187" y="351"/>
                  </a:lnTo>
                  <a:lnTo>
                    <a:pt x="187" y="348"/>
                  </a:lnTo>
                  <a:lnTo>
                    <a:pt x="189" y="348"/>
                  </a:lnTo>
                  <a:lnTo>
                    <a:pt x="191" y="346"/>
                  </a:lnTo>
                  <a:lnTo>
                    <a:pt x="191" y="344"/>
                  </a:lnTo>
                  <a:lnTo>
                    <a:pt x="191" y="342"/>
                  </a:lnTo>
                  <a:lnTo>
                    <a:pt x="189" y="344"/>
                  </a:lnTo>
                  <a:lnTo>
                    <a:pt x="187" y="342"/>
                  </a:lnTo>
                  <a:lnTo>
                    <a:pt x="187" y="340"/>
                  </a:lnTo>
                  <a:lnTo>
                    <a:pt x="187" y="340"/>
                  </a:lnTo>
                  <a:lnTo>
                    <a:pt x="187" y="338"/>
                  </a:lnTo>
                  <a:lnTo>
                    <a:pt x="187" y="338"/>
                  </a:lnTo>
                  <a:lnTo>
                    <a:pt x="187" y="336"/>
                  </a:lnTo>
                  <a:lnTo>
                    <a:pt x="187" y="334"/>
                  </a:lnTo>
                  <a:lnTo>
                    <a:pt x="187" y="328"/>
                  </a:lnTo>
                  <a:lnTo>
                    <a:pt x="189" y="326"/>
                  </a:lnTo>
                  <a:lnTo>
                    <a:pt x="189" y="322"/>
                  </a:lnTo>
                  <a:lnTo>
                    <a:pt x="189" y="320"/>
                  </a:lnTo>
                  <a:lnTo>
                    <a:pt x="191" y="320"/>
                  </a:lnTo>
                  <a:lnTo>
                    <a:pt x="193" y="318"/>
                  </a:lnTo>
                  <a:lnTo>
                    <a:pt x="193" y="316"/>
                  </a:lnTo>
                  <a:lnTo>
                    <a:pt x="191" y="314"/>
                  </a:lnTo>
                  <a:lnTo>
                    <a:pt x="189" y="312"/>
                  </a:lnTo>
                  <a:lnTo>
                    <a:pt x="187" y="310"/>
                  </a:lnTo>
                  <a:lnTo>
                    <a:pt x="187" y="310"/>
                  </a:lnTo>
                  <a:lnTo>
                    <a:pt x="187" y="310"/>
                  </a:lnTo>
                  <a:lnTo>
                    <a:pt x="187" y="307"/>
                  </a:lnTo>
                  <a:lnTo>
                    <a:pt x="187" y="305"/>
                  </a:lnTo>
                  <a:lnTo>
                    <a:pt x="191" y="303"/>
                  </a:lnTo>
                  <a:lnTo>
                    <a:pt x="191" y="303"/>
                  </a:lnTo>
                  <a:lnTo>
                    <a:pt x="193" y="301"/>
                  </a:lnTo>
                  <a:lnTo>
                    <a:pt x="193" y="299"/>
                  </a:lnTo>
                  <a:lnTo>
                    <a:pt x="195" y="299"/>
                  </a:lnTo>
                  <a:lnTo>
                    <a:pt x="195" y="301"/>
                  </a:lnTo>
                  <a:lnTo>
                    <a:pt x="195" y="301"/>
                  </a:lnTo>
                  <a:lnTo>
                    <a:pt x="197" y="301"/>
                  </a:lnTo>
                  <a:lnTo>
                    <a:pt x="199" y="299"/>
                  </a:lnTo>
                  <a:lnTo>
                    <a:pt x="197" y="299"/>
                  </a:lnTo>
                  <a:lnTo>
                    <a:pt x="197" y="299"/>
                  </a:lnTo>
                  <a:lnTo>
                    <a:pt x="197" y="293"/>
                  </a:lnTo>
                  <a:lnTo>
                    <a:pt x="197" y="289"/>
                  </a:lnTo>
                  <a:lnTo>
                    <a:pt x="197" y="289"/>
                  </a:lnTo>
                  <a:lnTo>
                    <a:pt x="197" y="289"/>
                  </a:lnTo>
                  <a:lnTo>
                    <a:pt x="201" y="289"/>
                  </a:lnTo>
                  <a:lnTo>
                    <a:pt x="201" y="291"/>
                  </a:lnTo>
                  <a:lnTo>
                    <a:pt x="201" y="297"/>
                  </a:lnTo>
                  <a:lnTo>
                    <a:pt x="201" y="297"/>
                  </a:lnTo>
                  <a:lnTo>
                    <a:pt x="201" y="299"/>
                  </a:lnTo>
                  <a:lnTo>
                    <a:pt x="201" y="299"/>
                  </a:lnTo>
                  <a:lnTo>
                    <a:pt x="201" y="299"/>
                  </a:lnTo>
                  <a:lnTo>
                    <a:pt x="199" y="301"/>
                  </a:lnTo>
                  <a:lnTo>
                    <a:pt x="199" y="301"/>
                  </a:lnTo>
                  <a:lnTo>
                    <a:pt x="199" y="303"/>
                  </a:lnTo>
                  <a:lnTo>
                    <a:pt x="199" y="305"/>
                  </a:lnTo>
                  <a:lnTo>
                    <a:pt x="199" y="305"/>
                  </a:lnTo>
                  <a:lnTo>
                    <a:pt x="201" y="307"/>
                  </a:lnTo>
                  <a:lnTo>
                    <a:pt x="201" y="307"/>
                  </a:lnTo>
                  <a:lnTo>
                    <a:pt x="201" y="305"/>
                  </a:lnTo>
                  <a:lnTo>
                    <a:pt x="203" y="303"/>
                  </a:lnTo>
                  <a:lnTo>
                    <a:pt x="203" y="301"/>
                  </a:lnTo>
                  <a:lnTo>
                    <a:pt x="205" y="299"/>
                  </a:lnTo>
                  <a:lnTo>
                    <a:pt x="207" y="301"/>
                  </a:lnTo>
                  <a:lnTo>
                    <a:pt x="209" y="303"/>
                  </a:lnTo>
                  <a:lnTo>
                    <a:pt x="207" y="303"/>
                  </a:lnTo>
                  <a:lnTo>
                    <a:pt x="207" y="303"/>
                  </a:lnTo>
                  <a:lnTo>
                    <a:pt x="205" y="303"/>
                  </a:lnTo>
                  <a:lnTo>
                    <a:pt x="205" y="303"/>
                  </a:lnTo>
                  <a:lnTo>
                    <a:pt x="205" y="303"/>
                  </a:lnTo>
                  <a:lnTo>
                    <a:pt x="203" y="305"/>
                  </a:lnTo>
                  <a:lnTo>
                    <a:pt x="205" y="305"/>
                  </a:lnTo>
                  <a:lnTo>
                    <a:pt x="205" y="307"/>
                  </a:lnTo>
                  <a:lnTo>
                    <a:pt x="205" y="307"/>
                  </a:lnTo>
                  <a:lnTo>
                    <a:pt x="205" y="310"/>
                  </a:lnTo>
                  <a:lnTo>
                    <a:pt x="203" y="310"/>
                  </a:lnTo>
                  <a:lnTo>
                    <a:pt x="203" y="307"/>
                  </a:lnTo>
                  <a:lnTo>
                    <a:pt x="203" y="307"/>
                  </a:lnTo>
                  <a:lnTo>
                    <a:pt x="201" y="310"/>
                  </a:lnTo>
                  <a:lnTo>
                    <a:pt x="201" y="312"/>
                  </a:lnTo>
                  <a:lnTo>
                    <a:pt x="201" y="316"/>
                  </a:lnTo>
                  <a:lnTo>
                    <a:pt x="203" y="314"/>
                  </a:lnTo>
                  <a:lnTo>
                    <a:pt x="205" y="312"/>
                  </a:lnTo>
                  <a:lnTo>
                    <a:pt x="207" y="312"/>
                  </a:lnTo>
                  <a:lnTo>
                    <a:pt x="211" y="314"/>
                  </a:lnTo>
                  <a:lnTo>
                    <a:pt x="213" y="314"/>
                  </a:lnTo>
                  <a:lnTo>
                    <a:pt x="213" y="314"/>
                  </a:lnTo>
                  <a:lnTo>
                    <a:pt x="217" y="314"/>
                  </a:lnTo>
                  <a:lnTo>
                    <a:pt x="226" y="316"/>
                  </a:lnTo>
                  <a:lnTo>
                    <a:pt x="228" y="316"/>
                  </a:lnTo>
                  <a:lnTo>
                    <a:pt x="226" y="316"/>
                  </a:lnTo>
                  <a:lnTo>
                    <a:pt x="226" y="314"/>
                  </a:lnTo>
                  <a:lnTo>
                    <a:pt x="226" y="314"/>
                  </a:lnTo>
                  <a:lnTo>
                    <a:pt x="223" y="314"/>
                  </a:lnTo>
                  <a:lnTo>
                    <a:pt x="226" y="314"/>
                  </a:lnTo>
                  <a:lnTo>
                    <a:pt x="226" y="314"/>
                  </a:lnTo>
                  <a:lnTo>
                    <a:pt x="226" y="312"/>
                  </a:lnTo>
                  <a:lnTo>
                    <a:pt x="226" y="310"/>
                  </a:lnTo>
                  <a:lnTo>
                    <a:pt x="223" y="310"/>
                  </a:lnTo>
                  <a:lnTo>
                    <a:pt x="223" y="310"/>
                  </a:lnTo>
                  <a:lnTo>
                    <a:pt x="221" y="310"/>
                  </a:lnTo>
                  <a:lnTo>
                    <a:pt x="221" y="310"/>
                  </a:lnTo>
                  <a:lnTo>
                    <a:pt x="221" y="307"/>
                  </a:lnTo>
                  <a:lnTo>
                    <a:pt x="221" y="305"/>
                  </a:lnTo>
                  <a:lnTo>
                    <a:pt x="221" y="303"/>
                  </a:lnTo>
                  <a:lnTo>
                    <a:pt x="219" y="303"/>
                  </a:lnTo>
                  <a:lnTo>
                    <a:pt x="219" y="301"/>
                  </a:lnTo>
                  <a:lnTo>
                    <a:pt x="217" y="299"/>
                  </a:lnTo>
                  <a:lnTo>
                    <a:pt x="219" y="299"/>
                  </a:lnTo>
                  <a:lnTo>
                    <a:pt x="221" y="299"/>
                  </a:lnTo>
                  <a:lnTo>
                    <a:pt x="223" y="297"/>
                  </a:lnTo>
                  <a:lnTo>
                    <a:pt x="223" y="295"/>
                  </a:lnTo>
                  <a:lnTo>
                    <a:pt x="226" y="297"/>
                  </a:lnTo>
                  <a:lnTo>
                    <a:pt x="226" y="297"/>
                  </a:lnTo>
                  <a:lnTo>
                    <a:pt x="226" y="299"/>
                  </a:lnTo>
                  <a:lnTo>
                    <a:pt x="226" y="301"/>
                  </a:lnTo>
                  <a:lnTo>
                    <a:pt x="228" y="299"/>
                  </a:lnTo>
                  <a:lnTo>
                    <a:pt x="228" y="297"/>
                  </a:lnTo>
                  <a:lnTo>
                    <a:pt x="228" y="297"/>
                  </a:lnTo>
                  <a:lnTo>
                    <a:pt x="228" y="297"/>
                  </a:lnTo>
                  <a:lnTo>
                    <a:pt x="228" y="295"/>
                  </a:lnTo>
                  <a:lnTo>
                    <a:pt x="226" y="295"/>
                  </a:lnTo>
                  <a:lnTo>
                    <a:pt x="226" y="295"/>
                  </a:lnTo>
                  <a:lnTo>
                    <a:pt x="226" y="295"/>
                  </a:lnTo>
                  <a:lnTo>
                    <a:pt x="226" y="295"/>
                  </a:lnTo>
                  <a:lnTo>
                    <a:pt x="226" y="293"/>
                  </a:lnTo>
                  <a:lnTo>
                    <a:pt x="226" y="293"/>
                  </a:lnTo>
                  <a:lnTo>
                    <a:pt x="226" y="293"/>
                  </a:lnTo>
                  <a:lnTo>
                    <a:pt x="223" y="289"/>
                  </a:lnTo>
                  <a:lnTo>
                    <a:pt x="226" y="289"/>
                  </a:lnTo>
                  <a:lnTo>
                    <a:pt x="226" y="289"/>
                  </a:lnTo>
                  <a:lnTo>
                    <a:pt x="228" y="291"/>
                  </a:lnTo>
                  <a:lnTo>
                    <a:pt x="230" y="295"/>
                  </a:lnTo>
                  <a:lnTo>
                    <a:pt x="230" y="297"/>
                  </a:lnTo>
                  <a:lnTo>
                    <a:pt x="230" y="297"/>
                  </a:lnTo>
                  <a:lnTo>
                    <a:pt x="232" y="295"/>
                  </a:lnTo>
                  <a:lnTo>
                    <a:pt x="232" y="295"/>
                  </a:lnTo>
                  <a:lnTo>
                    <a:pt x="234" y="291"/>
                  </a:lnTo>
                  <a:lnTo>
                    <a:pt x="234" y="289"/>
                  </a:lnTo>
                  <a:lnTo>
                    <a:pt x="234" y="291"/>
                  </a:lnTo>
                  <a:lnTo>
                    <a:pt x="236" y="289"/>
                  </a:lnTo>
                  <a:lnTo>
                    <a:pt x="240" y="289"/>
                  </a:lnTo>
                  <a:lnTo>
                    <a:pt x="240" y="289"/>
                  </a:lnTo>
                  <a:lnTo>
                    <a:pt x="240" y="289"/>
                  </a:lnTo>
                  <a:lnTo>
                    <a:pt x="238" y="289"/>
                  </a:lnTo>
                  <a:lnTo>
                    <a:pt x="238" y="287"/>
                  </a:lnTo>
                  <a:lnTo>
                    <a:pt x="238" y="285"/>
                  </a:lnTo>
                  <a:lnTo>
                    <a:pt x="238" y="285"/>
                  </a:lnTo>
                  <a:lnTo>
                    <a:pt x="234" y="285"/>
                  </a:lnTo>
                  <a:lnTo>
                    <a:pt x="234" y="283"/>
                  </a:lnTo>
                  <a:lnTo>
                    <a:pt x="236" y="281"/>
                  </a:lnTo>
                  <a:lnTo>
                    <a:pt x="238" y="283"/>
                  </a:lnTo>
                  <a:lnTo>
                    <a:pt x="238" y="281"/>
                  </a:lnTo>
                  <a:lnTo>
                    <a:pt x="240" y="283"/>
                  </a:lnTo>
                  <a:lnTo>
                    <a:pt x="240" y="285"/>
                  </a:lnTo>
                  <a:lnTo>
                    <a:pt x="242" y="287"/>
                  </a:lnTo>
                  <a:lnTo>
                    <a:pt x="244" y="285"/>
                  </a:lnTo>
                  <a:lnTo>
                    <a:pt x="242" y="285"/>
                  </a:lnTo>
                  <a:lnTo>
                    <a:pt x="242" y="283"/>
                  </a:lnTo>
                  <a:lnTo>
                    <a:pt x="242" y="281"/>
                  </a:lnTo>
                  <a:lnTo>
                    <a:pt x="244" y="281"/>
                  </a:lnTo>
                  <a:lnTo>
                    <a:pt x="244" y="283"/>
                  </a:lnTo>
                  <a:lnTo>
                    <a:pt x="246" y="285"/>
                  </a:lnTo>
                  <a:lnTo>
                    <a:pt x="246" y="285"/>
                  </a:lnTo>
                  <a:lnTo>
                    <a:pt x="246" y="287"/>
                  </a:lnTo>
                  <a:lnTo>
                    <a:pt x="248" y="285"/>
                  </a:lnTo>
                  <a:lnTo>
                    <a:pt x="248" y="285"/>
                  </a:lnTo>
                  <a:lnTo>
                    <a:pt x="248" y="285"/>
                  </a:lnTo>
                  <a:lnTo>
                    <a:pt x="248" y="285"/>
                  </a:lnTo>
                  <a:lnTo>
                    <a:pt x="246" y="283"/>
                  </a:lnTo>
                  <a:lnTo>
                    <a:pt x="246" y="283"/>
                  </a:lnTo>
                  <a:lnTo>
                    <a:pt x="246" y="283"/>
                  </a:lnTo>
                  <a:lnTo>
                    <a:pt x="246" y="281"/>
                  </a:lnTo>
                  <a:lnTo>
                    <a:pt x="248" y="281"/>
                  </a:lnTo>
                  <a:lnTo>
                    <a:pt x="248" y="281"/>
                  </a:lnTo>
                  <a:lnTo>
                    <a:pt x="248" y="281"/>
                  </a:lnTo>
                  <a:lnTo>
                    <a:pt x="248" y="283"/>
                  </a:lnTo>
                  <a:lnTo>
                    <a:pt x="248" y="283"/>
                  </a:lnTo>
                  <a:lnTo>
                    <a:pt x="250" y="283"/>
                  </a:lnTo>
                  <a:lnTo>
                    <a:pt x="252" y="285"/>
                  </a:lnTo>
                  <a:lnTo>
                    <a:pt x="252" y="287"/>
                  </a:lnTo>
                  <a:lnTo>
                    <a:pt x="252" y="289"/>
                  </a:lnTo>
                  <a:lnTo>
                    <a:pt x="254" y="291"/>
                  </a:lnTo>
                  <a:lnTo>
                    <a:pt x="256" y="293"/>
                  </a:lnTo>
                  <a:lnTo>
                    <a:pt x="256" y="293"/>
                  </a:lnTo>
                  <a:lnTo>
                    <a:pt x="258" y="291"/>
                  </a:lnTo>
                  <a:lnTo>
                    <a:pt x="258" y="293"/>
                  </a:lnTo>
                  <a:lnTo>
                    <a:pt x="258" y="295"/>
                  </a:lnTo>
                  <a:lnTo>
                    <a:pt x="258" y="295"/>
                  </a:lnTo>
                  <a:lnTo>
                    <a:pt x="260" y="297"/>
                  </a:lnTo>
                  <a:lnTo>
                    <a:pt x="260" y="295"/>
                  </a:lnTo>
                  <a:lnTo>
                    <a:pt x="260" y="291"/>
                  </a:lnTo>
                  <a:lnTo>
                    <a:pt x="260" y="289"/>
                  </a:lnTo>
                  <a:lnTo>
                    <a:pt x="260" y="289"/>
                  </a:lnTo>
                  <a:lnTo>
                    <a:pt x="260" y="289"/>
                  </a:lnTo>
                  <a:lnTo>
                    <a:pt x="262" y="289"/>
                  </a:lnTo>
                  <a:lnTo>
                    <a:pt x="262" y="289"/>
                  </a:lnTo>
                  <a:lnTo>
                    <a:pt x="262" y="289"/>
                  </a:lnTo>
                  <a:lnTo>
                    <a:pt x="262" y="289"/>
                  </a:lnTo>
                  <a:lnTo>
                    <a:pt x="264" y="289"/>
                  </a:lnTo>
                  <a:lnTo>
                    <a:pt x="264" y="289"/>
                  </a:lnTo>
                  <a:lnTo>
                    <a:pt x="264" y="287"/>
                  </a:lnTo>
                  <a:lnTo>
                    <a:pt x="264" y="287"/>
                  </a:lnTo>
                  <a:lnTo>
                    <a:pt x="264" y="287"/>
                  </a:lnTo>
                  <a:lnTo>
                    <a:pt x="262" y="287"/>
                  </a:lnTo>
                  <a:lnTo>
                    <a:pt x="262" y="283"/>
                  </a:lnTo>
                  <a:lnTo>
                    <a:pt x="262" y="283"/>
                  </a:lnTo>
                  <a:lnTo>
                    <a:pt x="258" y="283"/>
                  </a:lnTo>
                  <a:lnTo>
                    <a:pt x="258" y="281"/>
                  </a:lnTo>
                  <a:lnTo>
                    <a:pt x="258" y="281"/>
                  </a:lnTo>
                  <a:lnTo>
                    <a:pt x="260" y="281"/>
                  </a:lnTo>
                  <a:lnTo>
                    <a:pt x="260" y="281"/>
                  </a:lnTo>
                  <a:lnTo>
                    <a:pt x="260" y="281"/>
                  </a:lnTo>
                  <a:lnTo>
                    <a:pt x="260" y="279"/>
                  </a:lnTo>
                  <a:lnTo>
                    <a:pt x="260" y="279"/>
                  </a:lnTo>
                  <a:lnTo>
                    <a:pt x="260" y="277"/>
                  </a:lnTo>
                  <a:lnTo>
                    <a:pt x="260" y="277"/>
                  </a:lnTo>
                  <a:lnTo>
                    <a:pt x="264" y="283"/>
                  </a:lnTo>
                  <a:lnTo>
                    <a:pt x="264" y="285"/>
                  </a:lnTo>
                  <a:lnTo>
                    <a:pt x="264" y="285"/>
                  </a:lnTo>
                  <a:lnTo>
                    <a:pt x="264" y="285"/>
                  </a:lnTo>
                  <a:lnTo>
                    <a:pt x="264" y="285"/>
                  </a:lnTo>
                  <a:lnTo>
                    <a:pt x="267" y="285"/>
                  </a:lnTo>
                  <a:lnTo>
                    <a:pt x="267" y="285"/>
                  </a:lnTo>
                  <a:lnTo>
                    <a:pt x="267" y="283"/>
                  </a:lnTo>
                  <a:lnTo>
                    <a:pt x="264" y="281"/>
                  </a:lnTo>
                  <a:lnTo>
                    <a:pt x="264" y="279"/>
                  </a:lnTo>
                  <a:lnTo>
                    <a:pt x="267" y="279"/>
                  </a:lnTo>
                  <a:lnTo>
                    <a:pt x="267" y="277"/>
                  </a:lnTo>
                  <a:lnTo>
                    <a:pt x="267" y="279"/>
                  </a:lnTo>
                  <a:lnTo>
                    <a:pt x="267" y="283"/>
                  </a:lnTo>
                  <a:lnTo>
                    <a:pt x="267" y="285"/>
                  </a:lnTo>
                  <a:lnTo>
                    <a:pt x="269" y="287"/>
                  </a:lnTo>
                  <a:lnTo>
                    <a:pt x="269" y="283"/>
                  </a:lnTo>
                  <a:lnTo>
                    <a:pt x="269" y="279"/>
                  </a:lnTo>
                  <a:lnTo>
                    <a:pt x="269" y="277"/>
                  </a:lnTo>
                  <a:lnTo>
                    <a:pt x="269" y="277"/>
                  </a:lnTo>
                  <a:lnTo>
                    <a:pt x="271" y="277"/>
                  </a:lnTo>
                  <a:lnTo>
                    <a:pt x="271" y="277"/>
                  </a:lnTo>
                  <a:lnTo>
                    <a:pt x="271" y="275"/>
                  </a:lnTo>
                  <a:lnTo>
                    <a:pt x="271" y="275"/>
                  </a:lnTo>
                  <a:lnTo>
                    <a:pt x="269" y="273"/>
                  </a:lnTo>
                  <a:lnTo>
                    <a:pt x="267" y="271"/>
                  </a:lnTo>
                  <a:lnTo>
                    <a:pt x="267" y="271"/>
                  </a:lnTo>
                  <a:lnTo>
                    <a:pt x="269" y="271"/>
                  </a:lnTo>
                  <a:lnTo>
                    <a:pt x="269" y="269"/>
                  </a:lnTo>
                  <a:lnTo>
                    <a:pt x="269" y="266"/>
                  </a:lnTo>
                  <a:lnTo>
                    <a:pt x="269" y="266"/>
                  </a:lnTo>
                  <a:lnTo>
                    <a:pt x="271" y="264"/>
                  </a:lnTo>
                  <a:lnTo>
                    <a:pt x="271" y="266"/>
                  </a:lnTo>
                  <a:lnTo>
                    <a:pt x="271" y="264"/>
                  </a:lnTo>
                  <a:lnTo>
                    <a:pt x="273" y="262"/>
                  </a:lnTo>
                  <a:lnTo>
                    <a:pt x="273" y="262"/>
                  </a:lnTo>
                  <a:lnTo>
                    <a:pt x="273" y="264"/>
                  </a:lnTo>
                  <a:lnTo>
                    <a:pt x="273" y="266"/>
                  </a:lnTo>
                  <a:lnTo>
                    <a:pt x="273" y="269"/>
                  </a:lnTo>
                  <a:lnTo>
                    <a:pt x="273" y="269"/>
                  </a:lnTo>
                  <a:lnTo>
                    <a:pt x="275" y="271"/>
                  </a:lnTo>
                  <a:lnTo>
                    <a:pt x="275" y="271"/>
                  </a:lnTo>
                  <a:lnTo>
                    <a:pt x="275" y="269"/>
                  </a:lnTo>
                  <a:lnTo>
                    <a:pt x="275" y="269"/>
                  </a:lnTo>
                  <a:lnTo>
                    <a:pt x="275" y="262"/>
                  </a:lnTo>
                  <a:lnTo>
                    <a:pt x="275" y="262"/>
                  </a:lnTo>
                  <a:lnTo>
                    <a:pt x="277" y="262"/>
                  </a:lnTo>
                  <a:lnTo>
                    <a:pt x="277" y="269"/>
                  </a:lnTo>
                  <a:lnTo>
                    <a:pt x="277" y="271"/>
                  </a:lnTo>
                  <a:lnTo>
                    <a:pt x="279" y="271"/>
                  </a:lnTo>
                  <a:lnTo>
                    <a:pt x="279" y="271"/>
                  </a:lnTo>
                  <a:lnTo>
                    <a:pt x="281" y="271"/>
                  </a:lnTo>
                  <a:lnTo>
                    <a:pt x="281" y="266"/>
                  </a:lnTo>
                  <a:lnTo>
                    <a:pt x="283" y="264"/>
                  </a:lnTo>
                  <a:lnTo>
                    <a:pt x="283" y="264"/>
                  </a:lnTo>
                  <a:lnTo>
                    <a:pt x="283" y="262"/>
                  </a:lnTo>
                  <a:lnTo>
                    <a:pt x="285" y="262"/>
                  </a:lnTo>
                  <a:lnTo>
                    <a:pt x="285" y="264"/>
                  </a:lnTo>
                  <a:lnTo>
                    <a:pt x="285" y="264"/>
                  </a:lnTo>
                  <a:lnTo>
                    <a:pt x="285" y="266"/>
                  </a:lnTo>
                  <a:lnTo>
                    <a:pt x="285" y="266"/>
                  </a:lnTo>
                  <a:lnTo>
                    <a:pt x="285" y="266"/>
                  </a:lnTo>
                  <a:lnTo>
                    <a:pt x="287" y="266"/>
                  </a:lnTo>
                  <a:lnTo>
                    <a:pt x="287" y="266"/>
                  </a:lnTo>
                  <a:lnTo>
                    <a:pt x="287" y="266"/>
                  </a:lnTo>
                  <a:lnTo>
                    <a:pt x="289" y="266"/>
                  </a:lnTo>
                  <a:lnTo>
                    <a:pt x="289" y="266"/>
                  </a:lnTo>
                  <a:lnTo>
                    <a:pt x="289" y="264"/>
                  </a:lnTo>
                  <a:lnTo>
                    <a:pt x="289" y="264"/>
                  </a:lnTo>
                  <a:lnTo>
                    <a:pt x="291" y="264"/>
                  </a:lnTo>
                  <a:lnTo>
                    <a:pt x="291" y="264"/>
                  </a:lnTo>
                  <a:lnTo>
                    <a:pt x="289" y="262"/>
                  </a:lnTo>
                  <a:lnTo>
                    <a:pt x="289" y="262"/>
                  </a:lnTo>
                  <a:lnTo>
                    <a:pt x="289" y="260"/>
                  </a:lnTo>
                  <a:lnTo>
                    <a:pt x="289" y="260"/>
                  </a:lnTo>
                  <a:lnTo>
                    <a:pt x="289" y="256"/>
                  </a:lnTo>
                  <a:lnTo>
                    <a:pt x="287" y="256"/>
                  </a:lnTo>
                  <a:lnTo>
                    <a:pt x="287" y="256"/>
                  </a:lnTo>
                  <a:lnTo>
                    <a:pt x="289" y="254"/>
                  </a:lnTo>
                  <a:lnTo>
                    <a:pt x="289" y="252"/>
                  </a:lnTo>
                  <a:lnTo>
                    <a:pt x="291" y="254"/>
                  </a:lnTo>
                  <a:lnTo>
                    <a:pt x="291" y="254"/>
                  </a:lnTo>
                  <a:lnTo>
                    <a:pt x="291" y="254"/>
                  </a:lnTo>
                  <a:lnTo>
                    <a:pt x="293" y="254"/>
                  </a:lnTo>
                  <a:lnTo>
                    <a:pt x="293" y="254"/>
                  </a:lnTo>
                  <a:lnTo>
                    <a:pt x="293" y="256"/>
                  </a:lnTo>
                  <a:lnTo>
                    <a:pt x="295" y="256"/>
                  </a:lnTo>
                  <a:lnTo>
                    <a:pt x="295" y="256"/>
                  </a:lnTo>
                  <a:lnTo>
                    <a:pt x="297" y="254"/>
                  </a:lnTo>
                  <a:lnTo>
                    <a:pt x="299" y="254"/>
                  </a:lnTo>
                  <a:lnTo>
                    <a:pt x="297" y="254"/>
                  </a:lnTo>
                  <a:lnTo>
                    <a:pt x="297" y="252"/>
                  </a:lnTo>
                  <a:lnTo>
                    <a:pt x="295" y="250"/>
                  </a:lnTo>
                  <a:lnTo>
                    <a:pt x="295" y="248"/>
                  </a:lnTo>
                  <a:lnTo>
                    <a:pt x="297" y="248"/>
                  </a:lnTo>
                  <a:lnTo>
                    <a:pt x="299" y="250"/>
                  </a:lnTo>
                  <a:lnTo>
                    <a:pt x="299" y="254"/>
                  </a:lnTo>
                  <a:lnTo>
                    <a:pt x="301" y="254"/>
                  </a:lnTo>
                  <a:lnTo>
                    <a:pt x="301" y="254"/>
                  </a:lnTo>
                  <a:lnTo>
                    <a:pt x="301" y="252"/>
                  </a:lnTo>
                  <a:lnTo>
                    <a:pt x="301" y="252"/>
                  </a:lnTo>
                  <a:lnTo>
                    <a:pt x="303" y="252"/>
                  </a:lnTo>
                  <a:lnTo>
                    <a:pt x="303" y="252"/>
                  </a:lnTo>
                  <a:lnTo>
                    <a:pt x="303" y="250"/>
                  </a:lnTo>
                  <a:lnTo>
                    <a:pt x="301" y="250"/>
                  </a:lnTo>
                  <a:lnTo>
                    <a:pt x="301" y="248"/>
                  </a:lnTo>
                  <a:lnTo>
                    <a:pt x="301" y="246"/>
                  </a:lnTo>
                  <a:lnTo>
                    <a:pt x="299" y="246"/>
                  </a:lnTo>
                  <a:lnTo>
                    <a:pt x="299" y="244"/>
                  </a:lnTo>
                  <a:lnTo>
                    <a:pt x="299" y="244"/>
                  </a:lnTo>
                  <a:lnTo>
                    <a:pt x="301" y="244"/>
                  </a:lnTo>
                  <a:lnTo>
                    <a:pt x="301" y="244"/>
                  </a:lnTo>
                  <a:lnTo>
                    <a:pt x="303" y="244"/>
                  </a:lnTo>
                  <a:lnTo>
                    <a:pt x="301" y="244"/>
                  </a:lnTo>
                  <a:lnTo>
                    <a:pt x="303" y="242"/>
                  </a:lnTo>
                  <a:lnTo>
                    <a:pt x="305" y="242"/>
                  </a:lnTo>
                  <a:lnTo>
                    <a:pt x="305" y="244"/>
                  </a:lnTo>
                  <a:lnTo>
                    <a:pt x="305" y="246"/>
                  </a:lnTo>
                  <a:lnTo>
                    <a:pt x="305" y="246"/>
                  </a:lnTo>
                  <a:lnTo>
                    <a:pt x="307" y="248"/>
                  </a:lnTo>
                  <a:lnTo>
                    <a:pt x="307" y="248"/>
                  </a:lnTo>
                  <a:lnTo>
                    <a:pt x="310" y="248"/>
                  </a:lnTo>
                  <a:lnTo>
                    <a:pt x="312" y="248"/>
                  </a:lnTo>
                  <a:lnTo>
                    <a:pt x="310" y="246"/>
                  </a:lnTo>
                  <a:lnTo>
                    <a:pt x="310" y="246"/>
                  </a:lnTo>
                  <a:lnTo>
                    <a:pt x="310" y="246"/>
                  </a:lnTo>
                  <a:lnTo>
                    <a:pt x="312" y="244"/>
                  </a:lnTo>
                  <a:lnTo>
                    <a:pt x="312" y="246"/>
                  </a:lnTo>
                  <a:lnTo>
                    <a:pt x="314" y="246"/>
                  </a:lnTo>
                  <a:lnTo>
                    <a:pt x="314" y="246"/>
                  </a:lnTo>
                  <a:lnTo>
                    <a:pt x="316" y="246"/>
                  </a:lnTo>
                  <a:lnTo>
                    <a:pt x="316" y="244"/>
                  </a:lnTo>
                  <a:lnTo>
                    <a:pt x="314" y="244"/>
                  </a:lnTo>
                  <a:lnTo>
                    <a:pt x="316" y="244"/>
                  </a:lnTo>
                  <a:lnTo>
                    <a:pt x="316" y="242"/>
                  </a:lnTo>
                  <a:lnTo>
                    <a:pt x="318" y="242"/>
                  </a:lnTo>
                  <a:lnTo>
                    <a:pt x="320" y="236"/>
                  </a:lnTo>
                  <a:lnTo>
                    <a:pt x="320" y="234"/>
                  </a:lnTo>
                  <a:lnTo>
                    <a:pt x="320" y="232"/>
                  </a:lnTo>
                  <a:lnTo>
                    <a:pt x="322" y="234"/>
                  </a:lnTo>
                  <a:lnTo>
                    <a:pt x="322" y="232"/>
                  </a:lnTo>
                  <a:lnTo>
                    <a:pt x="322" y="230"/>
                  </a:lnTo>
                  <a:lnTo>
                    <a:pt x="322" y="230"/>
                  </a:lnTo>
                  <a:lnTo>
                    <a:pt x="322" y="230"/>
                  </a:lnTo>
                  <a:lnTo>
                    <a:pt x="324" y="230"/>
                  </a:lnTo>
                  <a:lnTo>
                    <a:pt x="324" y="230"/>
                  </a:lnTo>
                  <a:lnTo>
                    <a:pt x="326" y="228"/>
                  </a:lnTo>
                  <a:lnTo>
                    <a:pt x="326" y="223"/>
                  </a:lnTo>
                  <a:lnTo>
                    <a:pt x="328" y="223"/>
                  </a:lnTo>
                  <a:lnTo>
                    <a:pt x="326" y="223"/>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48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ME</a:t>
              </a:r>
            </a:p>
          </p:txBody>
        </p:sp>
        <p:sp>
          <p:nvSpPr>
            <p:cNvPr id="94" name="Freeform 35">
              <a:extLst>
                <a:ext uri="{FF2B5EF4-FFF2-40B4-BE49-F238E27FC236}">
                  <a16:creationId xmlns:a16="http://schemas.microsoft.com/office/drawing/2014/main" id="{F07EC71E-CDA8-331E-7D3C-DBA4E7EAC8B0}"/>
                </a:ext>
              </a:extLst>
            </p:cNvPr>
            <p:cNvSpPr>
              <a:spLocks noEditPoints="1"/>
            </p:cNvSpPr>
            <p:nvPr/>
          </p:nvSpPr>
          <p:spPr bwMode="auto">
            <a:xfrm>
              <a:off x="4447" y="930"/>
              <a:ext cx="395" cy="189"/>
            </a:xfrm>
            <a:custGeom>
              <a:avLst/>
              <a:gdLst>
                <a:gd name="T0" fmla="*/ 323 w 395"/>
                <a:gd name="T1" fmla="*/ 181 h 189"/>
                <a:gd name="T2" fmla="*/ 389 w 395"/>
                <a:gd name="T3" fmla="*/ 162 h 189"/>
                <a:gd name="T4" fmla="*/ 395 w 395"/>
                <a:gd name="T5" fmla="*/ 128 h 189"/>
                <a:gd name="T6" fmla="*/ 389 w 395"/>
                <a:gd name="T7" fmla="*/ 128 h 189"/>
                <a:gd name="T8" fmla="*/ 385 w 395"/>
                <a:gd name="T9" fmla="*/ 121 h 189"/>
                <a:gd name="T10" fmla="*/ 317 w 395"/>
                <a:gd name="T11" fmla="*/ 46 h 189"/>
                <a:gd name="T12" fmla="*/ 190 w 395"/>
                <a:gd name="T13" fmla="*/ 25 h 189"/>
                <a:gd name="T14" fmla="*/ 18 w 395"/>
                <a:gd name="T15" fmla="*/ 58 h 189"/>
                <a:gd name="T16" fmla="*/ 30 w 395"/>
                <a:gd name="T17" fmla="*/ 93 h 189"/>
                <a:gd name="T18" fmla="*/ 45 w 395"/>
                <a:gd name="T19" fmla="*/ 82 h 189"/>
                <a:gd name="T20" fmla="*/ 57 w 395"/>
                <a:gd name="T21" fmla="*/ 68 h 189"/>
                <a:gd name="T22" fmla="*/ 63 w 395"/>
                <a:gd name="T23" fmla="*/ 62 h 189"/>
                <a:gd name="T24" fmla="*/ 78 w 395"/>
                <a:gd name="T25" fmla="*/ 68 h 189"/>
                <a:gd name="T26" fmla="*/ 96 w 395"/>
                <a:gd name="T27" fmla="*/ 52 h 189"/>
                <a:gd name="T28" fmla="*/ 133 w 395"/>
                <a:gd name="T29" fmla="*/ 50 h 189"/>
                <a:gd name="T30" fmla="*/ 141 w 395"/>
                <a:gd name="T31" fmla="*/ 56 h 189"/>
                <a:gd name="T32" fmla="*/ 149 w 395"/>
                <a:gd name="T33" fmla="*/ 72 h 189"/>
                <a:gd name="T34" fmla="*/ 174 w 395"/>
                <a:gd name="T35" fmla="*/ 91 h 189"/>
                <a:gd name="T36" fmla="*/ 217 w 395"/>
                <a:gd name="T37" fmla="*/ 97 h 189"/>
                <a:gd name="T38" fmla="*/ 219 w 395"/>
                <a:gd name="T39" fmla="*/ 138 h 189"/>
                <a:gd name="T40" fmla="*/ 211 w 395"/>
                <a:gd name="T41" fmla="*/ 152 h 189"/>
                <a:gd name="T42" fmla="*/ 223 w 395"/>
                <a:gd name="T43" fmla="*/ 154 h 189"/>
                <a:gd name="T44" fmla="*/ 231 w 395"/>
                <a:gd name="T45" fmla="*/ 156 h 189"/>
                <a:gd name="T46" fmla="*/ 258 w 395"/>
                <a:gd name="T47" fmla="*/ 173 h 189"/>
                <a:gd name="T48" fmla="*/ 284 w 395"/>
                <a:gd name="T49" fmla="*/ 175 h 189"/>
                <a:gd name="T50" fmla="*/ 295 w 395"/>
                <a:gd name="T51" fmla="*/ 173 h 189"/>
                <a:gd name="T52" fmla="*/ 264 w 395"/>
                <a:gd name="T53" fmla="*/ 150 h 189"/>
                <a:gd name="T54" fmla="*/ 270 w 395"/>
                <a:gd name="T55" fmla="*/ 150 h 189"/>
                <a:gd name="T56" fmla="*/ 270 w 395"/>
                <a:gd name="T57" fmla="*/ 134 h 189"/>
                <a:gd name="T58" fmla="*/ 262 w 395"/>
                <a:gd name="T59" fmla="*/ 101 h 189"/>
                <a:gd name="T60" fmla="*/ 262 w 395"/>
                <a:gd name="T61" fmla="*/ 89 h 189"/>
                <a:gd name="T62" fmla="*/ 270 w 395"/>
                <a:gd name="T63" fmla="*/ 84 h 189"/>
                <a:gd name="T64" fmla="*/ 264 w 395"/>
                <a:gd name="T65" fmla="*/ 72 h 189"/>
                <a:gd name="T66" fmla="*/ 248 w 395"/>
                <a:gd name="T67" fmla="*/ 62 h 189"/>
                <a:gd name="T68" fmla="*/ 258 w 395"/>
                <a:gd name="T69" fmla="*/ 58 h 189"/>
                <a:gd name="T70" fmla="*/ 268 w 395"/>
                <a:gd name="T71" fmla="*/ 48 h 189"/>
                <a:gd name="T72" fmla="*/ 272 w 395"/>
                <a:gd name="T73" fmla="*/ 33 h 189"/>
                <a:gd name="T74" fmla="*/ 284 w 395"/>
                <a:gd name="T75" fmla="*/ 21 h 189"/>
                <a:gd name="T76" fmla="*/ 303 w 395"/>
                <a:gd name="T77" fmla="*/ 15 h 189"/>
                <a:gd name="T78" fmla="*/ 307 w 395"/>
                <a:gd name="T79" fmla="*/ 35 h 189"/>
                <a:gd name="T80" fmla="*/ 278 w 395"/>
                <a:gd name="T81" fmla="*/ 66 h 189"/>
                <a:gd name="T82" fmla="*/ 293 w 395"/>
                <a:gd name="T83" fmla="*/ 66 h 189"/>
                <a:gd name="T84" fmla="*/ 278 w 395"/>
                <a:gd name="T85" fmla="*/ 82 h 189"/>
                <a:gd name="T86" fmla="*/ 278 w 395"/>
                <a:gd name="T87" fmla="*/ 93 h 189"/>
                <a:gd name="T88" fmla="*/ 293 w 395"/>
                <a:gd name="T89" fmla="*/ 91 h 189"/>
                <a:gd name="T90" fmla="*/ 293 w 395"/>
                <a:gd name="T91" fmla="*/ 105 h 189"/>
                <a:gd name="T92" fmla="*/ 282 w 395"/>
                <a:gd name="T93" fmla="*/ 117 h 189"/>
                <a:gd name="T94" fmla="*/ 293 w 395"/>
                <a:gd name="T95" fmla="*/ 115 h 189"/>
                <a:gd name="T96" fmla="*/ 299 w 395"/>
                <a:gd name="T97" fmla="*/ 119 h 189"/>
                <a:gd name="T98" fmla="*/ 311 w 395"/>
                <a:gd name="T99" fmla="*/ 123 h 189"/>
                <a:gd name="T100" fmla="*/ 288 w 395"/>
                <a:gd name="T101" fmla="*/ 130 h 189"/>
                <a:gd name="T102" fmla="*/ 293 w 395"/>
                <a:gd name="T103" fmla="*/ 134 h 189"/>
                <a:gd name="T104" fmla="*/ 299 w 395"/>
                <a:gd name="T105" fmla="*/ 152 h 189"/>
                <a:gd name="T106" fmla="*/ 317 w 395"/>
                <a:gd name="T107" fmla="*/ 152 h 189"/>
                <a:gd name="T108" fmla="*/ 323 w 395"/>
                <a:gd name="T109" fmla="*/ 150 h 189"/>
                <a:gd name="T110" fmla="*/ 336 w 395"/>
                <a:gd name="T111" fmla="*/ 156 h 189"/>
                <a:gd name="T112" fmla="*/ 342 w 395"/>
                <a:gd name="T113" fmla="*/ 164 h 189"/>
                <a:gd name="T114" fmla="*/ 342 w 395"/>
                <a:gd name="T115" fmla="*/ 169 h 189"/>
                <a:gd name="T116" fmla="*/ 338 w 395"/>
                <a:gd name="T117" fmla="*/ 183 h 189"/>
                <a:gd name="T118" fmla="*/ 356 w 395"/>
                <a:gd name="T119" fmla="*/ 181 h 189"/>
                <a:gd name="T120" fmla="*/ 383 w 395"/>
                <a:gd name="T121" fmla="*/ 15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5" h="189">
                  <a:moveTo>
                    <a:pt x="323" y="181"/>
                  </a:moveTo>
                  <a:lnTo>
                    <a:pt x="323" y="179"/>
                  </a:lnTo>
                  <a:lnTo>
                    <a:pt x="321" y="179"/>
                  </a:lnTo>
                  <a:lnTo>
                    <a:pt x="321" y="179"/>
                  </a:lnTo>
                  <a:lnTo>
                    <a:pt x="321" y="181"/>
                  </a:lnTo>
                  <a:lnTo>
                    <a:pt x="321" y="183"/>
                  </a:lnTo>
                  <a:lnTo>
                    <a:pt x="325" y="183"/>
                  </a:lnTo>
                  <a:lnTo>
                    <a:pt x="325" y="183"/>
                  </a:lnTo>
                  <a:lnTo>
                    <a:pt x="325" y="185"/>
                  </a:lnTo>
                  <a:lnTo>
                    <a:pt x="321" y="185"/>
                  </a:lnTo>
                  <a:lnTo>
                    <a:pt x="321" y="185"/>
                  </a:lnTo>
                  <a:lnTo>
                    <a:pt x="323" y="187"/>
                  </a:lnTo>
                  <a:lnTo>
                    <a:pt x="325" y="187"/>
                  </a:lnTo>
                  <a:lnTo>
                    <a:pt x="325" y="187"/>
                  </a:lnTo>
                  <a:lnTo>
                    <a:pt x="325" y="185"/>
                  </a:lnTo>
                  <a:lnTo>
                    <a:pt x="327" y="183"/>
                  </a:lnTo>
                  <a:lnTo>
                    <a:pt x="325" y="181"/>
                  </a:lnTo>
                  <a:lnTo>
                    <a:pt x="323" y="181"/>
                  </a:lnTo>
                  <a:close/>
                  <a:moveTo>
                    <a:pt x="319" y="164"/>
                  </a:moveTo>
                  <a:lnTo>
                    <a:pt x="319" y="162"/>
                  </a:lnTo>
                  <a:lnTo>
                    <a:pt x="317" y="162"/>
                  </a:lnTo>
                  <a:lnTo>
                    <a:pt x="315" y="162"/>
                  </a:lnTo>
                  <a:lnTo>
                    <a:pt x="315" y="164"/>
                  </a:lnTo>
                  <a:lnTo>
                    <a:pt x="315" y="166"/>
                  </a:lnTo>
                  <a:lnTo>
                    <a:pt x="317" y="166"/>
                  </a:lnTo>
                  <a:lnTo>
                    <a:pt x="319" y="166"/>
                  </a:lnTo>
                  <a:lnTo>
                    <a:pt x="321" y="166"/>
                  </a:lnTo>
                  <a:lnTo>
                    <a:pt x="321" y="164"/>
                  </a:lnTo>
                  <a:lnTo>
                    <a:pt x="319" y="164"/>
                  </a:lnTo>
                  <a:close/>
                  <a:moveTo>
                    <a:pt x="393" y="138"/>
                  </a:moveTo>
                  <a:lnTo>
                    <a:pt x="391" y="146"/>
                  </a:lnTo>
                  <a:lnTo>
                    <a:pt x="391" y="150"/>
                  </a:lnTo>
                  <a:lnTo>
                    <a:pt x="391" y="154"/>
                  </a:lnTo>
                  <a:lnTo>
                    <a:pt x="391" y="156"/>
                  </a:lnTo>
                  <a:lnTo>
                    <a:pt x="391" y="158"/>
                  </a:lnTo>
                  <a:lnTo>
                    <a:pt x="389" y="162"/>
                  </a:lnTo>
                  <a:lnTo>
                    <a:pt x="387" y="166"/>
                  </a:lnTo>
                  <a:lnTo>
                    <a:pt x="389" y="166"/>
                  </a:lnTo>
                  <a:lnTo>
                    <a:pt x="389" y="164"/>
                  </a:lnTo>
                  <a:lnTo>
                    <a:pt x="389" y="164"/>
                  </a:lnTo>
                  <a:lnTo>
                    <a:pt x="391" y="160"/>
                  </a:lnTo>
                  <a:lnTo>
                    <a:pt x="393" y="150"/>
                  </a:lnTo>
                  <a:lnTo>
                    <a:pt x="393" y="144"/>
                  </a:lnTo>
                  <a:lnTo>
                    <a:pt x="395" y="138"/>
                  </a:lnTo>
                  <a:lnTo>
                    <a:pt x="395" y="136"/>
                  </a:lnTo>
                  <a:lnTo>
                    <a:pt x="393" y="136"/>
                  </a:lnTo>
                  <a:lnTo>
                    <a:pt x="393" y="138"/>
                  </a:lnTo>
                  <a:close/>
                  <a:moveTo>
                    <a:pt x="395" y="121"/>
                  </a:moveTo>
                  <a:lnTo>
                    <a:pt x="395" y="119"/>
                  </a:lnTo>
                  <a:lnTo>
                    <a:pt x="395" y="119"/>
                  </a:lnTo>
                  <a:lnTo>
                    <a:pt x="393" y="119"/>
                  </a:lnTo>
                  <a:lnTo>
                    <a:pt x="393" y="119"/>
                  </a:lnTo>
                  <a:lnTo>
                    <a:pt x="395" y="121"/>
                  </a:lnTo>
                  <a:lnTo>
                    <a:pt x="395" y="128"/>
                  </a:lnTo>
                  <a:lnTo>
                    <a:pt x="395" y="132"/>
                  </a:lnTo>
                  <a:lnTo>
                    <a:pt x="395" y="130"/>
                  </a:lnTo>
                  <a:lnTo>
                    <a:pt x="395" y="125"/>
                  </a:lnTo>
                  <a:lnTo>
                    <a:pt x="395" y="121"/>
                  </a:lnTo>
                  <a:close/>
                  <a:moveTo>
                    <a:pt x="391" y="142"/>
                  </a:moveTo>
                  <a:lnTo>
                    <a:pt x="391" y="138"/>
                  </a:lnTo>
                  <a:lnTo>
                    <a:pt x="393" y="136"/>
                  </a:lnTo>
                  <a:lnTo>
                    <a:pt x="393" y="134"/>
                  </a:lnTo>
                  <a:lnTo>
                    <a:pt x="393" y="132"/>
                  </a:lnTo>
                  <a:lnTo>
                    <a:pt x="393" y="130"/>
                  </a:lnTo>
                  <a:lnTo>
                    <a:pt x="393" y="130"/>
                  </a:lnTo>
                  <a:lnTo>
                    <a:pt x="391" y="130"/>
                  </a:lnTo>
                  <a:lnTo>
                    <a:pt x="391" y="130"/>
                  </a:lnTo>
                  <a:lnTo>
                    <a:pt x="389" y="130"/>
                  </a:lnTo>
                  <a:lnTo>
                    <a:pt x="389" y="130"/>
                  </a:lnTo>
                  <a:lnTo>
                    <a:pt x="389" y="130"/>
                  </a:lnTo>
                  <a:lnTo>
                    <a:pt x="391" y="128"/>
                  </a:lnTo>
                  <a:lnTo>
                    <a:pt x="389" y="128"/>
                  </a:lnTo>
                  <a:lnTo>
                    <a:pt x="389" y="128"/>
                  </a:lnTo>
                  <a:lnTo>
                    <a:pt x="389" y="128"/>
                  </a:lnTo>
                  <a:lnTo>
                    <a:pt x="389" y="125"/>
                  </a:lnTo>
                  <a:lnTo>
                    <a:pt x="389" y="125"/>
                  </a:lnTo>
                  <a:lnTo>
                    <a:pt x="385" y="125"/>
                  </a:lnTo>
                  <a:lnTo>
                    <a:pt x="385" y="123"/>
                  </a:lnTo>
                  <a:lnTo>
                    <a:pt x="387" y="123"/>
                  </a:lnTo>
                  <a:lnTo>
                    <a:pt x="389" y="123"/>
                  </a:lnTo>
                  <a:lnTo>
                    <a:pt x="391" y="123"/>
                  </a:lnTo>
                  <a:lnTo>
                    <a:pt x="391" y="123"/>
                  </a:lnTo>
                  <a:lnTo>
                    <a:pt x="391" y="123"/>
                  </a:lnTo>
                  <a:lnTo>
                    <a:pt x="389" y="121"/>
                  </a:lnTo>
                  <a:lnTo>
                    <a:pt x="391" y="121"/>
                  </a:lnTo>
                  <a:lnTo>
                    <a:pt x="391" y="121"/>
                  </a:lnTo>
                  <a:lnTo>
                    <a:pt x="391" y="119"/>
                  </a:lnTo>
                  <a:lnTo>
                    <a:pt x="391" y="119"/>
                  </a:lnTo>
                  <a:lnTo>
                    <a:pt x="389" y="119"/>
                  </a:lnTo>
                  <a:lnTo>
                    <a:pt x="385" y="121"/>
                  </a:lnTo>
                  <a:lnTo>
                    <a:pt x="379" y="121"/>
                  </a:lnTo>
                  <a:lnTo>
                    <a:pt x="372" y="123"/>
                  </a:lnTo>
                  <a:lnTo>
                    <a:pt x="366" y="125"/>
                  </a:lnTo>
                  <a:lnTo>
                    <a:pt x="360" y="125"/>
                  </a:lnTo>
                  <a:lnTo>
                    <a:pt x="352" y="128"/>
                  </a:lnTo>
                  <a:lnTo>
                    <a:pt x="346" y="130"/>
                  </a:lnTo>
                  <a:lnTo>
                    <a:pt x="340" y="132"/>
                  </a:lnTo>
                  <a:lnTo>
                    <a:pt x="338" y="125"/>
                  </a:lnTo>
                  <a:lnTo>
                    <a:pt x="338" y="121"/>
                  </a:lnTo>
                  <a:lnTo>
                    <a:pt x="336" y="113"/>
                  </a:lnTo>
                  <a:lnTo>
                    <a:pt x="334" y="105"/>
                  </a:lnTo>
                  <a:lnTo>
                    <a:pt x="331" y="99"/>
                  </a:lnTo>
                  <a:lnTo>
                    <a:pt x="329" y="91"/>
                  </a:lnTo>
                  <a:lnTo>
                    <a:pt x="327" y="82"/>
                  </a:lnTo>
                  <a:lnTo>
                    <a:pt x="325" y="76"/>
                  </a:lnTo>
                  <a:lnTo>
                    <a:pt x="321" y="60"/>
                  </a:lnTo>
                  <a:lnTo>
                    <a:pt x="319" y="54"/>
                  </a:lnTo>
                  <a:lnTo>
                    <a:pt x="317" y="46"/>
                  </a:lnTo>
                  <a:lnTo>
                    <a:pt x="315" y="37"/>
                  </a:lnTo>
                  <a:lnTo>
                    <a:pt x="311" y="29"/>
                  </a:lnTo>
                  <a:lnTo>
                    <a:pt x="309" y="23"/>
                  </a:lnTo>
                  <a:lnTo>
                    <a:pt x="307" y="15"/>
                  </a:lnTo>
                  <a:lnTo>
                    <a:pt x="305" y="7"/>
                  </a:lnTo>
                  <a:lnTo>
                    <a:pt x="303" y="0"/>
                  </a:lnTo>
                  <a:lnTo>
                    <a:pt x="295" y="3"/>
                  </a:lnTo>
                  <a:lnTo>
                    <a:pt x="284" y="5"/>
                  </a:lnTo>
                  <a:lnTo>
                    <a:pt x="276" y="7"/>
                  </a:lnTo>
                  <a:lnTo>
                    <a:pt x="266" y="9"/>
                  </a:lnTo>
                  <a:lnTo>
                    <a:pt x="256" y="11"/>
                  </a:lnTo>
                  <a:lnTo>
                    <a:pt x="248" y="13"/>
                  </a:lnTo>
                  <a:lnTo>
                    <a:pt x="237" y="15"/>
                  </a:lnTo>
                  <a:lnTo>
                    <a:pt x="227" y="17"/>
                  </a:lnTo>
                  <a:lnTo>
                    <a:pt x="219" y="19"/>
                  </a:lnTo>
                  <a:lnTo>
                    <a:pt x="209" y="21"/>
                  </a:lnTo>
                  <a:lnTo>
                    <a:pt x="200" y="23"/>
                  </a:lnTo>
                  <a:lnTo>
                    <a:pt x="190" y="25"/>
                  </a:lnTo>
                  <a:lnTo>
                    <a:pt x="180" y="27"/>
                  </a:lnTo>
                  <a:lnTo>
                    <a:pt x="172" y="29"/>
                  </a:lnTo>
                  <a:lnTo>
                    <a:pt x="162" y="31"/>
                  </a:lnTo>
                  <a:lnTo>
                    <a:pt x="151" y="33"/>
                  </a:lnTo>
                  <a:lnTo>
                    <a:pt x="143" y="33"/>
                  </a:lnTo>
                  <a:lnTo>
                    <a:pt x="133" y="35"/>
                  </a:lnTo>
                  <a:lnTo>
                    <a:pt x="123" y="37"/>
                  </a:lnTo>
                  <a:lnTo>
                    <a:pt x="114" y="39"/>
                  </a:lnTo>
                  <a:lnTo>
                    <a:pt x="104" y="41"/>
                  </a:lnTo>
                  <a:lnTo>
                    <a:pt x="94" y="43"/>
                  </a:lnTo>
                  <a:lnTo>
                    <a:pt x="86" y="46"/>
                  </a:lnTo>
                  <a:lnTo>
                    <a:pt x="75" y="48"/>
                  </a:lnTo>
                  <a:lnTo>
                    <a:pt x="67" y="50"/>
                  </a:lnTo>
                  <a:lnTo>
                    <a:pt x="57" y="52"/>
                  </a:lnTo>
                  <a:lnTo>
                    <a:pt x="47" y="54"/>
                  </a:lnTo>
                  <a:lnTo>
                    <a:pt x="39" y="56"/>
                  </a:lnTo>
                  <a:lnTo>
                    <a:pt x="28" y="56"/>
                  </a:lnTo>
                  <a:lnTo>
                    <a:pt x="18" y="58"/>
                  </a:lnTo>
                  <a:lnTo>
                    <a:pt x="10" y="60"/>
                  </a:lnTo>
                  <a:lnTo>
                    <a:pt x="0" y="62"/>
                  </a:lnTo>
                  <a:lnTo>
                    <a:pt x="8" y="115"/>
                  </a:lnTo>
                  <a:lnTo>
                    <a:pt x="10" y="117"/>
                  </a:lnTo>
                  <a:lnTo>
                    <a:pt x="10" y="117"/>
                  </a:lnTo>
                  <a:lnTo>
                    <a:pt x="10" y="115"/>
                  </a:lnTo>
                  <a:lnTo>
                    <a:pt x="12" y="115"/>
                  </a:lnTo>
                  <a:lnTo>
                    <a:pt x="18" y="105"/>
                  </a:lnTo>
                  <a:lnTo>
                    <a:pt x="20" y="105"/>
                  </a:lnTo>
                  <a:lnTo>
                    <a:pt x="22" y="103"/>
                  </a:lnTo>
                  <a:lnTo>
                    <a:pt x="24" y="103"/>
                  </a:lnTo>
                  <a:lnTo>
                    <a:pt x="24" y="103"/>
                  </a:lnTo>
                  <a:lnTo>
                    <a:pt x="24" y="101"/>
                  </a:lnTo>
                  <a:lnTo>
                    <a:pt x="24" y="99"/>
                  </a:lnTo>
                  <a:lnTo>
                    <a:pt x="26" y="97"/>
                  </a:lnTo>
                  <a:lnTo>
                    <a:pt x="28" y="95"/>
                  </a:lnTo>
                  <a:lnTo>
                    <a:pt x="30" y="93"/>
                  </a:lnTo>
                  <a:lnTo>
                    <a:pt x="30" y="93"/>
                  </a:lnTo>
                  <a:lnTo>
                    <a:pt x="32" y="93"/>
                  </a:lnTo>
                  <a:lnTo>
                    <a:pt x="32" y="91"/>
                  </a:lnTo>
                  <a:lnTo>
                    <a:pt x="35" y="89"/>
                  </a:lnTo>
                  <a:lnTo>
                    <a:pt x="35" y="89"/>
                  </a:lnTo>
                  <a:lnTo>
                    <a:pt x="35" y="89"/>
                  </a:lnTo>
                  <a:lnTo>
                    <a:pt x="35" y="89"/>
                  </a:lnTo>
                  <a:lnTo>
                    <a:pt x="35" y="87"/>
                  </a:lnTo>
                  <a:lnTo>
                    <a:pt x="35" y="84"/>
                  </a:lnTo>
                  <a:lnTo>
                    <a:pt x="35" y="84"/>
                  </a:lnTo>
                  <a:lnTo>
                    <a:pt x="35" y="82"/>
                  </a:lnTo>
                  <a:lnTo>
                    <a:pt x="37" y="82"/>
                  </a:lnTo>
                  <a:lnTo>
                    <a:pt x="39" y="80"/>
                  </a:lnTo>
                  <a:lnTo>
                    <a:pt x="39" y="80"/>
                  </a:lnTo>
                  <a:lnTo>
                    <a:pt x="41" y="80"/>
                  </a:lnTo>
                  <a:lnTo>
                    <a:pt x="41" y="80"/>
                  </a:lnTo>
                  <a:lnTo>
                    <a:pt x="43" y="80"/>
                  </a:lnTo>
                  <a:lnTo>
                    <a:pt x="45" y="82"/>
                  </a:lnTo>
                  <a:lnTo>
                    <a:pt x="45" y="82"/>
                  </a:lnTo>
                  <a:lnTo>
                    <a:pt x="47" y="82"/>
                  </a:lnTo>
                  <a:lnTo>
                    <a:pt x="47" y="82"/>
                  </a:lnTo>
                  <a:lnTo>
                    <a:pt x="49" y="82"/>
                  </a:lnTo>
                  <a:lnTo>
                    <a:pt x="49" y="82"/>
                  </a:lnTo>
                  <a:lnTo>
                    <a:pt x="49" y="80"/>
                  </a:lnTo>
                  <a:lnTo>
                    <a:pt x="49" y="80"/>
                  </a:lnTo>
                  <a:lnTo>
                    <a:pt x="53" y="74"/>
                  </a:lnTo>
                  <a:lnTo>
                    <a:pt x="53" y="72"/>
                  </a:lnTo>
                  <a:lnTo>
                    <a:pt x="55" y="70"/>
                  </a:lnTo>
                  <a:lnTo>
                    <a:pt x="55" y="70"/>
                  </a:lnTo>
                  <a:lnTo>
                    <a:pt x="55" y="70"/>
                  </a:lnTo>
                  <a:lnTo>
                    <a:pt x="55" y="70"/>
                  </a:lnTo>
                  <a:lnTo>
                    <a:pt x="55" y="68"/>
                  </a:lnTo>
                  <a:lnTo>
                    <a:pt x="55" y="68"/>
                  </a:lnTo>
                  <a:lnTo>
                    <a:pt x="57" y="68"/>
                  </a:lnTo>
                  <a:lnTo>
                    <a:pt x="57" y="68"/>
                  </a:lnTo>
                  <a:lnTo>
                    <a:pt x="57" y="68"/>
                  </a:lnTo>
                  <a:lnTo>
                    <a:pt x="57" y="68"/>
                  </a:lnTo>
                  <a:lnTo>
                    <a:pt x="57" y="66"/>
                  </a:lnTo>
                  <a:lnTo>
                    <a:pt x="57" y="66"/>
                  </a:lnTo>
                  <a:lnTo>
                    <a:pt x="57" y="66"/>
                  </a:lnTo>
                  <a:lnTo>
                    <a:pt x="57" y="66"/>
                  </a:lnTo>
                  <a:lnTo>
                    <a:pt x="57" y="64"/>
                  </a:lnTo>
                  <a:lnTo>
                    <a:pt x="59" y="62"/>
                  </a:lnTo>
                  <a:lnTo>
                    <a:pt x="59" y="62"/>
                  </a:lnTo>
                  <a:lnTo>
                    <a:pt x="59" y="60"/>
                  </a:lnTo>
                  <a:lnTo>
                    <a:pt x="59" y="60"/>
                  </a:lnTo>
                  <a:lnTo>
                    <a:pt x="59" y="60"/>
                  </a:lnTo>
                  <a:lnTo>
                    <a:pt x="59" y="60"/>
                  </a:lnTo>
                  <a:lnTo>
                    <a:pt x="59" y="60"/>
                  </a:lnTo>
                  <a:lnTo>
                    <a:pt x="61" y="60"/>
                  </a:lnTo>
                  <a:lnTo>
                    <a:pt x="61" y="60"/>
                  </a:lnTo>
                  <a:lnTo>
                    <a:pt x="61" y="62"/>
                  </a:lnTo>
                  <a:lnTo>
                    <a:pt x="63" y="62"/>
                  </a:lnTo>
                  <a:lnTo>
                    <a:pt x="63" y="62"/>
                  </a:lnTo>
                  <a:lnTo>
                    <a:pt x="63" y="62"/>
                  </a:lnTo>
                  <a:lnTo>
                    <a:pt x="63" y="62"/>
                  </a:lnTo>
                  <a:lnTo>
                    <a:pt x="61" y="64"/>
                  </a:lnTo>
                  <a:lnTo>
                    <a:pt x="61" y="64"/>
                  </a:lnTo>
                  <a:lnTo>
                    <a:pt x="61" y="64"/>
                  </a:lnTo>
                  <a:lnTo>
                    <a:pt x="61" y="64"/>
                  </a:lnTo>
                  <a:lnTo>
                    <a:pt x="61" y="64"/>
                  </a:lnTo>
                  <a:lnTo>
                    <a:pt x="61" y="64"/>
                  </a:lnTo>
                  <a:lnTo>
                    <a:pt x="61" y="66"/>
                  </a:lnTo>
                  <a:lnTo>
                    <a:pt x="61" y="66"/>
                  </a:lnTo>
                  <a:lnTo>
                    <a:pt x="63" y="66"/>
                  </a:lnTo>
                  <a:lnTo>
                    <a:pt x="63" y="66"/>
                  </a:lnTo>
                  <a:lnTo>
                    <a:pt x="63" y="66"/>
                  </a:lnTo>
                  <a:lnTo>
                    <a:pt x="67" y="66"/>
                  </a:lnTo>
                  <a:lnTo>
                    <a:pt x="67" y="68"/>
                  </a:lnTo>
                  <a:lnTo>
                    <a:pt x="67" y="68"/>
                  </a:lnTo>
                  <a:lnTo>
                    <a:pt x="69" y="68"/>
                  </a:lnTo>
                  <a:lnTo>
                    <a:pt x="71" y="68"/>
                  </a:lnTo>
                  <a:lnTo>
                    <a:pt x="78" y="68"/>
                  </a:lnTo>
                  <a:lnTo>
                    <a:pt x="78" y="68"/>
                  </a:lnTo>
                  <a:lnTo>
                    <a:pt x="82" y="66"/>
                  </a:lnTo>
                  <a:lnTo>
                    <a:pt x="86" y="66"/>
                  </a:lnTo>
                  <a:lnTo>
                    <a:pt x="90" y="64"/>
                  </a:lnTo>
                  <a:lnTo>
                    <a:pt x="90" y="62"/>
                  </a:lnTo>
                  <a:lnTo>
                    <a:pt x="88" y="62"/>
                  </a:lnTo>
                  <a:lnTo>
                    <a:pt x="88" y="62"/>
                  </a:lnTo>
                  <a:lnTo>
                    <a:pt x="88" y="60"/>
                  </a:lnTo>
                  <a:lnTo>
                    <a:pt x="88" y="60"/>
                  </a:lnTo>
                  <a:lnTo>
                    <a:pt x="90" y="60"/>
                  </a:lnTo>
                  <a:lnTo>
                    <a:pt x="90" y="58"/>
                  </a:lnTo>
                  <a:lnTo>
                    <a:pt x="88" y="56"/>
                  </a:lnTo>
                  <a:lnTo>
                    <a:pt x="88" y="56"/>
                  </a:lnTo>
                  <a:lnTo>
                    <a:pt x="90" y="56"/>
                  </a:lnTo>
                  <a:lnTo>
                    <a:pt x="92" y="56"/>
                  </a:lnTo>
                  <a:lnTo>
                    <a:pt x="92" y="54"/>
                  </a:lnTo>
                  <a:lnTo>
                    <a:pt x="94" y="54"/>
                  </a:lnTo>
                  <a:lnTo>
                    <a:pt x="96" y="52"/>
                  </a:lnTo>
                  <a:lnTo>
                    <a:pt x="98" y="52"/>
                  </a:lnTo>
                  <a:lnTo>
                    <a:pt x="100" y="52"/>
                  </a:lnTo>
                  <a:lnTo>
                    <a:pt x="100" y="52"/>
                  </a:lnTo>
                  <a:lnTo>
                    <a:pt x="102" y="50"/>
                  </a:lnTo>
                  <a:lnTo>
                    <a:pt x="102" y="48"/>
                  </a:lnTo>
                  <a:lnTo>
                    <a:pt x="104" y="46"/>
                  </a:lnTo>
                  <a:lnTo>
                    <a:pt x="104" y="43"/>
                  </a:lnTo>
                  <a:lnTo>
                    <a:pt x="106" y="43"/>
                  </a:lnTo>
                  <a:lnTo>
                    <a:pt x="106" y="43"/>
                  </a:lnTo>
                  <a:lnTo>
                    <a:pt x="110" y="43"/>
                  </a:lnTo>
                  <a:lnTo>
                    <a:pt x="114" y="43"/>
                  </a:lnTo>
                  <a:lnTo>
                    <a:pt x="123" y="50"/>
                  </a:lnTo>
                  <a:lnTo>
                    <a:pt x="125" y="50"/>
                  </a:lnTo>
                  <a:lnTo>
                    <a:pt x="127" y="50"/>
                  </a:lnTo>
                  <a:lnTo>
                    <a:pt x="129" y="50"/>
                  </a:lnTo>
                  <a:lnTo>
                    <a:pt x="129" y="50"/>
                  </a:lnTo>
                  <a:lnTo>
                    <a:pt x="131" y="50"/>
                  </a:lnTo>
                  <a:lnTo>
                    <a:pt x="133" y="50"/>
                  </a:lnTo>
                  <a:lnTo>
                    <a:pt x="133" y="48"/>
                  </a:lnTo>
                  <a:lnTo>
                    <a:pt x="133" y="48"/>
                  </a:lnTo>
                  <a:lnTo>
                    <a:pt x="135" y="48"/>
                  </a:lnTo>
                  <a:lnTo>
                    <a:pt x="135" y="48"/>
                  </a:lnTo>
                  <a:lnTo>
                    <a:pt x="137" y="48"/>
                  </a:lnTo>
                  <a:lnTo>
                    <a:pt x="139" y="50"/>
                  </a:lnTo>
                  <a:lnTo>
                    <a:pt x="139" y="50"/>
                  </a:lnTo>
                  <a:lnTo>
                    <a:pt x="137" y="52"/>
                  </a:lnTo>
                  <a:lnTo>
                    <a:pt x="135" y="54"/>
                  </a:lnTo>
                  <a:lnTo>
                    <a:pt x="135" y="54"/>
                  </a:lnTo>
                  <a:lnTo>
                    <a:pt x="137" y="58"/>
                  </a:lnTo>
                  <a:lnTo>
                    <a:pt x="139" y="58"/>
                  </a:lnTo>
                  <a:lnTo>
                    <a:pt x="139" y="56"/>
                  </a:lnTo>
                  <a:lnTo>
                    <a:pt x="139" y="56"/>
                  </a:lnTo>
                  <a:lnTo>
                    <a:pt x="139" y="54"/>
                  </a:lnTo>
                  <a:lnTo>
                    <a:pt x="139" y="54"/>
                  </a:lnTo>
                  <a:lnTo>
                    <a:pt x="141" y="56"/>
                  </a:lnTo>
                  <a:lnTo>
                    <a:pt x="141" y="56"/>
                  </a:lnTo>
                  <a:lnTo>
                    <a:pt x="139" y="58"/>
                  </a:lnTo>
                  <a:lnTo>
                    <a:pt x="139" y="58"/>
                  </a:lnTo>
                  <a:lnTo>
                    <a:pt x="141" y="60"/>
                  </a:lnTo>
                  <a:lnTo>
                    <a:pt x="143" y="58"/>
                  </a:lnTo>
                  <a:lnTo>
                    <a:pt x="143" y="58"/>
                  </a:lnTo>
                  <a:lnTo>
                    <a:pt x="145" y="58"/>
                  </a:lnTo>
                  <a:lnTo>
                    <a:pt x="145" y="58"/>
                  </a:lnTo>
                  <a:lnTo>
                    <a:pt x="145" y="58"/>
                  </a:lnTo>
                  <a:lnTo>
                    <a:pt x="143" y="60"/>
                  </a:lnTo>
                  <a:lnTo>
                    <a:pt x="143" y="62"/>
                  </a:lnTo>
                  <a:lnTo>
                    <a:pt x="145" y="62"/>
                  </a:lnTo>
                  <a:lnTo>
                    <a:pt x="143" y="64"/>
                  </a:lnTo>
                  <a:lnTo>
                    <a:pt x="145" y="64"/>
                  </a:lnTo>
                  <a:lnTo>
                    <a:pt x="149" y="66"/>
                  </a:lnTo>
                  <a:lnTo>
                    <a:pt x="149" y="68"/>
                  </a:lnTo>
                  <a:lnTo>
                    <a:pt x="149" y="68"/>
                  </a:lnTo>
                  <a:lnTo>
                    <a:pt x="149" y="72"/>
                  </a:lnTo>
                  <a:lnTo>
                    <a:pt x="149" y="72"/>
                  </a:lnTo>
                  <a:lnTo>
                    <a:pt x="151" y="74"/>
                  </a:lnTo>
                  <a:lnTo>
                    <a:pt x="151" y="74"/>
                  </a:lnTo>
                  <a:lnTo>
                    <a:pt x="153" y="76"/>
                  </a:lnTo>
                  <a:lnTo>
                    <a:pt x="157" y="74"/>
                  </a:lnTo>
                  <a:lnTo>
                    <a:pt x="159" y="74"/>
                  </a:lnTo>
                  <a:lnTo>
                    <a:pt x="164" y="74"/>
                  </a:lnTo>
                  <a:lnTo>
                    <a:pt x="168" y="76"/>
                  </a:lnTo>
                  <a:lnTo>
                    <a:pt x="168" y="76"/>
                  </a:lnTo>
                  <a:lnTo>
                    <a:pt x="170" y="78"/>
                  </a:lnTo>
                  <a:lnTo>
                    <a:pt x="172" y="78"/>
                  </a:lnTo>
                  <a:lnTo>
                    <a:pt x="174" y="78"/>
                  </a:lnTo>
                  <a:lnTo>
                    <a:pt x="176" y="80"/>
                  </a:lnTo>
                  <a:lnTo>
                    <a:pt x="178" y="80"/>
                  </a:lnTo>
                  <a:lnTo>
                    <a:pt x="178" y="82"/>
                  </a:lnTo>
                  <a:lnTo>
                    <a:pt x="176" y="84"/>
                  </a:lnTo>
                  <a:lnTo>
                    <a:pt x="174" y="89"/>
                  </a:lnTo>
                  <a:lnTo>
                    <a:pt x="174" y="91"/>
                  </a:lnTo>
                  <a:lnTo>
                    <a:pt x="174" y="91"/>
                  </a:lnTo>
                  <a:lnTo>
                    <a:pt x="176" y="93"/>
                  </a:lnTo>
                  <a:lnTo>
                    <a:pt x="178" y="93"/>
                  </a:lnTo>
                  <a:lnTo>
                    <a:pt x="182" y="97"/>
                  </a:lnTo>
                  <a:lnTo>
                    <a:pt x="184" y="97"/>
                  </a:lnTo>
                  <a:lnTo>
                    <a:pt x="190" y="95"/>
                  </a:lnTo>
                  <a:lnTo>
                    <a:pt x="194" y="97"/>
                  </a:lnTo>
                  <a:lnTo>
                    <a:pt x="196" y="97"/>
                  </a:lnTo>
                  <a:lnTo>
                    <a:pt x="198" y="99"/>
                  </a:lnTo>
                  <a:lnTo>
                    <a:pt x="198" y="99"/>
                  </a:lnTo>
                  <a:lnTo>
                    <a:pt x="200" y="101"/>
                  </a:lnTo>
                  <a:lnTo>
                    <a:pt x="200" y="103"/>
                  </a:lnTo>
                  <a:lnTo>
                    <a:pt x="202" y="103"/>
                  </a:lnTo>
                  <a:lnTo>
                    <a:pt x="202" y="103"/>
                  </a:lnTo>
                  <a:lnTo>
                    <a:pt x="207" y="103"/>
                  </a:lnTo>
                  <a:lnTo>
                    <a:pt x="209" y="103"/>
                  </a:lnTo>
                  <a:lnTo>
                    <a:pt x="211" y="103"/>
                  </a:lnTo>
                  <a:lnTo>
                    <a:pt x="211" y="105"/>
                  </a:lnTo>
                  <a:lnTo>
                    <a:pt x="217" y="97"/>
                  </a:lnTo>
                  <a:lnTo>
                    <a:pt x="227" y="107"/>
                  </a:lnTo>
                  <a:lnTo>
                    <a:pt x="223" y="117"/>
                  </a:lnTo>
                  <a:lnTo>
                    <a:pt x="223" y="119"/>
                  </a:lnTo>
                  <a:lnTo>
                    <a:pt x="225" y="121"/>
                  </a:lnTo>
                  <a:lnTo>
                    <a:pt x="225" y="123"/>
                  </a:lnTo>
                  <a:lnTo>
                    <a:pt x="225" y="123"/>
                  </a:lnTo>
                  <a:lnTo>
                    <a:pt x="223" y="123"/>
                  </a:lnTo>
                  <a:lnTo>
                    <a:pt x="223" y="125"/>
                  </a:lnTo>
                  <a:lnTo>
                    <a:pt x="225" y="125"/>
                  </a:lnTo>
                  <a:lnTo>
                    <a:pt x="225" y="128"/>
                  </a:lnTo>
                  <a:lnTo>
                    <a:pt x="221" y="130"/>
                  </a:lnTo>
                  <a:lnTo>
                    <a:pt x="219" y="130"/>
                  </a:lnTo>
                  <a:lnTo>
                    <a:pt x="219" y="132"/>
                  </a:lnTo>
                  <a:lnTo>
                    <a:pt x="219" y="132"/>
                  </a:lnTo>
                  <a:lnTo>
                    <a:pt x="219" y="134"/>
                  </a:lnTo>
                  <a:lnTo>
                    <a:pt x="219" y="136"/>
                  </a:lnTo>
                  <a:lnTo>
                    <a:pt x="219" y="136"/>
                  </a:lnTo>
                  <a:lnTo>
                    <a:pt x="219" y="138"/>
                  </a:lnTo>
                  <a:lnTo>
                    <a:pt x="217" y="140"/>
                  </a:lnTo>
                  <a:lnTo>
                    <a:pt x="217" y="140"/>
                  </a:lnTo>
                  <a:lnTo>
                    <a:pt x="215" y="140"/>
                  </a:lnTo>
                  <a:lnTo>
                    <a:pt x="215" y="140"/>
                  </a:lnTo>
                  <a:lnTo>
                    <a:pt x="215" y="142"/>
                  </a:lnTo>
                  <a:lnTo>
                    <a:pt x="213" y="142"/>
                  </a:lnTo>
                  <a:lnTo>
                    <a:pt x="213" y="142"/>
                  </a:lnTo>
                  <a:lnTo>
                    <a:pt x="213" y="142"/>
                  </a:lnTo>
                  <a:lnTo>
                    <a:pt x="213" y="144"/>
                  </a:lnTo>
                  <a:lnTo>
                    <a:pt x="213" y="144"/>
                  </a:lnTo>
                  <a:lnTo>
                    <a:pt x="213" y="144"/>
                  </a:lnTo>
                  <a:lnTo>
                    <a:pt x="215" y="144"/>
                  </a:lnTo>
                  <a:lnTo>
                    <a:pt x="215" y="144"/>
                  </a:lnTo>
                  <a:lnTo>
                    <a:pt x="213" y="146"/>
                  </a:lnTo>
                  <a:lnTo>
                    <a:pt x="213" y="146"/>
                  </a:lnTo>
                  <a:lnTo>
                    <a:pt x="211" y="148"/>
                  </a:lnTo>
                  <a:lnTo>
                    <a:pt x="211" y="150"/>
                  </a:lnTo>
                  <a:lnTo>
                    <a:pt x="211" y="152"/>
                  </a:lnTo>
                  <a:lnTo>
                    <a:pt x="209" y="152"/>
                  </a:lnTo>
                  <a:lnTo>
                    <a:pt x="209" y="154"/>
                  </a:lnTo>
                  <a:lnTo>
                    <a:pt x="211" y="158"/>
                  </a:lnTo>
                  <a:lnTo>
                    <a:pt x="211" y="160"/>
                  </a:lnTo>
                  <a:lnTo>
                    <a:pt x="213" y="162"/>
                  </a:lnTo>
                  <a:lnTo>
                    <a:pt x="213" y="164"/>
                  </a:lnTo>
                  <a:lnTo>
                    <a:pt x="215" y="166"/>
                  </a:lnTo>
                  <a:lnTo>
                    <a:pt x="217" y="166"/>
                  </a:lnTo>
                  <a:lnTo>
                    <a:pt x="219" y="166"/>
                  </a:lnTo>
                  <a:lnTo>
                    <a:pt x="219" y="164"/>
                  </a:lnTo>
                  <a:lnTo>
                    <a:pt x="221" y="164"/>
                  </a:lnTo>
                  <a:lnTo>
                    <a:pt x="223" y="162"/>
                  </a:lnTo>
                  <a:lnTo>
                    <a:pt x="223" y="158"/>
                  </a:lnTo>
                  <a:lnTo>
                    <a:pt x="221" y="158"/>
                  </a:lnTo>
                  <a:lnTo>
                    <a:pt x="221" y="156"/>
                  </a:lnTo>
                  <a:lnTo>
                    <a:pt x="221" y="156"/>
                  </a:lnTo>
                  <a:lnTo>
                    <a:pt x="221" y="156"/>
                  </a:lnTo>
                  <a:lnTo>
                    <a:pt x="223" y="154"/>
                  </a:lnTo>
                  <a:lnTo>
                    <a:pt x="223" y="154"/>
                  </a:lnTo>
                  <a:lnTo>
                    <a:pt x="223" y="154"/>
                  </a:lnTo>
                  <a:lnTo>
                    <a:pt x="223" y="154"/>
                  </a:lnTo>
                  <a:lnTo>
                    <a:pt x="223" y="156"/>
                  </a:lnTo>
                  <a:lnTo>
                    <a:pt x="223" y="156"/>
                  </a:lnTo>
                  <a:lnTo>
                    <a:pt x="223" y="156"/>
                  </a:lnTo>
                  <a:lnTo>
                    <a:pt x="223" y="158"/>
                  </a:lnTo>
                  <a:lnTo>
                    <a:pt x="225" y="158"/>
                  </a:lnTo>
                  <a:lnTo>
                    <a:pt x="225" y="160"/>
                  </a:lnTo>
                  <a:lnTo>
                    <a:pt x="227" y="158"/>
                  </a:lnTo>
                  <a:lnTo>
                    <a:pt x="227" y="158"/>
                  </a:lnTo>
                  <a:lnTo>
                    <a:pt x="229" y="156"/>
                  </a:lnTo>
                  <a:lnTo>
                    <a:pt x="229" y="154"/>
                  </a:lnTo>
                  <a:lnTo>
                    <a:pt x="229" y="154"/>
                  </a:lnTo>
                  <a:lnTo>
                    <a:pt x="229" y="152"/>
                  </a:lnTo>
                  <a:lnTo>
                    <a:pt x="229" y="152"/>
                  </a:lnTo>
                  <a:lnTo>
                    <a:pt x="231" y="154"/>
                  </a:lnTo>
                  <a:lnTo>
                    <a:pt x="231" y="156"/>
                  </a:lnTo>
                  <a:lnTo>
                    <a:pt x="235" y="162"/>
                  </a:lnTo>
                  <a:lnTo>
                    <a:pt x="237" y="164"/>
                  </a:lnTo>
                  <a:lnTo>
                    <a:pt x="245" y="169"/>
                  </a:lnTo>
                  <a:lnTo>
                    <a:pt x="248" y="171"/>
                  </a:lnTo>
                  <a:lnTo>
                    <a:pt x="250" y="171"/>
                  </a:lnTo>
                  <a:lnTo>
                    <a:pt x="250" y="166"/>
                  </a:lnTo>
                  <a:lnTo>
                    <a:pt x="248" y="164"/>
                  </a:lnTo>
                  <a:lnTo>
                    <a:pt x="245" y="162"/>
                  </a:lnTo>
                  <a:lnTo>
                    <a:pt x="243" y="158"/>
                  </a:lnTo>
                  <a:lnTo>
                    <a:pt x="245" y="158"/>
                  </a:lnTo>
                  <a:lnTo>
                    <a:pt x="248" y="160"/>
                  </a:lnTo>
                  <a:lnTo>
                    <a:pt x="250" y="162"/>
                  </a:lnTo>
                  <a:lnTo>
                    <a:pt x="252" y="166"/>
                  </a:lnTo>
                  <a:lnTo>
                    <a:pt x="252" y="169"/>
                  </a:lnTo>
                  <a:lnTo>
                    <a:pt x="252" y="169"/>
                  </a:lnTo>
                  <a:lnTo>
                    <a:pt x="254" y="171"/>
                  </a:lnTo>
                  <a:lnTo>
                    <a:pt x="256" y="173"/>
                  </a:lnTo>
                  <a:lnTo>
                    <a:pt x="258" y="173"/>
                  </a:lnTo>
                  <a:lnTo>
                    <a:pt x="264" y="171"/>
                  </a:lnTo>
                  <a:lnTo>
                    <a:pt x="268" y="169"/>
                  </a:lnTo>
                  <a:lnTo>
                    <a:pt x="270" y="171"/>
                  </a:lnTo>
                  <a:lnTo>
                    <a:pt x="272" y="171"/>
                  </a:lnTo>
                  <a:lnTo>
                    <a:pt x="274" y="173"/>
                  </a:lnTo>
                  <a:lnTo>
                    <a:pt x="274" y="173"/>
                  </a:lnTo>
                  <a:lnTo>
                    <a:pt x="276" y="175"/>
                  </a:lnTo>
                  <a:lnTo>
                    <a:pt x="276" y="175"/>
                  </a:lnTo>
                  <a:lnTo>
                    <a:pt x="278" y="179"/>
                  </a:lnTo>
                  <a:lnTo>
                    <a:pt x="278" y="179"/>
                  </a:lnTo>
                  <a:lnTo>
                    <a:pt x="280" y="179"/>
                  </a:lnTo>
                  <a:lnTo>
                    <a:pt x="280" y="179"/>
                  </a:lnTo>
                  <a:lnTo>
                    <a:pt x="280" y="175"/>
                  </a:lnTo>
                  <a:lnTo>
                    <a:pt x="282" y="177"/>
                  </a:lnTo>
                  <a:lnTo>
                    <a:pt x="282" y="179"/>
                  </a:lnTo>
                  <a:lnTo>
                    <a:pt x="284" y="177"/>
                  </a:lnTo>
                  <a:lnTo>
                    <a:pt x="284" y="175"/>
                  </a:lnTo>
                  <a:lnTo>
                    <a:pt x="284" y="175"/>
                  </a:lnTo>
                  <a:lnTo>
                    <a:pt x="284" y="173"/>
                  </a:lnTo>
                  <a:lnTo>
                    <a:pt x="284" y="173"/>
                  </a:lnTo>
                  <a:lnTo>
                    <a:pt x="282" y="171"/>
                  </a:lnTo>
                  <a:lnTo>
                    <a:pt x="282" y="171"/>
                  </a:lnTo>
                  <a:lnTo>
                    <a:pt x="284" y="173"/>
                  </a:lnTo>
                  <a:lnTo>
                    <a:pt x="286" y="175"/>
                  </a:lnTo>
                  <a:lnTo>
                    <a:pt x="288" y="179"/>
                  </a:lnTo>
                  <a:lnTo>
                    <a:pt x="288" y="179"/>
                  </a:lnTo>
                  <a:lnTo>
                    <a:pt x="291" y="181"/>
                  </a:lnTo>
                  <a:lnTo>
                    <a:pt x="299" y="185"/>
                  </a:lnTo>
                  <a:lnTo>
                    <a:pt x="299" y="183"/>
                  </a:lnTo>
                  <a:lnTo>
                    <a:pt x="297" y="183"/>
                  </a:lnTo>
                  <a:lnTo>
                    <a:pt x="297" y="181"/>
                  </a:lnTo>
                  <a:lnTo>
                    <a:pt x="297" y="181"/>
                  </a:lnTo>
                  <a:lnTo>
                    <a:pt x="297" y="179"/>
                  </a:lnTo>
                  <a:lnTo>
                    <a:pt x="297" y="177"/>
                  </a:lnTo>
                  <a:lnTo>
                    <a:pt x="297" y="175"/>
                  </a:lnTo>
                  <a:lnTo>
                    <a:pt x="295" y="173"/>
                  </a:lnTo>
                  <a:lnTo>
                    <a:pt x="293" y="169"/>
                  </a:lnTo>
                  <a:lnTo>
                    <a:pt x="288" y="169"/>
                  </a:lnTo>
                  <a:lnTo>
                    <a:pt x="288" y="166"/>
                  </a:lnTo>
                  <a:lnTo>
                    <a:pt x="286" y="164"/>
                  </a:lnTo>
                  <a:lnTo>
                    <a:pt x="286" y="164"/>
                  </a:lnTo>
                  <a:lnTo>
                    <a:pt x="288" y="162"/>
                  </a:lnTo>
                  <a:lnTo>
                    <a:pt x="288" y="160"/>
                  </a:lnTo>
                  <a:lnTo>
                    <a:pt x="286" y="158"/>
                  </a:lnTo>
                  <a:lnTo>
                    <a:pt x="284" y="158"/>
                  </a:lnTo>
                  <a:lnTo>
                    <a:pt x="282" y="160"/>
                  </a:lnTo>
                  <a:lnTo>
                    <a:pt x="280" y="160"/>
                  </a:lnTo>
                  <a:lnTo>
                    <a:pt x="278" y="160"/>
                  </a:lnTo>
                  <a:lnTo>
                    <a:pt x="276" y="158"/>
                  </a:lnTo>
                  <a:lnTo>
                    <a:pt x="276" y="156"/>
                  </a:lnTo>
                  <a:lnTo>
                    <a:pt x="274" y="154"/>
                  </a:lnTo>
                  <a:lnTo>
                    <a:pt x="274" y="154"/>
                  </a:lnTo>
                  <a:lnTo>
                    <a:pt x="268" y="152"/>
                  </a:lnTo>
                  <a:lnTo>
                    <a:pt x="264" y="150"/>
                  </a:lnTo>
                  <a:lnTo>
                    <a:pt x="262" y="148"/>
                  </a:lnTo>
                  <a:lnTo>
                    <a:pt x="260" y="146"/>
                  </a:lnTo>
                  <a:lnTo>
                    <a:pt x="258" y="142"/>
                  </a:lnTo>
                  <a:lnTo>
                    <a:pt x="258" y="140"/>
                  </a:lnTo>
                  <a:lnTo>
                    <a:pt x="258" y="140"/>
                  </a:lnTo>
                  <a:lnTo>
                    <a:pt x="258" y="140"/>
                  </a:lnTo>
                  <a:lnTo>
                    <a:pt x="256" y="138"/>
                  </a:lnTo>
                  <a:lnTo>
                    <a:pt x="256" y="136"/>
                  </a:lnTo>
                  <a:lnTo>
                    <a:pt x="254" y="128"/>
                  </a:lnTo>
                  <a:lnTo>
                    <a:pt x="254" y="128"/>
                  </a:lnTo>
                  <a:lnTo>
                    <a:pt x="254" y="125"/>
                  </a:lnTo>
                  <a:lnTo>
                    <a:pt x="254" y="125"/>
                  </a:lnTo>
                  <a:lnTo>
                    <a:pt x="256" y="128"/>
                  </a:lnTo>
                  <a:lnTo>
                    <a:pt x="260" y="142"/>
                  </a:lnTo>
                  <a:lnTo>
                    <a:pt x="262" y="144"/>
                  </a:lnTo>
                  <a:lnTo>
                    <a:pt x="262" y="144"/>
                  </a:lnTo>
                  <a:lnTo>
                    <a:pt x="270" y="150"/>
                  </a:lnTo>
                  <a:lnTo>
                    <a:pt x="270" y="150"/>
                  </a:lnTo>
                  <a:lnTo>
                    <a:pt x="274" y="150"/>
                  </a:lnTo>
                  <a:lnTo>
                    <a:pt x="274" y="150"/>
                  </a:lnTo>
                  <a:lnTo>
                    <a:pt x="276" y="152"/>
                  </a:lnTo>
                  <a:lnTo>
                    <a:pt x="276" y="152"/>
                  </a:lnTo>
                  <a:lnTo>
                    <a:pt x="278" y="152"/>
                  </a:lnTo>
                  <a:lnTo>
                    <a:pt x="278" y="154"/>
                  </a:lnTo>
                  <a:lnTo>
                    <a:pt x="278" y="154"/>
                  </a:lnTo>
                  <a:lnTo>
                    <a:pt x="280" y="156"/>
                  </a:lnTo>
                  <a:lnTo>
                    <a:pt x="280" y="156"/>
                  </a:lnTo>
                  <a:lnTo>
                    <a:pt x="284" y="154"/>
                  </a:lnTo>
                  <a:lnTo>
                    <a:pt x="286" y="154"/>
                  </a:lnTo>
                  <a:lnTo>
                    <a:pt x="286" y="152"/>
                  </a:lnTo>
                  <a:lnTo>
                    <a:pt x="284" y="150"/>
                  </a:lnTo>
                  <a:lnTo>
                    <a:pt x="282" y="148"/>
                  </a:lnTo>
                  <a:lnTo>
                    <a:pt x="280" y="144"/>
                  </a:lnTo>
                  <a:lnTo>
                    <a:pt x="272" y="140"/>
                  </a:lnTo>
                  <a:lnTo>
                    <a:pt x="270" y="136"/>
                  </a:lnTo>
                  <a:lnTo>
                    <a:pt x="270" y="134"/>
                  </a:lnTo>
                  <a:lnTo>
                    <a:pt x="270" y="125"/>
                  </a:lnTo>
                  <a:lnTo>
                    <a:pt x="268" y="125"/>
                  </a:lnTo>
                  <a:lnTo>
                    <a:pt x="268" y="123"/>
                  </a:lnTo>
                  <a:lnTo>
                    <a:pt x="266" y="121"/>
                  </a:lnTo>
                  <a:lnTo>
                    <a:pt x="266" y="117"/>
                  </a:lnTo>
                  <a:lnTo>
                    <a:pt x="264" y="117"/>
                  </a:lnTo>
                  <a:lnTo>
                    <a:pt x="262" y="115"/>
                  </a:lnTo>
                  <a:lnTo>
                    <a:pt x="262" y="113"/>
                  </a:lnTo>
                  <a:lnTo>
                    <a:pt x="262" y="111"/>
                  </a:lnTo>
                  <a:lnTo>
                    <a:pt x="266" y="109"/>
                  </a:lnTo>
                  <a:lnTo>
                    <a:pt x="266" y="107"/>
                  </a:lnTo>
                  <a:lnTo>
                    <a:pt x="266" y="105"/>
                  </a:lnTo>
                  <a:lnTo>
                    <a:pt x="266" y="105"/>
                  </a:lnTo>
                  <a:lnTo>
                    <a:pt x="264" y="107"/>
                  </a:lnTo>
                  <a:lnTo>
                    <a:pt x="262" y="105"/>
                  </a:lnTo>
                  <a:lnTo>
                    <a:pt x="262" y="103"/>
                  </a:lnTo>
                  <a:lnTo>
                    <a:pt x="262" y="101"/>
                  </a:lnTo>
                  <a:lnTo>
                    <a:pt x="262" y="101"/>
                  </a:lnTo>
                  <a:lnTo>
                    <a:pt x="260" y="101"/>
                  </a:lnTo>
                  <a:lnTo>
                    <a:pt x="260" y="101"/>
                  </a:lnTo>
                  <a:lnTo>
                    <a:pt x="262" y="99"/>
                  </a:lnTo>
                  <a:lnTo>
                    <a:pt x="264" y="99"/>
                  </a:lnTo>
                  <a:lnTo>
                    <a:pt x="264" y="101"/>
                  </a:lnTo>
                  <a:lnTo>
                    <a:pt x="266" y="99"/>
                  </a:lnTo>
                  <a:lnTo>
                    <a:pt x="264" y="97"/>
                  </a:lnTo>
                  <a:lnTo>
                    <a:pt x="262" y="97"/>
                  </a:lnTo>
                  <a:lnTo>
                    <a:pt x="260" y="95"/>
                  </a:lnTo>
                  <a:lnTo>
                    <a:pt x="260" y="95"/>
                  </a:lnTo>
                  <a:lnTo>
                    <a:pt x="258" y="93"/>
                  </a:lnTo>
                  <a:lnTo>
                    <a:pt x="260" y="93"/>
                  </a:lnTo>
                  <a:lnTo>
                    <a:pt x="262" y="93"/>
                  </a:lnTo>
                  <a:lnTo>
                    <a:pt x="266" y="95"/>
                  </a:lnTo>
                  <a:lnTo>
                    <a:pt x="268" y="95"/>
                  </a:lnTo>
                  <a:lnTo>
                    <a:pt x="268" y="95"/>
                  </a:lnTo>
                  <a:lnTo>
                    <a:pt x="266" y="93"/>
                  </a:lnTo>
                  <a:lnTo>
                    <a:pt x="262" y="89"/>
                  </a:lnTo>
                  <a:lnTo>
                    <a:pt x="260" y="87"/>
                  </a:lnTo>
                  <a:lnTo>
                    <a:pt x="258" y="84"/>
                  </a:lnTo>
                  <a:lnTo>
                    <a:pt x="256" y="84"/>
                  </a:lnTo>
                  <a:lnTo>
                    <a:pt x="256" y="84"/>
                  </a:lnTo>
                  <a:lnTo>
                    <a:pt x="254" y="84"/>
                  </a:lnTo>
                  <a:lnTo>
                    <a:pt x="254" y="82"/>
                  </a:lnTo>
                  <a:lnTo>
                    <a:pt x="254" y="82"/>
                  </a:lnTo>
                  <a:lnTo>
                    <a:pt x="256" y="80"/>
                  </a:lnTo>
                  <a:lnTo>
                    <a:pt x="256" y="80"/>
                  </a:lnTo>
                  <a:lnTo>
                    <a:pt x="258" y="82"/>
                  </a:lnTo>
                  <a:lnTo>
                    <a:pt x="260" y="84"/>
                  </a:lnTo>
                  <a:lnTo>
                    <a:pt x="264" y="89"/>
                  </a:lnTo>
                  <a:lnTo>
                    <a:pt x="266" y="87"/>
                  </a:lnTo>
                  <a:lnTo>
                    <a:pt x="266" y="87"/>
                  </a:lnTo>
                  <a:lnTo>
                    <a:pt x="266" y="87"/>
                  </a:lnTo>
                  <a:lnTo>
                    <a:pt x="268" y="87"/>
                  </a:lnTo>
                  <a:lnTo>
                    <a:pt x="270" y="84"/>
                  </a:lnTo>
                  <a:lnTo>
                    <a:pt x="270" y="84"/>
                  </a:lnTo>
                  <a:lnTo>
                    <a:pt x="268" y="82"/>
                  </a:lnTo>
                  <a:lnTo>
                    <a:pt x="266" y="80"/>
                  </a:lnTo>
                  <a:lnTo>
                    <a:pt x="262" y="80"/>
                  </a:lnTo>
                  <a:lnTo>
                    <a:pt x="260" y="80"/>
                  </a:lnTo>
                  <a:lnTo>
                    <a:pt x="260" y="80"/>
                  </a:lnTo>
                  <a:lnTo>
                    <a:pt x="258" y="78"/>
                  </a:lnTo>
                  <a:lnTo>
                    <a:pt x="258" y="78"/>
                  </a:lnTo>
                  <a:lnTo>
                    <a:pt x="258" y="78"/>
                  </a:lnTo>
                  <a:lnTo>
                    <a:pt x="258" y="78"/>
                  </a:lnTo>
                  <a:lnTo>
                    <a:pt x="262" y="78"/>
                  </a:lnTo>
                  <a:lnTo>
                    <a:pt x="262" y="78"/>
                  </a:lnTo>
                  <a:lnTo>
                    <a:pt x="264" y="78"/>
                  </a:lnTo>
                  <a:lnTo>
                    <a:pt x="266" y="78"/>
                  </a:lnTo>
                  <a:lnTo>
                    <a:pt x="266" y="80"/>
                  </a:lnTo>
                  <a:lnTo>
                    <a:pt x="266" y="80"/>
                  </a:lnTo>
                  <a:lnTo>
                    <a:pt x="266" y="76"/>
                  </a:lnTo>
                  <a:lnTo>
                    <a:pt x="264" y="74"/>
                  </a:lnTo>
                  <a:lnTo>
                    <a:pt x="264" y="72"/>
                  </a:lnTo>
                  <a:lnTo>
                    <a:pt x="262" y="70"/>
                  </a:lnTo>
                  <a:lnTo>
                    <a:pt x="260" y="70"/>
                  </a:lnTo>
                  <a:lnTo>
                    <a:pt x="258" y="72"/>
                  </a:lnTo>
                  <a:lnTo>
                    <a:pt x="258" y="70"/>
                  </a:lnTo>
                  <a:lnTo>
                    <a:pt x="256" y="70"/>
                  </a:lnTo>
                  <a:lnTo>
                    <a:pt x="256" y="68"/>
                  </a:lnTo>
                  <a:lnTo>
                    <a:pt x="256" y="68"/>
                  </a:lnTo>
                  <a:lnTo>
                    <a:pt x="254" y="68"/>
                  </a:lnTo>
                  <a:lnTo>
                    <a:pt x="254" y="66"/>
                  </a:lnTo>
                  <a:lnTo>
                    <a:pt x="252" y="66"/>
                  </a:lnTo>
                  <a:lnTo>
                    <a:pt x="250" y="66"/>
                  </a:lnTo>
                  <a:lnTo>
                    <a:pt x="250" y="64"/>
                  </a:lnTo>
                  <a:lnTo>
                    <a:pt x="250" y="64"/>
                  </a:lnTo>
                  <a:lnTo>
                    <a:pt x="248" y="64"/>
                  </a:lnTo>
                  <a:lnTo>
                    <a:pt x="245" y="64"/>
                  </a:lnTo>
                  <a:lnTo>
                    <a:pt x="245" y="64"/>
                  </a:lnTo>
                  <a:lnTo>
                    <a:pt x="245" y="62"/>
                  </a:lnTo>
                  <a:lnTo>
                    <a:pt x="248" y="62"/>
                  </a:lnTo>
                  <a:lnTo>
                    <a:pt x="250" y="62"/>
                  </a:lnTo>
                  <a:lnTo>
                    <a:pt x="250" y="60"/>
                  </a:lnTo>
                  <a:lnTo>
                    <a:pt x="250" y="62"/>
                  </a:lnTo>
                  <a:lnTo>
                    <a:pt x="256" y="62"/>
                  </a:lnTo>
                  <a:lnTo>
                    <a:pt x="256" y="64"/>
                  </a:lnTo>
                  <a:lnTo>
                    <a:pt x="258" y="64"/>
                  </a:lnTo>
                  <a:lnTo>
                    <a:pt x="258" y="64"/>
                  </a:lnTo>
                  <a:lnTo>
                    <a:pt x="260" y="64"/>
                  </a:lnTo>
                  <a:lnTo>
                    <a:pt x="260" y="66"/>
                  </a:lnTo>
                  <a:lnTo>
                    <a:pt x="260" y="64"/>
                  </a:lnTo>
                  <a:lnTo>
                    <a:pt x="260" y="64"/>
                  </a:lnTo>
                  <a:lnTo>
                    <a:pt x="262" y="64"/>
                  </a:lnTo>
                  <a:lnTo>
                    <a:pt x="262" y="66"/>
                  </a:lnTo>
                  <a:lnTo>
                    <a:pt x="266" y="62"/>
                  </a:lnTo>
                  <a:lnTo>
                    <a:pt x="266" y="62"/>
                  </a:lnTo>
                  <a:lnTo>
                    <a:pt x="262" y="62"/>
                  </a:lnTo>
                  <a:lnTo>
                    <a:pt x="260" y="60"/>
                  </a:lnTo>
                  <a:lnTo>
                    <a:pt x="258" y="58"/>
                  </a:lnTo>
                  <a:lnTo>
                    <a:pt x="256" y="56"/>
                  </a:lnTo>
                  <a:lnTo>
                    <a:pt x="258" y="56"/>
                  </a:lnTo>
                  <a:lnTo>
                    <a:pt x="260" y="56"/>
                  </a:lnTo>
                  <a:lnTo>
                    <a:pt x="262" y="58"/>
                  </a:lnTo>
                  <a:lnTo>
                    <a:pt x="262" y="60"/>
                  </a:lnTo>
                  <a:lnTo>
                    <a:pt x="264" y="60"/>
                  </a:lnTo>
                  <a:lnTo>
                    <a:pt x="264" y="58"/>
                  </a:lnTo>
                  <a:lnTo>
                    <a:pt x="264" y="58"/>
                  </a:lnTo>
                  <a:lnTo>
                    <a:pt x="260" y="54"/>
                  </a:lnTo>
                  <a:lnTo>
                    <a:pt x="260" y="54"/>
                  </a:lnTo>
                  <a:lnTo>
                    <a:pt x="260" y="54"/>
                  </a:lnTo>
                  <a:lnTo>
                    <a:pt x="266" y="54"/>
                  </a:lnTo>
                  <a:lnTo>
                    <a:pt x="266" y="52"/>
                  </a:lnTo>
                  <a:lnTo>
                    <a:pt x="264" y="52"/>
                  </a:lnTo>
                  <a:lnTo>
                    <a:pt x="266" y="50"/>
                  </a:lnTo>
                  <a:lnTo>
                    <a:pt x="266" y="50"/>
                  </a:lnTo>
                  <a:lnTo>
                    <a:pt x="266" y="50"/>
                  </a:lnTo>
                  <a:lnTo>
                    <a:pt x="268" y="48"/>
                  </a:lnTo>
                  <a:lnTo>
                    <a:pt x="266" y="48"/>
                  </a:lnTo>
                  <a:lnTo>
                    <a:pt x="266" y="48"/>
                  </a:lnTo>
                  <a:lnTo>
                    <a:pt x="264" y="46"/>
                  </a:lnTo>
                  <a:lnTo>
                    <a:pt x="262" y="46"/>
                  </a:lnTo>
                  <a:lnTo>
                    <a:pt x="260" y="46"/>
                  </a:lnTo>
                  <a:lnTo>
                    <a:pt x="266" y="41"/>
                  </a:lnTo>
                  <a:lnTo>
                    <a:pt x="268" y="43"/>
                  </a:lnTo>
                  <a:lnTo>
                    <a:pt x="270" y="48"/>
                  </a:lnTo>
                  <a:lnTo>
                    <a:pt x="272" y="52"/>
                  </a:lnTo>
                  <a:lnTo>
                    <a:pt x="274" y="48"/>
                  </a:lnTo>
                  <a:lnTo>
                    <a:pt x="274" y="48"/>
                  </a:lnTo>
                  <a:lnTo>
                    <a:pt x="274" y="48"/>
                  </a:lnTo>
                  <a:lnTo>
                    <a:pt x="274" y="46"/>
                  </a:lnTo>
                  <a:lnTo>
                    <a:pt x="272" y="43"/>
                  </a:lnTo>
                  <a:lnTo>
                    <a:pt x="272" y="35"/>
                  </a:lnTo>
                  <a:lnTo>
                    <a:pt x="272" y="35"/>
                  </a:lnTo>
                  <a:lnTo>
                    <a:pt x="272" y="35"/>
                  </a:lnTo>
                  <a:lnTo>
                    <a:pt x="272" y="33"/>
                  </a:lnTo>
                  <a:lnTo>
                    <a:pt x="274" y="33"/>
                  </a:lnTo>
                  <a:lnTo>
                    <a:pt x="274" y="33"/>
                  </a:lnTo>
                  <a:lnTo>
                    <a:pt x="274" y="35"/>
                  </a:lnTo>
                  <a:lnTo>
                    <a:pt x="274" y="37"/>
                  </a:lnTo>
                  <a:lnTo>
                    <a:pt x="274" y="41"/>
                  </a:lnTo>
                  <a:lnTo>
                    <a:pt x="276" y="43"/>
                  </a:lnTo>
                  <a:lnTo>
                    <a:pt x="276" y="46"/>
                  </a:lnTo>
                  <a:lnTo>
                    <a:pt x="278" y="41"/>
                  </a:lnTo>
                  <a:lnTo>
                    <a:pt x="282" y="37"/>
                  </a:lnTo>
                  <a:lnTo>
                    <a:pt x="286" y="33"/>
                  </a:lnTo>
                  <a:lnTo>
                    <a:pt x="286" y="33"/>
                  </a:lnTo>
                  <a:lnTo>
                    <a:pt x="286" y="31"/>
                  </a:lnTo>
                  <a:lnTo>
                    <a:pt x="286" y="31"/>
                  </a:lnTo>
                  <a:lnTo>
                    <a:pt x="282" y="31"/>
                  </a:lnTo>
                  <a:lnTo>
                    <a:pt x="282" y="29"/>
                  </a:lnTo>
                  <a:lnTo>
                    <a:pt x="282" y="23"/>
                  </a:lnTo>
                  <a:lnTo>
                    <a:pt x="282" y="23"/>
                  </a:lnTo>
                  <a:lnTo>
                    <a:pt x="284" y="21"/>
                  </a:lnTo>
                  <a:lnTo>
                    <a:pt x="284" y="21"/>
                  </a:lnTo>
                  <a:lnTo>
                    <a:pt x="291" y="21"/>
                  </a:lnTo>
                  <a:lnTo>
                    <a:pt x="291" y="19"/>
                  </a:lnTo>
                  <a:lnTo>
                    <a:pt x="293" y="17"/>
                  </a:lnTo>
                  <a:lnTo>
                    <a:pt x="293" y="15"/>
                  </a:lnTo>
                  <a:lnTo>
                    <a:pt x="295" y="15"/>
                  </a:lnTo>
                  <a:lnTo>
                    <a:pt x="295" y="19"/>
                  </a:lnTo>
                  <a:lnTo>
                    <a:pt x="295" y="21"/>
                  </a:lnTo>
                  <a:lnTo>
                    <a:pt x="293" y="23"/>
                  </a:lnTo>
                  <a:lnTo>
                    <a:pt x="293" y="27"/>
                  </a:lnTo>
                  <a:lnTo>
                    <a:pt x="291" y="29"/>
                  </a:lnTo>
                  <a:lnTo>
                    <a:pt x="293" y="31"/>
                  </a:lnTo>
                  <a:lnTo>
                    <a:pt x="293" y="29"/>
                  </a:lnTo>
                  <a:lnTo>
                    <a:pt x="299" y="23"/>
                  </a:lnTo>
                  <a:lnTo>
                    <a:pt x="299" y="21"/>
                  </a:lnTo>
                  <a:lnTo>
                    <a:pt x="301" y="19"/>
                  </a:lnTo>
                  <a:lnTo>
                    <a:pt x="301" y="17"/>
                  </a:lnTo>
                  <a:lnTo>
                    <a:pt x="303" y="15"/>
                  </a:lnTo>
                  <a:lnTo>
                    <a:pt x="303" y="17"/>
                  </a:lnTo>
                  <a:lnTo>
                    <a:pt x="303" y="21"/>
                  </a:lnTo>
                  <a:lnTo>
                    <a:pt x="301" y="23"/>
                  </a:lnTo>
                  <a:lnTo>
                    <a:pt x="299" y="25"/>
                  </a:lnTo>
                  <a:lnTo>
                    <a:pt x="301" y="25"/>
                  </a:lnTo>
                  <a:lnTo>
                    <a:pt x="303" y="27"/>
                  </a:lnTo>
                  <a:lnTo>
                    <a:pt x="305" y="27"/>
                  </a:lnTo>
                  <a:lnTo>
                    <a:pt x="305" y="27"/>
                  </a:lnTo>
                  <a:lnTo>
                    <a:pt x="303" y="29"/>
                  </a:lnTo>
                  <a:lnTo>
                    <a:pt x="299" y="27"/>
                  </a:lnTo>
                  <a:lnTo>
                    <a:pt x="297" y="29"/>
                  </a:lnTo>
                  <a:lnTo>
                    <a:pt x="297" y="29"/>
                  </a:lnTo>
                  <a:lnTo>
                    <a:pt x="295" y="31"/>
                  </a:lnTo>
                  <a:lnTo>
                    <a:pt x="293" y="35"/>
                  </a:lnTo>
                  <a:lnTo>
                    <a:pt x="293" y="37"/>
                  </a:lnTo>
                  <a:lnTo>
                    <a:pt x="295" y="37"/>
                  </a:lnTo>
                  <a:lnTo>
                    <a:pt x="303" y="35"/>
                  </a:lnTo>
                  <a:lnTo>
                    <a:pt x="307" y="35"/>
                  </a:lnTo>
                  <a:lnTo>
                    <a:pt x="307" y="37"/>
                  </a:lnTo>
                  <a:lnTo>
                    <a:pt x="305" y="37"/>
                  </a:lnTo>
                  <a:lnTo>
                    <a:pt x="305" y="37"/>
                  </a:lnTo>
                  <a:lnTo>
                    <a:pt x="301" y="39"/>
                  </a:lnTo>
                  <a:lnTo>
                    <a:pt x="293" y="41"/>
                  </a:lnTo>
                  <a:lnTo>
                    <a:pt x="284" y="43"/>
                  </a:lnTo>
                  <a:lnTo>
                    <a:pt x="284" y="43"/>
                  </a:lnTo>
                  <a:lnTo>
                    <a:pt x="284" y="46"/>
                  </a:lnTo>
                  <a:lnTo>
                    <a:pt x="284" y="48"/>
                  </a:lnTo>
                  <a:lnTo>
                    <a:pt x="282" y="48"/>
                  </a:lnTo>
                  <a:lnTo>
                    <a:pt x="282" y="48"/>
                  </a:lnTo>
                  <a:lnTo>
                    <a:pt x="280" y="50"/>
                  </a:lnTo>
                  <a:lnTo>
                    <a:pt x="280" y="50"/>
                  </a:lnTo>
                  <a:lnTo>
                    <a:pt x="280" y="52"/>
                  </a:lnTo>
                  <a:lnTo>
                    <a:pt x="280" y="54"/>
                  </a:lnTo>
                  <a:lnTo>
                    <a:pt x="278" y="62"/>
                  </a:lnTo>
                  <a:lnTo>
                    <a:pt x="278" y="66"/>
                  </a:lnTo>
                  <a:lnTo>
                    <a:pt x="278" y="66"/>
                  </a:lnTo>
                  <a:lnTo>
                    <a:pt x="278" y="68"/>
                  </a:lnTo>
                  <a:lnTo>
                    <a:pt x="278" y="68"/>
                  </a:lnTo>
                  <a:lnTo>
                    <a:pt x="280" y="70"/>
                  </a:lnTo>
                  <a:lnTo>
                    <a:pt x="280" y="70"/>
                  </a:lnTo>
                  <a:lnTo>
                    <a:pt x="282" y="70"/>
                  </a:lnTo>
                  <a:lnTo>
                    <a:pt x="282" y="72"/>
                  </a:lnTo>
                  <a:lnTo>
                    <a:pt x="282" y="76"/>
                  </a:lnTo>
                  <a:lnTo>
                    <a:pt x="282" y="78"/>
                  </a:lnTo>
                  <a:lnTo>
                    <a:pt x="284" y="78"/>
                  </a:lnTo>
                  <a:lnTo>
                    <a:pt x="284" y="78"/>
                  </a:lnTo>
                  <a:lnTo>
                    <a:pt x="284" y="74"/>
                  </a:lnTo>
                  <a:lnTo>
                    <a:pt x="284" y="70"/>
                  </a:lnTo>
                  <a:lnTo>
                    <a:pt x="288" y="68"/>
                  </a:lnTo>
                  <a:lnTo>
                    <a:pt x="288" y="68"/>
                  </a:lnTo>
                  <a:lnTo>
                    <a:pt x="286" y="68"/>
                  </a:lnTo>
                  <a:lnTo>
                    <a:pt x="288" y="68"/>
                  </a:lnTo>
                  <a:lnTo>
                    <a:pt x="291" y="68"/>
                  </a:lnTo>
                  <a:lnTo>
                    <a:pt x="293" y="66"/>
                  </a:lnTo>
                  <a:lnTo>
                    <a:pt x="295" y="66"/>
                  </a:lnTo>
                  <a:lnTo>
                    <a:pt x="293" y="68"/>
                  </a:lnTo>
                  <a:lnTo>
                    <a:pt x="291" y="72"/>
                  </a:lnTo>
                  <a:lnTo>
                    <a:pt x="288" y="74"/>
                  </a:lnTo>
                  <a:lnTo>
                    <a:pt x="291" y="74"/>
                  </a:lnTo>
                  <a:lnTo>
                    <a:pt x="288" y="76"/>
                  </a:lnTo>
                  <a:lnTo>
                    <a:pt x="286" y="76"/>
                  </a:lnTo>
                  <a:lnTo>
                    <a:pt x="288" y="76"/>
                  </a:lnTo>
                  <a:lnTo>
                    <a:pt x="288" y="78"/>
                  </a:lnTo>
                  <a:lnTo>
                    <a:pt x="288" y="78"/>
                  </a:lnTo>
                  <a:lnTo>
                    <a:pt x="291" y="78"/>
                  </a:lnTo>
                  <a:lnTo>
                    <a:pt x="291" y="80"/>
                  </a:lnTo>
                  <a:lnTo>
                    <a:pt x="288" y="82"/>
                  </a:lnTo>
                  <a:lnTo>
                    <a:pt x="286" y="84"/>
                  </a:lnTo>
                  <a:lnTo>
                    <a:pt x="284" y="84"/>
                  </a:lnTo>
                  <a:lnTo>
                    <a:pt x="282" y="84"/>
                  </a:lnTo>
                  <a:lnTo>
                    <a:pt x="282" y="84"/>
                  </a:lnTo>
                  <a:lnTo>
                    <a:pt x="278" y="82"/>
                  </a:lnTo>
                  <a:lnTo>
                    <a:pt x="278" y="82"/>
                  </a:lnTo>
                  <a:lnTo>
                    <a:pt x="276" y="80"/>
                  </a:lnTo>
                  <a:lnTo>
                    <a:pt x="276" y="82"/>
                  </a:lnTo>
                  <a:lnTo>
                    <a:pt x="276" y="84"/>
                  </a:lnTo>
                  <a:lnTo>
                    <a:pt x="276" y="87"/>
                  </a:lnTo>
                  <a:lnTo>
                    <a:pt x="274" y="89"/>
                  </a:lnTo>
                  <a:lnTo>
                    <a:pt x="276" y="91"/>
                  </a:lnTo>
                  <a:lnTo>
                    <a:pt x="276" y="99"/>
                  </a:lnTo>
                  <a:lnTo>
                    <a:pt x="276" y="101"/>
                  </a:lnTo>
                  <a:lnTo>
                    <a:pt x="278" y="99"/>
                  </a:lnTo>
                  <a:lnTo>
                    <a:pt x="278" y="99"/>
                  </a:lnTo>
                  <a:lnTo>
                    <a:pt x="280" y="97"/>
                  </a:lnTo>
                  <a:lnTo>
                    <a:pt x="278" y="97"/>
                  </a:lnTo>
                  <a:lnTo>
                    <a:pt x="278" y="97"/>
                  </a:lnTo>
                  <a:lnTo>
                    <a:pt x="278" y="95"/>
                  </a:lnTo>
                  <a:lnTo>
                    <a:pt x="278" y="95"/>
                  </a:lnTo>
                  <a:lnTo>
                    <a:pt x="278" y="93"/>
                  </a:lnTo>
                  <a:lnTo>
                    <a:pt x="278" y="93"/>
                  </a:lnTo>
                  <a:lnTo>
                    <a:pt x="280" y="93"/>
                  </a:lnTo>
                  <a:lnTo>
                    <a:pt x="282" y="91"/>
                  </a:lnTo>
                  <a:lnTo>
                    <a:pt x="282" y="91"/>
                  </a:lnTo>
                  <a:lnTo>
                    <a:pt x="282" y="91"/>
                  </a:lnTo>
                  <a:lnTo>
                    <a:pt x="282" y="89"/>
                  </a:lnTo>
                  <a:lnTo>
                    <a:pt x="282" y="89"/>
                  </a:lnTo>
                  <a:lnTo>
                    <a:pt x="284" y="89"/>
                  </a:lnTo>
                  <a:lnTo>
                    <a:pt x="284" y="87"/>
                  </a:lnTo>
                  <a:lnTo>
                    <a:pt x="284" y="87"/>
                  </a:lnTo>
                  <a:lnTo>
                    <a:pt x="288" y="89"/>
                  </a:lnTo>
                  <a:lnTo>
                    <a:pt x="288" y="91"/>
                  </a:lnTo>
                  <a:lnTo>
                    <a:pt x="288" y="93"/>
                  </a:lnTo>
                  <a:lnTo>
                    <a:pt x="288" y="93"/>
                  </a:lnTo>
                  <a:lnTo>
                    <a:pt x="291" y="93"/>
                  </a:lnTo>
                  <a:lnTo>
                    <a:pt x="291" y="93"/>
                  </a:lnTo>
                  <a:lnTo>
                    <a:pt x="291" y="91"/>
                  </a:lnTo>
                  <a:lnTo>
                    <a:pt x="291" y="91"/>
                  </a:lnTo>
                  <a:lnTo>
                    <a:pt x="293" y="91"/>
                  </a:lnTo>
                  <a:lnTo>
                    <a:pt x="293" y="91"/>
                  </a:lnTo>
                  <a:lnTo>
                    <a:pt x="293" y="93"/>
                  </a:lnTo>
                  <a:lnTo>
                    <a:pt x="293" y="93"/>
                  </a:lnTo>
                  <a:lnTo>
                    <a:pt x="297" y="95"/>
                  </a:lnTo>
                  <a:lnTo>
                    <a:pt x="295" y="95"/>
                  </a:lnTo>
                  <a:lnTo>
                    <a:pt x="293" y="97"/>
                  </a:lnTo>
                  <a:lnTo>
                    <a:pt x="291" y="99"/>
                  </a:lnTo>
                  <a:lnTo>
                    <a:pt x="293" y="101"/>
                  </a:lnTo>
                  <a:lnTo>
                    <a:pt x="293" y="103"/>
                  </a:lnTo>
                  <a:lnTo>
                    <a:pt x="295" y="103"/>
                  </a:lnTo>
                  <a:lnTo>
                    <a:pt x="297" y="103"/>
                  </a:lnTo>
                  <a:lnTo>
                    <a:pt x="297" y="101"/>
                  </a:lnTo>
                  <a:lnTo>
                    <a:pt x="299" y="103"/>
                  </a:lnTo>
                  <a:lnTo>
                    <a:pt x="299" y="103"/>
                  </a:lnTo>
                  <a:lnTo>
                    <a:pt x="297" y="105"/>
                  </a:lnTo>
                  <a:lnTo>
                    <a:pt x="297" y="105"/>
                  </a:lnTo>
                  <a:lnTo>
                    <a:pt x="295" y="107"/>
                  </a:lnTo>
                  <a:lnTo>
                    <a:pt x="293" y="105"/>
                  </a:lnTo>
                  <a:lnTo>
                    <a:pt x="291" y="105"/>
                  </a:lnTo>
                  <a:lnTo>
                    <a:pt x="291" y="105"/>
                  </a:lnTo>
                  <a:lnTo>
                    <a:pt x="288" y="103"/>
                  </a:lnTo>
                  <a:lnTo>
                    <a:pt x="288" y="101"/>
                  </a:lnTo>
                  <a:lnTo>
                    <a:pt x="288" y="101"/>
                  </a:lnTo>
                  <a:lnTo>
                    <a:pt x="286" y="101"/>
                  </a:lnTo>
                  <a:lnTo>
                    <a:pt x="286" y="101"/>
                  </a:lnTo>
                  <a:lnTo>
                    <a:pt x="284" y="99"/>
                  </a:lnTo>
                  <a:lnTo>
                    <a:pt x="282" y="101"/>
                  </a:lnTo>
                  <a:lnTo>
                    <a:pt x="282" y="103"/>
                  </a:lnTo>
                  <a:lnTo>
                    <a:pt x="282" y="105"/>
                  </a:lnTo>
                  <a:lnTo>
                    <a:pt x="282" y="105"/>
                  </a:lnTo>
                  <a:lnTo>
                    <a:pt x="280" y="111"/>
                  </a:lnTo>
                  <a:lnTo>
                    <a:pt x="280" y="113"/>
                  </a:lnTo>
                  <a:lnTo>
                    <a:pt x="280" y="115"/>
                  </a:lnTo>
                  <a:lnTo>
                    <a:pt x="280" y="117"/>
                  </a:lnTo>
                  <a:lnTo>
                    <a:pt x="282" y="117"/>
                  </a:lnTo>
                  <a:lnTo>
                    <a:pt x="282" y="117"/>
                  </a:lnTo>
                  <a:lnTo>
                    <a:pt x="284" y="117"/>
                  </a:lnTo>
                  <a:lnTo>
                    <a:pt x="284" y="115"/>
                  </a:lnTo>
                  <a:lnTo>
                    <a:pt x="284" y="115"/>
                  </a:lnTo>
                  <a:lnTo>
                    <a:pt x="282" y="113"/>
                  </a:lnTo>
                  <a:lnTo>
                    <a:pt x="282" y="109"/>
                  </a:lnTo>
                  <a:lnTo>
                    <a:pt x="284" y="107"/>
                  </a:lnTo>
                  <a:lnTo>
                    <a:pt x="284" y="107"/>
                  </a:lnTo>
                  <a:lnTo>
                    <a:pt x="284" y="107"/>
                  </a:lnTo>
                  <a:lnTo>
                    <a:pt x="284" y="111"/>
                  </a:lnTo>
                  <a:lnTo>
                    <a:pt x="286" y="113"/>
                  </a:lnTo>
                  <a:lnTo>
                    <a:pt x="286" y="111"/>
                  </a:lnTo>
                  <a:lnTo>
                    <a:pt x="288" y="107"/>
                  </a:lnTo>
                  <a:lnTo>
                    <a:pt x="291" y="107"/>
                  </a:lnTo>
                  <a:lnTo>
                    <a:pt x="291" y="109"/>
                  </a:lnTo>
                  <a:lnTo>
                    <a:pt x="291" y="113"/>
                  </a:lnTo>
                  <a:lnTo>
                    <a:pt x="291" y="113"/>
                  </a:lnTo>
                  <a:lnTo>
                    <a:pt x="293" y="115"/>
                  </a:lnTo>
                  <a:lnTo>
                    <a:pt x="293" y="115"/>
                  </a:lnTo>
                  <a:lnTo>
                    <a:pt x="295" y="115"/>
                  </a:lnTo>
                  <a:lnTo>
                    <a:pt x="295" y="113"/>
                  </a:lnTo>
                  <a:lnTo>
                    <a:pt x="295" y="111"/>
                  </a:lnTo>
                  <a:lnTo>
                    <a:pt x="295" y="111"/>
                  </a:lnTo>
                  <a:lnTo>
                    <a:pt x="295" y="111"/>
                  </a:lnTo>
                  <a:lnTo>
                    <a:pt x="297" y="113"/>
                  </a:lnTo>
                  <a:lnTo>
                    <a:pt x="295" y="113"/>
                  </a:lnTo>
                  <a:lnTo>
                    <a:pt x="295" y="115"/>
                  </a:lnTo>
                  <a:lnTo>
                    <a:pt x="297" y="115"/>
                  </a:lnTo>
                  <a:lnTo>
                    <a:pt x="297" y="115"/>
                  </a:lnTo>
                  <a:lnTo>
                    <a:pt x="299" y="115"/>
                  </a:lnTo>
                  <a:lnTo>
                    <a:pt x="301" y="113"/>
                  </a:lnTo>
                  <a:lnTo>
                    <a:pt x="301" y="115"/>
                  </a:lnTo>
                  <a:lnTo>
                    <a:pt x="301" y="115"/>
                  </a:lnTo>
                  <a:lnTo>
                    <a:pt x="299" y="117"/>
                  </a:lnTo>
                  <a:lnTo>
                    <a:pt x="297" y="117"/>
                  </a:lnTo>
                  <a:lnTo>
                    <a:pt x="299" y="117"/>
                  </a:lnTo>
                  <a:lnTo>
                    <a:pt x="299" y="119"/>
                  </a:lnTo>
                  <a:lnTo>
                    <a:pt x="301" y="117"/>
                  </a:lnTo>
                  <a:lnTo>
                    <a:pt x="301" y="117"/>
                  </a:lnTo>
                  <a:lnTo>
                    <a:pt x="303" y="117"/>
                  </a:lnTo>
                  <a:lnTo>
                    <a:pt x="303" y="119"/>
                  </a:lnTo>
                  <a:lnTo>
                    <a:pt x="305" y="119"/>
                  </a:lnTo>
                  <a:lnTo>
                    <a:pt x="307" y="121"/>
                  </a:lnTo>
                  <a:lnTo>
                    <a:pt x="309" y="121"/>
                  </a:lnTo>
                  <a:lnTo>
                    <a:pt x="311" y="119"/>
                  </a:lnTo>
                  <a:lnTo>
                    <a:pt x="313" y="117"/>
                  </a:lnTo>
                  <a:lnTo>
                    <a:pt x="313" y="113"/>
                  </a:lnTo>
                  <a:lnTo>
                    <a:pt x="313" y="113"/>
                  </a:lnTo>
                  <a:lnTo>
                    <a:pt x="313" y="115"/>
                  </a:lnTo>
                  <a:lnTo>
                    <a:pt x="315" y="115"/>
                  </a:lnTo>
                  <a:lnTo>
                    <a:pt x="313" y="117"/>
                  </a:lnTo>
                  <a:lnTo>
                    <a:pt x="315" y="119"/>
                  </a:lnTo>
                  <a:lnTo>
                    <a:pt x="313" y="121"/>
                  </a:lnTo>
                  <a:lnTo>
                    <a:pt x="313" y="123"/>
                  </a:lnTo>
                  <a:lnTo>
                    <a:pt x="311" y="123"/>
                  </a:lnTo>
                  <a:lnTo>
                    <a:pt x="309" y="123"/>
                  </a:lnTo>
                  <a:lnTo>
                    <a:pt x="301" y="123"/>
                  </a:lnTo>
                  <a:lnTo>
                    <a:pt x="299" y="123"/>
                  </a:lnTo>
                  <a:lnTo>
                    <a:pt x="297" y="123"/>
                  </a:lnTo>
                  <a:lnTo>
                    <a:pt x="297" y="121"/>
                  </a:lnTo>
                  <a:lnTo>
                    <a:pt x="297" y="121"/>
                  </a:lnTo>
                  <a:lnTo>
                    <a:pt x="299" y="121"/>
                  </a:lnTo>
                  <a:lnTo>
                    <a:pt x="297" y="121"/>
                  </a:lnTo>
                  <a:lnTo>
                    <a:pt x="295" y="123"/>
                  </a:lnTo>
                  <a:lnTo>
                    <a:pt x="293" y="123"/>
                  </a:lnTo>
                  <a:lnTo>
                    <a:pt x="293" y="123"/>
                  </a:lnTo>
                  <a:lnTo>
                    <a:pt x="288" y="123"/>
                  </a:lnTo>
                  <a:lnTo>
                    <a:pt x="288" y="125"/>
                  </a:lnTo>
                  <a:lnTo>
                    <a:pt x="291" y="125"/>
                  </a:lnTo>
                  <a:lnTo>
                    <a:pt x="291" y="125"/>
                  </a:lnTo>
                  <a:lnTo>
                    <a:pt x="291" y="125"/>
                  </a:lnTo>
                  <a:lnTo>
                    <a:pt x="288" y="128"/>
                  </a:lnTo>
                  <a:lnTo>
                    <a:pt x="288" y="130"/>
                  </a:lnTo>
                  <a:lnTo>
                    <a:pt x="291" y="130"/>
                  </a:lnTo>
                  <a:lnTo>
                    <a:pt x="293" y="130"/>
                  </a:lnTo>
                  <a:lnTo>
                    <a:pt x="295" y="130"/>
                  </a:lnTo>
                  <a:lnTo>
                    <a:pt x="295" y="128"/>
                  </a:lnTo>
                  <a:lnTo>
                    <a:pt x="295" y="128"/>
                  </a:lnTo>
                  <a:lnTo>
                    <a:pt x="295" y="128"/>
                  </a:lnTo>
                  <a:lnTo>
                    <a:pt x="295" y="128"/>
                  </a:lnTo>
                  <a:lnTo>
                    <a:pt x="297" y="125"/>
                  </a:lnTo>
                  <a:lnTo>
                    <a:pt x="297" y="125"/>
                  </a:lnTo>
                  <a:lnTo>
                    <a:pt x="297" y="125"/>
                  </a:lnTo>
                  <a:lnTo>
                    <a:pt x="297" y="125"/>
                  </a:lnTo>
                  <a:lnTo>
                    <a:pt x="299" y="128"/>
                  </a:lnTo>
                  <a:lnTo>
                    <a:pt x="299" y="128"/>
                  </a:lnTo>
                  <a:lnTo>
                    <a:pt x="297" y="130"/>
                  </a:lnTo>
                  <a:lnTo>
                    <a:pt x="299" y="130"/>
                  </a:lnTo>
                  <a:lnTo>
                    <a:pt x="297" y="132"/>
                  </a:lnTo>
                  <a:lnTo>
                    <a:pt x="295" y="132"/>
                  </a:lnTo>
                  <a:lnTo>
                    <a:pt x="293" y="134"/>
                  </a:lnTo>
                  <a:lnTo>
                    <a:pt x="293" y="136"/>
                  </a:lnTo>
                  <a:lnTo>
                    <a:pt x="293" y="138"/>
                  </a:lnTo>
                  <a:lnTo>
                    <a:pt x="293" y="140"/>
                  </a:lnTo>
                  <a:lnTo>
                    <a:pt x="293" y="140"/>
                  </a:lnTo>
                  <a:lnTo>
                    <a:pt x="291" y="138"/>
                  </a:lnTo>
                  <a:lnTo>
                    <a:pt x="291" y="136"/>
                  </a:lnTo>
                  <a:lnTo>
                    <a:pt x="288" y="136"/>
                  </a:lnTo>
                  <a:lnTo>
                    <a:pt x="288" y="138"/>
                  </a:lnTo>
                  <a:lnTo>
                    <a:pt x="288" y="140"/>
                  </a:lnTo>
                  <a:lnTo>
                    <a:pt x="288" y="140"/>
                  </a:lnTo>
                  <a:lnTo>
                    <a:pt x="291" y="140"/>
                  </a:lnTo>
                  <a:lnTo>
                    <a:pt x="291" y="142"/>
                  </a:lnTo>
                  <a:lnTo>
                    <a:pt x="293" y="144"/>
                  </a:lnTo>
                  <a:lnTo>
                    <a:pt x="293" y="144"/>
                  </a:lnTo>
                  <a:lnTo>
                    <a:pt x="293" y="146"/>
                  </a:lnTo>
                  <a:lnTo>
                    <a:pt x="295" y="146"/>
                  </a:lnTo>
                  <a:lnTo>
                    <a:pt x="297" y="150"/>
                  </a:lnTo>
                  <a:lnTo>
                    <a:pt x="299" y="152"/>
                  </a:lnTo>
                  <a:lnTo>
                    <a:pt x="301" y="154"/>
                  </a:lnTo>
                  <a:lnTo>
                    <a:pt x="301" y="154"/>
                  </a:lnTo>
                  <a:lnTo>
                    <a:pt x="301" y="152"/>
                  </a:lnTo>
                  <a:lnTo>
                    <a:pt x="299" y="148"/>
                  </a:lnTo>
                  <a:lnTo>
                    <a:pt x="299" y="146"/>
                  </a:lnTo>
                  <a:lnTo>
                    <a:pt x="301" y="148"/>
                  </a:lnTo>
                  <a:lnTo>
                    <a:pt x="307" y="152"/>
                  </a:lnTo>
                  <a:lnTo>
                    <a:pt x="309" y="154"/>
                  </a:lnTo>
                  <a:lnTo>
                    <a:pt x="309" y="154"/>
                  </a:lnTo>
                  <a:lnTo>
                    <a:pt x="311" y="154"/>
                  </a:lnTo>
                  <a:lnTo>
                    <a:pt x="313" y="156"/>
                  </a:lnTo>
                  <a:lnTo>
                    <a:pt x="315" y="160"/>
                  </a:lnTo>
                  <a:lnTo>
                    <a:pt x="317" y="160"/>
                  </a:lnTo>
                  <a:lnTo>
                    <a:pt x="317" y="158"/>
                  </a:lnTo>
                  <a:lnTo>
                    <a:pt x="317" y="156"/>
                  </a:lnTo>
                  <a:lnTo>
                    <a:pt x="317" y="154"/>
                  </a:lnTo>
                  <a:lnTo>
                    <a:pt x="317" y="154"/>
                  </a:lnTo>
                  <a:lnTo>
                    <a:pt x="317" y="152"/>
                  </a:lnTo>
                  <a:lnTo>
                    <a:pt x="315" y="152"/>
                  </a:lnTo>
                  <a:lnTo>
                    <a:pt x="317" y="150"/>
                  </a:lnTo>
                  <a:lnTo>
                    <a:pt x="319" y="146"/>
                  </a:lnTo>
                  <a:lnTo>
                    <a:pt x="319" y="144"/>
                  </a:lnTo>
                  <a:lnTo>
                    <a:pt x="321" y="146"/>
                  </a:lnTo>
                  <a:lnTo>
                    <a:pt x="321" y="148"/>
                  </a:lnTo>
                  <a:lnTo>
                    <a:pt x="319" y="150"/>
                  </a:lnTo>
                  <a:lnTo>
                    <a:pt x="319" y="150"/>
                  </a:lnTo>
                  <a:lnTo>
                    <a:pt x="319" y="152"/>
                  </a:lnTo>
                  <a:lnTo>
                    <a:pt x="321" y="152"/>
                  </a:lnTo>
                  <a:lnTo>
                    <a:pt x="321" y="152"/>
                  </a:lnTo>
                  <a:lnTo>
                    <a:pt x="321" y="154"/>
                  </a:lnTo>
                  <a:lnTo>
                    <a:pt x="321" y="154"/>
                  </a:lnTo>
                  <a:lnTo>
                    <a:pt x="323" y="156"/>
                  </a:lnTo>
                  <a:lnTo>
                    <a:pt x="323" y="156"/>
                  </a:lnTo>
                  <a:lnTo>
                    <a:pt x="323" y="156"/>
                  </a:lnTo>
                  <a:lnTo>
                    <a:pt x="323" y="156"/>
                  </a:lnTo>
                  <a:lnTo>
                    <a:pt x="323" y="150"/>
                  </a:lnTo>
                  <a:lnTo>
                    <a:pt x="325" y="148"/>
                  </a:lnTo>
                  <a:lnTo>
                    <a:pt x="327" y="142"/>
                  </a:lnTo>
                  <a:lnTo>
                    <a:pt x="327" y="142"/>
                  </a:lnTo>
                  <a:lnTo>
                    <a:pt x="327" y="140"/>
                  </a:lnTo>
                  <a:lnTo>
                    <a:pt x="327" y="140"/>
                  </a:lnTo>
                  <a:lnTo>
                    <a:pt x="327" y="138"/>
                  </a:lnTo>
                  <a:lnTo>
                    <a:pt x="329" y="138"/>
                  </a:lnTo>
                  <a:lnTo>
                    <a:pt x="329" y="140"/>
                  </a:lnTo>
                  <a:lnTo>
                    <a:pt x="329" y="140"/>
                  </a:lnTo>
                  <a:lnTo>
                    <a:pt x="329" y="142"/>
                  </a:lnTo>
                  <a:lnTo>
                    <a:pt x="329" y="144"/>
                  </a:lnTo>
                  <a:lnTo>
                    <a:pt x="327" y="148"/>
                  </a:lnTo>
                  <a:lnTo>
                    <a:pt x="327" y="152"/>
                  </a:lnTo>
                  <a:lnTo>
                    <a:pt x="327" y="154"/>
                  </a:lnTo>
                  <a:lnTo>
                    <a:pt x="329" y="156"/>
                  </a:lnTo>
                  <a:lnTo>
                    <a:pt x="329" y="156"/>
                  </a:lnTo>
                  <a:lnTo>
                    <a:pt x="334" y="156"/>
                  </a:lnTo>
                  <a:lnTo>
                    <a:pt x="336" y="156"/>
                  </a:lnTo>
                  <a:lnTo>
                    <a:pt x="334" y="158"/>
                  </a:lnTo>
                  <a:lnTo>
                    <a:pt x="329" y="160"/>
                  </a:lnTo>
                  <a:lnTo>
                    <a:pt x="327" y="162"/>
                  </a:lnTo>
                  <a:lnTo>
                    <a:pt x="327" y="166"/>
                  </a:lnTo>
                  <a:lnTo>
                    <a:pt x="327" y="169"/>
                  </a:lnTo>
                  <a:lnTo>
                    <a:pt x="327" y="169"/>
                  </a:lnTo>
                  <a:lnTo>
                    <a:pt x="329" y="169"/>
                  </a:lnTo>
                  <a:lnTo>
                    <a:pt x="329" y="169"/>
                  </a:lnTo>
                  <a:lnTo>
                    <a:pt x="329" y="169"/>
                  </a:lnTo>
                  <a:lnTo>
                    <a:pt x="329" y="166"/>
                  </a:lnTo>
                  <a:lnTo>
                    <a:pt x="329" y="166"/>
                  </a:lnTo>
                  <a:lnTo>
                    <a:pt x="331" y="164"/>
                  </a:lnTo>
                  <a:lnTo>
                    <a:pt x="336" y="164"/>
                  </a:lnTo>
                  <a:lnTo>
                    <a:pt x="338" y="164"/>
                  </a:lnTo>
                  <a:lnTo>
                    <a:pt x="338" y="164"/>
                  </a:lnTo>
                  <a:lnTo>
                    <a:pt x="340" y="162"/>
                  </a:lnTo>
                  <a:lnTo>
                    <a:pt x="340" y="164"/>
                  </a:lnTo>
                  <a:lnTo>
                    <a:pt x="342" y="164"/>
                  </a:lnTo>
                  <a:lnTo>
                    <a:pt x="340" y="164"/>
                  </a:lnTo>
                  <a:lnTo>
                    <a:pt x="338" y="166"/>
                  </a:lnTo>
                  <a:lnTo>
                    <a:pt x="338" y="166"/>
                  </a:lnTo>
                  <a:lnTo>
                    <a:pt x="338" y="166"/>
                  </a:lnTo>
                  <a:lnTo>
                    <a:pt x="338" y="169"/>
                  </a:lnTo>
                  <a:lnTo>
                    <a:pt x="338" y="169"/>
                  </a:lnTo>
                  <a:lnTo>
                    <a:pt x="336" y="171"/>
                  </a:lnTo>
                  <a:lnTo>
                    <a:pt x="336" y="171"/>
                  </a:lnTo>
                  <a:lnTo>
                    <a:pt x="336" y="173"/>
                  </a:lnTo>
                  <a:lnTo>
                    <a:pt x="336" y="173"/>
                  </a:lnTo>
                  <a:lnTo>
                    <a:pt x="336" y="173"/>
                  </a:lnTo>
                  <a:lnTo>
                    <a:pt x="336" y="173"/>
                  </a:lnTo>
                  <a:lnTo>
                    <a:pt x="338" y="173"/>
                  </a:lnTo>
                  <a:lnTo>
                    <a:pt x="338" y="171"/>
                  </a:lnTo>
                  <a:lnTo>
                    <a:pt x="340" y="171"/>
                  </a:lnTo>
                  <a:lnTo>
                    <a:pt x="342" y="171"/>
                  </a:lnTo>
                  <a:lnTo>
                    <a:pt x="342" y="171"/>
                  </a:lnTo>
                  <a:lnTo>
                    <a:pt x="342" y="169"/>
                  </a:lnTo>
                  <a:lnTo>
                    <a:pt x="344" y="166"/>
                  </a:lnTo>
                  <a:lnTo>
                    <a:pt x="344" y="166"/>
                  </a:lnTo>
                  <a:lnTo>
                    <a:pt x="344" y="171"/>
                  </a:lnTo>
                  <a:lnTo>
                    <a:pt x="342" y="175"/>
                  </a:lnTo>
                  <a:lnTo>
                    <a:pt x="340" y="175"/>
                  </a:lnTo>
                  <a:lnTo>
                    <a:pt x="340" y="177"/>
                  </a:lnTo>
                  <a:lnTo>
                    <a:pt x="338" y="177"/>
                  </a:lnTo>
                  <a:lnTo>
                    <a:pt x="338" y="177"/>
                  </a:lnTo>
                  <a:lnTo>
                    <a:pt x="338" y="179"/>
                  </a:lnTo>
                  <a:lnTo>
                    <a:pt x="336" y="183"/>
                  </a:lnTo>
                  <a:lnTo>
                    <a:pt x="336" y="183"/>
                  </a:lnTo>
                  <a:lnTo>
                    <a:pt x="336" y="183"/>
                  </a:lnTo>
                  <a:lnTo>
                    <a:pt x="336" y="183"/>
                  </a:lnTo>
                  <a:lnTo>
                    <a:pt x="336" y="183"/>
                  </a:lnTo>
                  <a:lnTo>
                    <a:pt x="336" y="183"/>
                  </a:lnTo>
                  <a:lnTo>
                    <a:pt x="338" y="183"/>
                  </a:lnTo>
                  <a:lnTo>
                    <a:pt x="338" y="183"/>
                  </a:lnTo>
                  <a:lnTo>
                    <a:pt x="338" y="183"/>
                  </a:lnTo>
                  <a:lnTo>
                    <a:pt x="338" y="181"/>
                  </a:lnTo>
                  <a:lnTo>
                    <a:pt x="340" y="181"/>
                  </a:lnTo>
                  <a:lnTo>
                    <a:pt x="340" y="183"/>
                  </a:lnTo>
                  <a:lnTo>
                    <a:pt x="338" y="185"/>
                  </a:lnTo>
                  <a:lnTo>
                    <a:pt x="338" y="185"/>
                  </a:lnTo>
                  <a:lnTo>
                    <a:pt x="338" y="185"/>
                  </a:lnTo>
                  <a:lnTo>
                    <a:pt x="338" y="187"/>
                  </a:lnTo>
                  <a:lnTo>
                    <a:pt x="338" y="187"/>
                  </a:lnTo>
                  <a:lnTo>
                    <a:pt x="338" y="187"/>
                  </a:lnTo>
                  <a:lnTo>
                    <a:pt x="338" y="189"/>
                  </a:lnTo>
                  <a:lnTo>
                    <a:pt x="340" y="189"/>
                  </a:lnTo>
                  <a:lnTo>
                    <a:pt x="340" y="187"/>
                  </a:lnTo>
                  <a:lnTo>
                    <a:pt x="342" y="185"/>
                  </a:lnTo>
                  <a:lnTo>
                    <a:pt x="344" y="183"/>
                  </a:lnTo>
                  <a:lnTo>
                    <a:pt x="346" y="181"/>
                  </a:lnTo>
                  <a:lnTo>
                    <a:pt x="354" y="181"/>
                  </a:lnTo>
                  <a:lnTo>
                    <a:pt x="356" y="181"/>
                  </a:lnTo>
                  <a:lnTo>
                    <a:pt x="356" y="181"/>
                  </a:lnTo>
                  <a:lnTo>
                    <a:pt x="356" y="179"/>
                  </a:lnTo>
                  <a:lnTo>
                    <a:pt x="358" y="177"/>
                  </a:lnTo>
                  <a:lnTo>
                    <a:pt x="358" y="177"/>
                  </a:lnTo>
                  <a:lnTo>
                    <a:pt x="360" y="177"/>
                  </a:lnTo>
                  <a:lnTo>
                    <a:pt x="362" y="175"/>
                  </a:lnTo>
                  <a:lnTo>
                    <a:pt x="366" y="175"/>
                  </a:lnTo>
                  <a:lnTo>
                    <a:pt x="370" y="173"/>
                  </a:lnTo>
                  <a:lnTo>
                    <a:pt x="375" y="171"/>
                  </a:lnTo>
                  <a:lnTo>
                    <a:pt x="377" y="171"/>
                  </a:lnTo>
                  <a:lnTo>
                    <a:pt x="377" y="171"/>
                  </a:lnTo>
                  <a:lnTo>
                    <a:pt x="377" y="169"/>
                  </a:lnTo>
                  <a:lnTo>
                    <a:pt x="379" y="162"/>
                  </a:lnTo>
                  <a:lnTo>
                    <a:pt x="377" y="162"/>
                  </a:lnTo>
                  <a:lnTo>
                    <a:pt x="379" y="162"/>
                  </a:lnTo>
                  <a:lnTo>
                    <a:pt x="379" y="160"/>
                  </a:lnTo>
                  <a:lnTo>
                    <a:pt x="379" y="158"/>
                  </a:lnTo>
                  <a:lnTo>
                    <a:pt x="381" y="158"/>
                  </a:lnTo>
                  <a:lnTo>
                    <a:pt x="383" y="158"/>
                  </a:lnTo>
                  <a:lnTo>
                    <a:pt x="383" y="158"/>
                  </a:lnTo>
                  <a:lnTo>
                    <a:pt x="383" y="158"/>
                  </a:lnTo>
                  <a:lnTo>
                    <a:pt x="383" y="154"/>
                  </a:lnTo>
                  <a:lnTo>
                    <a:pt x="383" y="154"/>
                  </a:lnTo>
                  <a:lnTo>
                    <a:pt x="385" y="152"/>
                  </a:lnTo>
                  <a:lnTo>
                    <a:pt x="383" y="146"/>
                  </a:lnTo>
                  <a:lnTo>
                    <a:pt x="385" y="144"/>
                  </a:lnTo>
                  <a:lnTo>
                    <a:pt x="385" y="144"/>
                  </a:lnTo>
                  <a:lnTo>
                    <a:pt x="387" y="142"/>
                  </a:lnTo>
                  <a:lnTo>
                    <a:pt x="387" y="144"/>
                  </a:lnTo>
                  <a:lnTo>
                    <a:pt x="387" y="144"/>
                  </a:lnTo>
                  <a:lnTo>
                    <a:pt x="391" y="144"/>
                  </a:lnTo>
                  <a:lnTo>
                    <a:pt x="391" y="142"/>
                  </a:lnTo>
                  <a:close/>
                </a:path>
              </a:pathLst>
            </a:custGeom>
            <a:solidFill>
              <a:schemeClr val="accent1">
                <a:lumMod val="60000"/>
                <a:lumOff val="40000"/>
              </a:schemeClr>
            </a:solidFill>
            <a:ln w="3175" cap="rnd">
              <a:solidFill>
                <a:schemeClr val="bg1"/>
              </a:solidFill>
              <a:prstDash val="solid"/>
              <a:round/>
              <a:headEnd/>
              <a:tailEnd/>
            </a:ln>
          </p:spPr>
          <p:txBody>
            <a:bodyPr vert="horz" wrap="square" lIns="48000" tIns="48000" rIns="0" bIns="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MD</a:t>
              </a:r>
            </a:p>
          </p:txBody>
        </p:sp>
        <p:sp>
          <p:nvSpPr>
            <p:cNvPr id="95" name="Freeform 36">
              <a:extLst>
                <a:ext uri="{FF2B5EF4-FFF2-40B4-BE49-F238E27FC236}">
                  <a16:creationId xmlns:a16="http://schemas.microsoft.com/office/drawing/2014/main" id="{8F5BA44C-91B1-F403-7E28-DB77CED9F9FF}"/>
                </a:ext>
              </a:extLst>
            </p:cNvPr>
            <p:cNvSpPr>
              <a:spLocks noEditPoints="1"/>
            </p:cNvSpPr>
            <p:nvPr/>
          </p:nvSpPr>
          <p:spPr bwMode="auto">
            <a:xfrm>
              <a:off x="4877" y="506"/>
              <a:ext cx="305" cy="158"/>
            </a:xfrm>
            <a:custGeom>
              <a:avLst/>
              <a:gdLst>
                <a:gd name="T0" fmla="*/ 295 w 305"/>
                <a:gd name="T1" fmla="*/ 144 h 158"/>
                <a:gd name="T2" fmla="*/ 293 w 305"/>
                <a:gd name="T3" fmla="*/ 148 h 158"/>
                <a:gd name="T4" fmla="*/ 303 w 305"/>
                <a:gd name="T5" fmla="*/ 144 h 158"/>
                <a:gd name="T6" fmla="*/ 264 w 305"/>
                <a:gd name="T7" fmla="*/ 146 h 158"/>
                <a:gd name="T8" fmla="*/ 250 w 305"/>
                <a:gd name="T9" fmla="*/ 138 h 158"/>
                <a:gd name="T10" fmla="*/ 239 w 305"/>
                <a:gd name="T11" fmla="*/ 152 h 158"/>
                <a:gd name="T12" fmla="*/ 239 w 305"/>
                <a:gd name="T13" fmla="*/ 156 h 158"/>
                <a:gd name="T14" fmla="*/ 295 w 305"/>
                <a:gd name="T15" fmla="*/ 109 h 158"/>
                <a:gd name="T16" fmla="*/ 293 w 305"/>
                <a:gd name="T17" fmla="*/ 92 h 158"/>
                <a:gd name="T18" fmla="*/ 291 w 305"/>
                <a:gd name="T19" fmla="*/ 88 h 158"/>
                <a:gd name="T20" fmla="*/ 266 w 305"/>
                <a:gd name="T21" fmla="*/ 66 h 158"/>
                <a:gd name="T22" fmla="*/ 262 w 305"/>
                <a:gd name="T23" fmla="*/ 72 h 158"/>
                <a:gd name="T24" fmla="*/ 274 w 305"/>
                <a:gd name="T25" fmla="*/ 72 h 158"/>
                <a:gd name="T26" fmla="*/ 282 w 305"/>
                <a:gd name="T27" fmla="*/ 80 h 158"/>
                <a:gd name="T28" fmla="*/ 284 w 305"/>
                <a:gd name="T29" fmla="*/ 95 h 158"/>
                <a:gd name="T30" fmla="*/ 266 w 305"/>
                <a:gd name="T31" fmla="*/ 107 h 158"/>
                <a:gd name="T32" fmla="*/ 237 w 305"/>
                <a:gd name="T33" fmla="*/ 88 h 158"/>
                <a:gd name="T34" fmla="*/ 227 w 305"/>
                <a:gd name="T35" fmla="*/ 80 h 158"/>
                <a:gd name="T36" fmla="*/ 233 w 305"/>
                <a:gd name="T37" fmla="*/ 84 h 158"/>
                <a:gd name="T38" fmla="*/ 219 w 305"/>
                <a:gd name="T39" fmla="*/ 70 h 158"/>
                <a:gd name="T40" fmla="*/ 201 w 305"/>
                <a:gd name="T41" fmla="*/ 60 h 158"/>
                <a:gd name="T42" fmla="*/ 201 w 305"/>
                <a:gd name="T43" fmla="*/ 66 h 158"/>
                <a:gd name="T44" fmla="*/ 196 w 305"/>
                <a:gd name="T45" fmla="*/ 64 h 158"/>
                <a:gd name="T46" fmla="*/ 190 w 305"/>
                <a:gd name="T47" fmla="*/ 60 h 158"/>
                <a:gd name="T48" fmla="*/ 190 w 305"/>
                <a:gd name="T49" fmla="*/ 56 h 158"/>
                <a:gd name="T50" fmla="*/ 192 w 305"/>
                <a:gd name="T51" fmla="*/ 49 h 158"/>
                <a:gd name="T52" fmla="*/ 196 w 305"/>
                <a:gd name="T53" fmla="*/ 43 h 158"/>
                <a:gd name="T54" fmla="*/ 198 w 305"/>
                <a:gd name="T55" fmla="*/ 37 h 158"/>
                <a:gd name="T56" fmla="*/ 201 w 305"/>
                <a:gd name="T57" fmla="*/ 31 h 158"/>
                <a:gd name="T58" fmla="*/ 215 w 305"/>
                <a:gd name="T59" fmla="*/ 23 h 158"/>
                <a:gd name="T60" fmla="*/ 215 w 305"/>
                <a:gd name="T61" fmla="*/ 17 h 158"/>
                <a:gd name="T62" fmla="*/ 209 w 305"/>
                <a:gd name="T63" fmla="*/ 21 h 158"/>
                <a:gd name="T64" fmla="*/ 196 w 305"/>
                <a:gd name="T65" fmla="*/ 13 h 158"/>
                <a:gd name="T66" fmla="*/ 192 w 305"/>
                <a:gd name="T67" fmla="*/ 6 h 158"/>
                <a:gd name="T68" fmla="*/ 184 w 305"/>
                <a:gd name="T69" fmla="*/ 0 h 158"/>
                <a:gd name="T70" fmla="*/ 172 w 305"/>
                <a:gd name="T71" fmla="*/ 13 h 158"/>
                <a:gd name="T72" fmla="*/ 166 w 305"/>
                <a:gd name="T73" fmla="*/ 19 h 158"/>
                <a:gd name="T74" fmla="*/ 160 w 305"/>
                <a:gd name="T75" fmla="*/ 29 h 158"/>
                <a:gd name="T76" fmla="*/ 112 w 305"/>
                <a:gd name="T77" fmla="*/ 39 h 158"/>
                <a:gd name="T78" fmla="*/ 67 w 305"/>
                <a:gd name="T79" fmla="*/ 49 h 158"/>
                <a:gd name="T80" fmla="*/ 67 w 305"/>
                <a:gd name="T81" fmla="*/ 49 h 158"/>
                <a:gd name="T82" fmla="*/ 26 w 305"/>
                <a:gd name="T83" fmla="*/ 58 h 158"/>
                <a:gd name="T84" fmla="*/ 2 w 305"/>
                <a:gd name="T85" fmla="*/ 99 h 158"/>
                <a:gd name="T86" fmla="*/ 43 w 305"/>
                <a:gd name="T87" fmla="*/ 129 h 158"/>
                <a:gd name="T88" fmla="*/ 76 w 305"/>
                <a:gd name="T89" fmla="*/ 123 h 158"/>
                <a:gd name="T90" fmla="*/ 151 w 305"/>
                <a:gd name="T91" fmla="*/ 105 h 158"/>
                <a:gd name="T92" fmla="*/ 176 w 305"/>
                <a:gd name="T93" fmla="*/ 111 h 158"/>
                <a:gd name="T94" fmla="*/ 180 w 305"/>
                <a:gd name="T95" fmla="*/ 121 h 158"/>
                <a:gd name="T96" fmla="*/ 190 w 305"/>
                <a:gd name="T97" fmla="*/ 127 h 158"/>
                <a:gd name="T98" fmla="*/ 194 w 305"/>
                <a:gd name="T99" fmla="*/ 129 h 158"/>
                <a:gd name="T100" fmla="*/ 205 w 305"/>
                <a:gd name="T101" fmla="*/ 146 h 158"/>
                <a:gd name="T102" fmla="*/ 209 w 305"/>
                <a:gd name="T103" fmla="*/ 144 h 158"/>
                <a:gd name="T104" fmla="*/ 219 w 305"/>
                <a:gd name="T105" fmla="*/ 133 h 158"/>
                <a:gd name="T106" fmla="*/ 223 w 305"/>
                <a:gd name="T107" fmla="*/ 129 h 158"/>
                <a:gd name="T108" fmla="*/ 231 w 305"/>
                <a:gd name="T109" fmla="*/ 121 h 158"/>
                <a:gd name="T110" fmla="*/ 237 w 305"/>
                <a:gd name="T111" fmla="*/ 113 h 158"/>
                <a:gd name="T112" fmla="*/ 237 w 305"/>
                <a:gd name="T113" fmla="*/ 119 h 158"/>
                <a:gd name="T114" fmla="*/ 254 w 305"/>
                <a:gd name="T115" fmla="*/ 125 h 158"/>
                <a:gd name="T116" fmla="*/ 266 w 305"/>
                <a:gd name="T117" fmla="*/ 115 h 158"/>
                <a:gd name="T118" fmla="*/ 276 w 305"/>
                <a:gd name="T119" fmla="*/ 1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5" h="158">
                  <a:moveTo>
                    <a:pt x="303" y="144"/>
                  </a:moveTo>
                  <a:lnTo>
                    <a:pt x="299" y="140"/>
                  </a:lnTo>
                  <a:lnTo>
                    <a:pt x="297" y="136"/>
                  </a:lnTo>
                  <a:lnTo>
                    <a:pt x="297" y="136"/>
                  </a:lnTo>
                  <a:lnTo>
                    <a:pt x="295" y="133"/>
                  </a:lnTo>
                  <a:lnTo>
                    <a:pt x="295" y="133"/>
                  </a:lnTo>
                  <a:lnTo>
                    <a:pt x="295" y="133"/>
                  </a:lnTo>
                  <a:lnTo>
                    <a:pt x="295" y="138"/>
                  </a:lnTo>
                  <a:lnTo>
                    <a:pt x="295" y="140"/>
                  </a:lnTo>
                  <a:lnTo>
                    <a:pt x="295" y="144"/>
                  </a:lnTo>
                  <a:lnTo>
                    <a:pt x="295" y="144"/>
                  </a:lnTo>
                  <a:lnTo>
                    <a:pt x="297" y="140"/>
                  </a:lnTo>
                  <a:lnTo>
                    <a:pt x="299" y="140"/>
                  </a:lnTo>
                  <a:lnTo>
                    <a:pt x="299" y="142"/>
                  </a:lnTo>
                  <a:lnTo>
                    <a:pt x="297" y="142"/>
                  </a:lnTo>
                  <a:lnTo>
                    <a:pt x="297" y="144"/>
                  </a:lnTo>
                  <a:lnTo>
                    <a:pt x="295" y="146"/>
                  </a:lnTo>
                  <a:lnTo>
                    <a:pt x="295" y="146"/>
                  </a:lnTo>
                  <a:lnTo>
                    <a:pt x="295" y="146"/>
                  </a:lnTo>
                  <a:lnTo>
                    <a:pt x="293" y="148"/>
                  </a:lnTo>
                  <a:lnTo>
                    <a:pt x="293" y="146"/>
                  </a:lnTo>
                  <a:lnTo>
                    <a:pt x="291" y="146"/>
                  </a:lnTo>
                  <a:lnTo>
                    <a:pt x="289" y="148"/>
                  </a:lnTo>
                  <a:lnTo>
                    <a:pt x="282" y="150"/>
                  </a:lnTo>
                  <a:lnTo>
                    <a:pt x="282" y="150"/>
                  </a:lnTo>
                  <a:lnTo>
                    <a:pt x="293" y="152"/>
                  </a:lnTo>
                  <a:lnTo>
                    <a:pt x="297" y="150"/>
                  </a:lnTo>
                  <a:lnTo>
                    <a:pt x="301" y="150"/>
                  </a:lnTo>
                  <a:lnTo>
                    <a:pt x="305" y="146"/>
                  </a:lnTo>
                  <a:lnTo>
                    <a:pt x="303" y="144"/>
                  </a:lnTo>
                  <a:close/>
                  <a:moveTo>
                    <a:pt x="262" y="142"/>
                  </a:moveTo>
                  <a:lnTo>
                    <a:pt x="260" y="140"/>
                  </a:lnTo>
                  <a:lnTo>
                    <a:pt x="260" y="142"/>
                  </a:lnTo>
                  <a:lnTo>
                    <a:pt x="260" y="144"/>
                  </a:lnTo>
                  <a:lnTo>
                    <a:pt x="258" y="146"/>
                  </a:lnTo>
                  <a:lnTo>
                    <a:pt x="258" y="146"/>
                  </a:lnTo>
                  <a:lnTo>
                    <a:pt x="260" y="148"/>
                  </a:lnTo>
                  <a:lnTo>
                    <a:pt x="262" y="148"/>
                  </a:lnTo>
                  <a:lnTo>
                    <a:pt x="262" y="148"/>
                  </a:lnTo>
                  <a:lnTo>
                    <a:pt x="264" y="146"/>
                  </a:lnTo>
                  <a:lnTo>
                    <a:pt x="262" y="146"/>
                  </a:lnTo>
                  <a:lnTo>
                    <a:pt x="262" y="142"/>
                  </a:lnTo>
                  <a:close/>
                  <a:moveTo>
                    <a:pt x="254" y="144"/>
                  </a:moveTo>
                  <a:lnTo>
                    <a:pt x="252" y="144"/>
                  </a:lnTo>
                  <a:lnTo>
                    <a:pt x="252" y="144"/>
                  </a:lnTo>
                  <a:lnTo>
                    <a:pt x="252" y="142"/>
                  </a:lnTo>
                  <a:lnTo>
                    <a:pt x="254" y="142"/>
                  </a:lnTo>
                  <a:lnTo>
                    <a:pt x="254" y="140"/>
                  </a:lnTo>
                  <a:lnTo>
                    <a:pt x="252" y="138"/>
                  </a:lnTo>
                  <a:lnTo>
                    <a:pt x="250" y="138"/>
                  </a:lnTo>
                  <a:lnTo>
                    <a:pt x="250" y="140"/>
                  </a:lnTo>
                  <a:lnTo>
                    <a:pt x="250" y="142"/>
                  </a:lnTo>
                  <a:lnTo>
                    <a:pt x="248" y="142"/>
                  </a:lnTo>
                  <a:lnTo>
                    <a:pt x="248" y="140"/>
                  </a:lnTo>
                  <a:lnTo>
                    <a:pt x="248" y="140"/>
                  </a:lnTo>
                  <a:lnTo>
                    <a:pt x="244" y="142"/>
                  </a:lnTo>
                  <a:lnTo>
                    <a:pt x="241" y="146"/>
                  </a:lnTo>
                  <a:lnTo>
                    <a:pt x="241" y="146"/>
                  </a:lnTo>
                  <a:lnTo>
                    <a:pt x="239" y="148"/>
                  </a:lnTo>
                  <a:lnTo>
                    <a:pt x="239" y="152"/>
                  </a:lnTo>
                  <a:lnTo>
                    <a:pt x="239" y="152"/>
                  </a:lnTo>
                  <a:lnTo>
                    <a:pt x="237" y="154"/>
                  </a:lnTo>
                  <a:lnTo>
                    <a:pt x="231" y="156"/>
                  </a:lnTo>
                  <a:lnTo>
                    <a:pt x="233" y="156"/>
                  </a:lnTo>
                  <a:lnTo>
                    <a:pt x="233" y="156"/>
                  </a:lnTo>
                  <a:lnTo>
                    <a:pt x="235" y="158"/>
                  </a:lnTo>
                  <a:lnTo>
                    <a:pt x="237" y="158"/>
                  </a:lnTo>
                  <a:lnTo>
                    <a:pt x="237" y="158"/>
                  </a:lnTo>
                  <a:lnTo>
                    <a:pt x="239" y="158"/>
                  </a:lnTo>
                  <a:lnTo>
                    <a:pt x="239" y="156"/>
                  </a:lnTo>
                  <a:lnTo>
                    <a:pt x="241" y="156"/>
                  </a:lnTo>
                  <a:lnTo>
                    <a:pt x="244" y="154"/>
                  </a:lnTo>
                  <a:lnTo>
                    <a:pt x="246" y="152"/>
                  </a:lnTo>
                  <a:lnTo>
                    <a:pt x="258" y="150"/>
                  </a:lnTo>
                  <a:lnTo>
                    <a:pt x="258" y="148"/>
                  </a:lnTo>
                  <a:lnTo>
                    <a:pt x="256" y="144"/>
                  </a:lnTo>
                  <a:lnTo>
                    <a:pt x="254" y="144"/>
                  </a:lnTo>
                  <a:close/>
                  <a:moveTo>
                    <a:pt x="293" y="117"/>
                  </a:moveTo>
                  <a:lnTo>
                    <a:pt x="293" y="111"/>
                  </a:lnTo>
                  <a:lnTo>
                    <a:pt x="295" y="109"/>
                  </a:lnTo>
                  <a:lnTo>
                    <a:pt x="295" y="109"/>
                  </a:lnTo>
                  <a:lnTo>
                    <a:pt x="295" y="107"/>
                  </a:lnTo>
                  <a:lnTo>
                    <a:pt x="293" y="107"/>
                  </a:lnTo>
                  <a:lnTo>
                    <a:pt x="293" y="107"/>
                  </a:lnTo>
                  <a:lnTo>
                    <a:pt x="293" y="109"/>
                  </a:lnTo>
                  <a:lnTo>
                    <a:pt x="293" y="119"/>
                  </a:lnTo>
                  <a:lnTo>
                    <a:pt x="293" y="117"/>
                  </a:lnTo>
                  <a:close/>
                  <a:moveTo>
                    <a:pt x="295" y="105"/>
                  </a:moveTo>
                  <a:lnTo>
                    <a:pt x="293" y="97"/>
                  </a:lnTo>
                  <a:lnTo>
                    <a:pt x="293" y="92"/>
                  </a:lnTo>
                  <a:lnTo>
                    <a:pt x="291" y="90"/>
                  </a:lnTo>
                  <a:lnTo>
                    <a:pt x="289" y="90"/>
                  </a:lnTo>
                  <a:lnTo>
                    <a:pt x="289" y="92"/>
                  </a:lnTo>
                  <a:lnTo>
                    <a:pt x="289" y="90"/>
                  </a:lnTo>
                  <a:lnTo>
                    <a:pt x="287" y="88"/>
                  </a:lnTo>
                  <a:lnTo>
                    <a:pt x="287" y="86"/>
                  </a:lnTo>
                  <a:lnTo>
                    <a:pt x="289" y="86"/>
                  </a:lnTo>
                  <a:lnTo>
                    <a:pt x="291" y="88"/>
                  </a:lnTo>
                  <a:lnTo>
                    <a:pt x="291" y="88"/>
                  </a:lnTo>
                  <a:lnTo>
                    <a:pt x="291" y="88"/>
                  </a:lnTo>
                  <a:lnTo>
                    <a:pt x="291" y="86"/>
                  </a:lnTo>
                  <a:lnTo>
                    <a:pt x="291" y="86"/>
                  </a:lnTo>
                  <a:lnTo>
                    <a:pt x="289" y="84"/>
                  </a:lnTo>
                  <a:lnTo>
                    <a:pt x="282" y="74"/>
                  </a:lnTo>
                  <a:lnTo>
                    <a:pt x="280" y="72"/>
                  </a:lnTo>
                  <a:lnTo>
                    <a:pt x="274" y="68"/>
                  </a:lnTo>
                  <a:lnTo>
                    <a:pt x="272" y="68"/>
                  </a:lnTo>
                  <a:lnTo>
                    <a:pt x="268" y="66"/>
                  </a:lnTo>
                  <a:lnTo>
                    <a:pt x="266" y="66"/>
                  </a:lnTo>
                  <a:lnTo>
                    <a:pt x="266" y="66"/>
                  </a:lnTo>
                  <a:lnTo>
                    <a:pt x="262" y="68"/>
                  </a:lnTo>
                  <a:lnTo>
                    <a:pt x="260" y="68"/>
                  </a:lnTo>
                  <a:lnTo>
                    <a:pt x="260" y="68"/>
                  </a:lnTo>
                  <a:lnTo>
                    <a:pt x="260" y="68"/>
                  </a:lnTo>
                  <a:lnTo>
                    <a:pt x="260" y="70"/>
                  </a:lnTo>
                  <a:lnTo>
                    <a:pt x="260" y="70"/>
                  </a:lnTo>
                  <a:lnTo>
                    <a:pt x="260" y="70"/>
                  </a:lnTo>
                  <a:lnTo>
                    <a:pt x="260" y="70"/>
                  </a:lnTo>
                  <a:lnTo>
                    <a:pt x="260" y="70"/>
                  </a:lnTo>
                  <a:lnTo>
                    <a:pt x="262" y="72"/>
                  </a:lnTo>
                  <a:lnTo>
                    <a:pt x="264" y="74"/>
                  </a:lnTo>
                  <a:lnTo>
                    <a:pt x="264" y="74"/>
                  </a:lnTo>
                  <a:lnTo>
                    <a:pt x="266" y="72"/>
                  </a:lnTo>
                  <a:lnTo>
                    <a:pt x="266" y="72"/>
                  </a:lnTo>
                  <a:lnTo>
                    <a:pt x="266" y="72"/>
                  </a:lnTo>
                  <a:lnTo>
                    <a:pt x="264" y="72"/>
                  </a:lnTo>
                  <a:lnTo>
                    <a:pt x="266" y="70"/>
                  </a:lnTo>
                  <a:lnTo>
                    <a:pt x="268" y="68"/>
                  </a:lnTo>
                  <a:lnTo>
                    <a:pt x="272" y="70"/>
                  </a:lnTo>
                  <a:lnTo>
                    <a:pt x="274" y="72"/>
                  </a:lnTo>
                  <a:lnTo>
                    <a:pt x="274" y="74"/>
                  </a:lnTo>
                  <a:lnTo>
                    <a:pt x="276" y="78"/>
                  </a:lnTo>
                  <a:lnTo>
                    <a:pt x="276" y="80"/>
                  </a:lnTo>
                  <a:lnTo>
                    <a:pt x="278" y="84"/>
                  </a:lnTo>
                  <a:lnTo>
                    <a:pt x="278" y="82"/>
                  </a:lnTo>
                  <a:lnTo>
                    <a:pt x="278" y="80"/>
                  </a:lnTo>
                  <a:lnTo>
                    <a:pt x="278" y="78"/>
                  </a:lnTo>
                  <a:lnTo>
                    <a:pt x="280" y="78"/>
                  </a:lnTo>
                  <a:lnTo>
                    <a:pt x="280" y="80"/>
                  </a:lnTo>
                  <a:lnTo>
                    <a:pt x="282" y="80"/>
                  </a:lnTo>
                  <a:lnTo>
                    <a:pt x="284" y="80"/>
                  </a:lnTo>
                  <a:lnTo>
                    <a:pt x="284" y="80"/>
                  </a:lnTo>
                  <a:lnTo>
                    <a:pt x="282" y="82"/>
                  </a:lnTo>
                  <a:lnTo>
                    <a:pt x="282" y="82"/>
                  </a:lnTo>
                  <a:lnTo>
                    <a:pt x="282" y="82"/>
                  </a:lnTo>
                  <a:lnTo>
                    <a:pt x="284" y="84"/>
                  </a:lnTo>
                  <a:lnTo>
                    <a:pt x="284" y="86"/>
                  </a:lnTo>
                  <a:lnTo>
                    <a:pt x="287" y="90"/>
                  </a:lnTo>
                  <a:lnTo>
                    <a:pt x="284" y="95"/>
                  </a:lnTo>
                  <a:lnTo>
                    <a:pt x="284" y="95"/>
                  </a:lnTo>
                  <a:lnTo>
                    <a:pt x="280" y="97"/>
                  </a:lnTo>
                  <a:lnTo>
                    <a:pt x="278" y="99"/>
                  </a:lnTo>
                  <a:lnTo>
                    <a:pt x="272" y="103"/>
                  </a:lnTo>
                  <a:lnTo>
                    <a:pt x="270" y="105"/>
                  </a:lnTo>
                  <a:lnTo>
                    <a:pt x="266" y="107"/>
                  </a:lnTo>
                  <a:lnTo>
                    <a:pt x="264" y="109"/>
                  </a:lnTo>
                  <a:lnTo>
                    <a:pt x="262" y="109"/>
                  </a:lnTo>
                  <a:lnTo>
                    <a:pt x="262" y="107"/>
                  </a:lnTo>
                  <a:lnTo>
                    <a:pt x="262" y="107"/>
                  </a:lnTo>
                  <a:lnTo>
                    <a:pt x="266" y="107"/>
                  </a:lnTo>
                  <a:lnTo>
                    <a:pt x="266" y="105"/>
                  </a:lnTo>
                  <a:lnTo>
                    <a:pt x="256" y="107"/>
                  </a:lnTo>
                  <a:lnTo>
                    <a:pt x="254" y="107"/>
                  </a:lnTo>
                  <a:lnTo>
                    <a:pt x="248" y="105"/>
                  </a:lnTo>
                  <a:lnTo>
                    <a:pt x="244" y="103"/>
                  </a:lnTo>
                  <a:lnTo>
                    <a:pt x="244" y="101"/>
                  </a:lnTo>
                  <a:lnTo>
                    <a:pt x="244" y="97"/>
                  </a:lnTo>
                  <a:lnTo>
                    <a:pt x="241" y="92"/>
                  </a:lnTo>
                  <a:lnTo>
                    <a:pt x="239" y="90"/>
                  </a:lnTo>
                  <a:lnTo>
                    <a:pt x="237" y="88"/>
                  </a:lnTo>
                  <a:lnTo>
                    <a:pt x="233" y="90"/>
                  </a:lnTo>
                  <a:lnTo>
                    <a:pt x="233" y="90"/>
                  </a:lnTo>
                  <a:lnTo>
                    <a:pt x="231" y="90"/>
                  </a:lnTo>
                  <a:lnTo>
                    <a:pt x="225" y="86"/>
                  </a:lnTo>
                  <a:lnTo>
                    <a:pt x="225" y="86"/>
                  </a:lnTo>
                  <a:lnTo>
                    <a:pt x="227" y="84"/>
                  </a:lnTo>
                  <a:lnTo>
                    <a:pt x="227" y="84"/>
                  </a:lnTo>
                  <a:lnTo>
                    <a:pt x="227" y="86"/>
                  </a:lnTo>
                  <a:lnTo>
                    <a:pt x="227" y="80"/>
                  </a:lnTo>
                  <a:lnTo>
                    <a:pt x="227" y="80"/>
                  </a:lnTo>
                  <a:lnTo>
                    <a:pt x="229" y="80"/>
                  </a:lnTo>
                  <a:lnTo>
                    <a:pt x="229" y="80"/>
                  </a:lnTo>
                  <a:lnTo>
                    <a:pt x="231" y="84"/>
                  </a:lnTo>
                  <a:lnTo>
                    <a:pt x="231" y="84"/>
                  </a:lnTo>
                  <a:lnTo>
                    <a:pt x="231" y="84"/>
                  </a:lnTo>
                  <a:lnTo>
                    <a:pt x="229" y="84"/>
                  </a:lnTo>
                  <a:lnTo>
                    <a:pt x="231" y="84"/>
                  </a:lnTo>
                  <a:lnTo>
                    <a:pt x="231" y="84"/>
                  </a:lnTo>
                  <a:lnTo>
                    <a:pt x="233" y="84"/>
                  </a:lnTo>
                  <a:lnTo>
                    <a:pt x="233" y="84"/>
                  </a:lnTo>
                  <a:lnTo>
                    <a:pt x="233" y="82"/>
                  </a:lnTo>
                  <a:lnTo>
                    <a:pt x="233" y="82"/>
                  </a:lnTo>
                  <a:lnTo>
                    <a:pt x="233" y="82"/>
                  </a:lnTo>
                  <a:lnTo>
                    <a:pt x="229" y="80"/>
                  </a:lnTo>
                  <a:lnTo>
                    <a:pt x="229" y="78"/>
                  </a:lnTo>
                  <a:lnTo>
                    <a:pt x="229" y="76"/>
                  </a:lnTo>
                  <a:lnTo>
                    <a:pt x="225" y="76"/>
                  </a:lnTo>
                  <a:lnTo>
                    <a:pt x="223" y="72"/>
                  </a:lnTo>
                  <a:lnTo>
                    <a:pt x="221" y="70"/>
                  </a:lnTo>
                  <a:lnTo>
                    <a:pt x="219" y="70"/>
                  </a:lnTo>
                  <a:lnTo>
                    <a:pt x="219" y="70"/>
                  </a:lnTo>
                  <a:lnTo>
                    <a:pt x="219" y="70"/>
                  </a:lnTo>
                  <a:lnTo>
                    <a:pt x="219" y="66"/>
                  </a:lnTo>
                  <a:lnTo>
                    <a:pt x="219" y="66"/>
                  </a:lnTo>
                  <a:lnTo>
                    <a:pt x="215" y="64"/>
                  </a:lnTo>
                  <a:lnTo>
                    <a:pt x="213" y="64"/>
                  </a:lnTo>
                  <a:lnTo>
                    <a:pt x="211" y="62"/>
                  </a:lnTo>
                  <a:lnTo>
                    <a:pt x="207" y="62"/>
                  </a:lnTo>
                  <a:lnTo>
                    <a:pt x="205" y="62"/>
                  </a:lnTo>
                  <a:lnTo>
                    <a:pt x="201" y="60"/>
                  </a:lnTo>
                  <a:lnTo>
                    <a:pt x="201" y="60"/>
                  </a:lnTo>
                  <a:lnTo>
                    <a:pt x="203" y="62"/>
                  </a:lnTo>
                  <a:lnTo>
                    <a:pt x="203" y="62"/>
                  </a:lnTo>
                  <a:lnTo>
                    <a:pt x="205" y="64"/>
                  </a:lnTo>
                  <a:lnTo>
                    <a:pt x="205" y="64"/>
                  </a:lnTo>
                  <a:lnTo>
                    <a:pt x="205" y="66"/>
                  </a:lnTo>
                  <a:lnTo>
                    <a:pt x="205" y="66"/>
                  </a:lnTo>
                  <a:lnTo>
                    <a:pt x="203" y="64"/>
                  </a:lnTo>
                  <a:lnTo>
                    <a:pt x="203" y="66"/>
                  </a:lnTo>
                  <a:lnTo>
                    <a:pt x="201" y="66"/>
                  </a:lnTo>
                  <a:lnTo>
                    <a:pt x="201" y="68"/>
                  </a:lnTo>
                  <a:lnTo>
                    <a:pt x="198" y="68"/>
                  </a:lnTo>
                  <a:lnTo>
                    <a:pt x="198" y="68"/>
                  </a:lnTo>
                  <a:lnTo>
                    <a:pt x="198" y="68"/>
                  </a:lnTo>
                  <a:lnTo>
                    <a:pt x="198" y="68"/>
                  </a:lnTo>
                  <a:lnTo>
                    <a:pt x="198" y="68"/>
                  </a:lnTo>
                  <a:lnTo>
                    <a:pt x="196" y="68"/>
                  </a:lnTo>
                  <a:lnTo>
                    <a:pt x="198" y="66"/>
                  </a:lnTo>
                  <a:lnTo>
                    <a:pt x="198" y="66"/>
                  </a:lnTo>
                  <a:lnTo>
                    <a:pt x="196" y="64"/>
                  </a:lnTo>
                  <a:lnTo>
                    <a:pt x="194" y="64"/>
                  </a:lnTo>
                  <a:lnTo>
                    <a:pt x="194" y="64"/>
                  </a:lnTo>
                  <a:lnTo>
                    <a:pt x="194" y="62"/>
                  </a:lnTo>
                  <a:lnTo>
                    <a:pt x="192" y="64"/>
                  </a:lnTo>
                  <a:lnTo>
                    <a:pt x="192" y="64"/>
                  </a:lnTo>
                  <a:lnTo>
                    <a:pt x="190" y="64"/>
                  </a:lnTo>
                  <a:lnTo>
                    <a:pt x="188" y="62"/>
                  </a:lnTo>
                  <a:lnTo>
                    <a:pt x="188" y="60"/>
                  </a:lnTo>
                  <a:lnTo>
                    <a:pt x="190" y="60"/>
                  </a:lnTo>
                  <a:lnTo>
                    <a:pt x="190" y="60"/>
                  </a:lnTo>
                  <a:lnTo>
                    <a:pt x="190" y="58"/>
                  </a:lnTo>
                  <a:lnTo>
                    <a:pt x="190" y="58"/>
                  </a:lnTo>
                  <a:lnTo>
                    <a:pt x="188" y="58"/>
                  </a:lnTo>
                  <a:lnTo>
                    <a:pt x="188" y="58"/>
                  </a:lnTo>
                  <a:lnTo>
                    <a:pt x="188" y="56"/>
                  </a:lnTo>
                  <a:lnTo>
                    <a:pt x="190" y="56"/>
                  </a:lnTo>
                  <a:lnTo>
                    <a:pt x="192" y="58"/>
                  </a:lnTo>
                  <a:lnTo>
                    <a:pt x="192" y="56"/>
                  </a:lnTo>
                  <a:lnTo>
                    <a:pt x="192" y="56"/>
                  </a:lnTo>
                  <a:lnTo>
                    <a:pt x="190" y="56"/>
                  </a:lnTo>
                  <a:lnTo>
                    <a:pt x="190" y="56"/>
                  </a:lnTo>
                  <a:lnTo>
                    <a:pt x="192" y="56"/>
                  </a:lnTo>
                  <a:lnTo>
                    <a:pt x="192" y="56"/>
                  </a:lnTo>
                  <a:lnTo>
                    <a:pt x="194" y="56"/>
                  </a:lnTo>
                  <a:lnTo>
                    <a:pt x="196" y="56"/>
                  </a:lnTo>
                  <a:lnTo>
                    <a:pt x="194" y="56"/>
                  </a:lnTo>
                  <a:lnTo>
                    <a:pt x="194" y="54"/>
                  </a:lnTo>
                  <a:lnTo>
                    <a:pt x="192" y="51"/>
                  </a:lnTo>
                  <a:lnTo>
                    <a:pt x="192" y="49"/>
                  </a:lnTo>
                  <a:lnTo>
                    <a:pt x="192" y="49"/>
                  </a:lnTo>
                  <a:lnTo>
                    <a:pt x="192" y="47"/>
                  </a:lnTo>
                  <a:lnTo>
                    <a:pt x="194" y="47"/>
                  </a:lnTo>
                  <a:lnTo>
                    <a:pt x="196" y="49"/>
                  </a:lnTo>
                  <a:lnTo>
                    <a:pt x="198" y="47"/>
                  </a:lnTo>
                  <a:lnTo>
                    <a:pt x="196" y="47"/>
                  </a:lnTo>
                  <a:lnTo>
                    <a:pt x="196" y="47"/>
                  </a:lnTo>
                  <a:lnTo>
                    <a:pt x="194" y="45"/>
                  </a:lnTo>
                  <a:lnTo>
                    <a:pt x="194" y="45"/>
                  </a:lnTo>
                  <a:lnTo>
                    <a:pt x="196" y="43"/>
                  </a:lnTo>
                  <a:lnTo>
                    <a:pt x="196" y="43"/>
                  </a:lnTo>
                  <a:lnTo>
                    <a:pt x="196" y="43"/>
                  </a:lnTo>
                  <a:lnTo>
                    <a:pt x="198" y="43"/>
                  </a:lnTo>
                  <a:lnTo>
                    <a:pt x="198" y="41"/>
                  </a:lnTo>
                  <a:lnTo>
                    <a:pt x="198" y="41"/>
                  </a:lnTo>
                  <a:lnTo>
                    <a:pt x="201" y="39"/>
                  </a:lnTo>
                  <a:lnTo>
                    <a:pt x="201" y="39"/>
                  </a:lnTo>
                  <a:lnTo>
                    <a:pt x="201" y="39"/>
                  </a:lnTo>
                  <a:lnTo>
                    <a:pt x="201" y="39"/>
                  </a:lnTo>
                  <a:lnTo>
                    <a:pt x="198" y="37"/>
                  </a:lnTo>
                  <a:lnTo>
                    <a:pt x="198" y="37"/>
                  </a:lnTo>
                  <a:lnTo>
                    <a:pt x="198" y="37"/>
                  </a:lnTo>
                  <a:lnTo>
                    <a:pt x="196" y="39"/>
                  </a:lnTo>
                  <a:lnTo>
                    <a:pt x="196" y="39"/>
                  </a:lnTo>
                  <a:lnTo>
                    <a:pt x="196" y="39"/>
                  </a:lnTo>
                  <a:lnTo>
                    <a:pt x="196" y="37"/>
                  </a:lnTo>
                  <a:lnTo>
                    <a:pt x="196" y="37"/>
                  </a:lnTo>
                  <a:lnTo>
                    <a:pt x="196" y="37"/>
                  </a:lnTo>
                  <a:lnTo>
                    <a:pt x="196" y="35"/>
                  </a:lnTo>
                  <a:lnTo>
                    <a:pt x="198" y="35"/>
                  </a:lnTo>
                  <a:lnTo>
                    <a:pt x="201" y="31"/>
                  </a:lnTo>
                  <a:lnTo>
                    <a:pt x="209" y="27"/>
                  </a:lnTo>
                  <a:lnTo>
                    <a:pt x="211" y="27"/>
                  </a:lnTo>
                  <a:lnTo>
                    <a:pt x="211" y="25"/>
                  </a:lnTo>
                  <a:lnTo>
                    <a:pt x="211" y="25"/>
                  </a:lnTo>
                  <a:lnTo>
                    <a:pt x="211" y="23"/>
                  </a:lnTo>
                  <a:lnTo>
                    <a:pt x="213" y="23"/>
                  </a:lnTo>
                  <a:lnTo>
                    <a:pt x="213" y="25"/>
                  </a:lnTo>
                  <a:lnTo>
                    <a:pt x="213" y="25"/>
                  </a:lnTo>
                  <a:lnTo>
                    <a:pt x="215" y="25"/>
                  </a:lnTo>
                  <a:lnTo>
                    <a:pt x="215" y="23"/>
                  </a:lnTo>
                  <a:lnTo>
                    <a:pt x="215" y="23"/>
                  </a:lnTo>
                  <a:lnTo>
                    <a:pt x="215" y="23"/>
                  </a:lnTo>
                  <a:lnTo>
                    <a:pt x="215" y="21"/>
                  </a:lnTo>
                  <a:lnTo>
                    <a:pt x="217" y="21"/>
                  </a:lnTo>
                  <a:lnTo>
                    <a:pt x="217" y="21"/>
                  </a:lnTo>
                  <a:lnTo>
                    <a:pt x="217" y="19"/>
                  </a:lnTo>
                  <a:lnTo>
                    <a:pt x="217" y="19"/>
                  </a:lnTo>
                  <a:lnTo>
                    <a:pt x="217" y="17"/>
                  </a:lnTo>
                  <a:lnTo>
                    <a:pt x="217" y="17"/>
                  </a:lnTo>
                  <a:lnTo>
                    <a:pt x="215" y="17"/>
                  </a:lnTo>
                  <a:lnTo>
                    <a:pt x="215" y="17"/>
                  </a:lnTo>
                  <a:lnTo>
                    <a:pt x="213" y="17"/>
                  </a:lnTo>
                  <a:lnTo>
                    <a:pt x="213" y="17"/>
                  </a:lnTo>
                  <a:lnTo>
                    <a:pt x="213" y="15"/>
                  </a:lnTo>
                  <a:lnTo>
                    <a:pt x="211" y="17"/>
                  </a:lnTo>
                  <a:lnTo>
                    <a:pt x="211" y="17"/>
                  </a:lnTo>
                  <a:lnTo>
                    <a:pt x="209" y="19"/>
                  </a:lnTo>
                  <a:lnTo>
                    <a:pt x="211" y="21"/>
                  </a:lnTo>
                  <a:lnTo>
                    <a:pt x="211" y="23"/>
                  </a:lnTo>
                  <a:lnTo>
                    <a:pt x="209" y="21"/>
                  </a:lnTo>
                  <a:lnTo>
                    <a:pt x="209" y="21"/>
                  </a:lnTo>
                  <a:lnTo>
                    <a:pt x="205" y="21"/>
                  </a:lnTo>
                  <a:lnTo>
                    <a:pt x="203" y="19"/>
                  </a:lnTo>
                  <a:lnTo>
                    <a:pt x="203" y="19"/>
                  </a:lnTo>
                  <a:lnTo>
                    <a:pt x="203" y="19"/>
                  </a:lnTo>
                  <a:lnTo>
                    <a:pt x="205" y="19"/>
                  </a:lnTo>
                  <a:lnTo>
                    <a:pt x="198" y="17"/>
                  </a:lnTo>
                  <a:lnTo>
                    <a:pt x="196" y="17"/>
                  </a:lnTo>
                  <a:lnTo>
                    <a:pt x="196" y="13"/>
                  </a:lnTo>
                  <a:lnTo>
                    <a:pt x="196" y="13"/>
                  </a:lnTo>
                  <a:lnTo>
                    <a:pt x="201" y="17"/>
                  </a:lnTo>
                  <a:lnTo>
                    <a:pt x="201" y="15"/>
                  </a:lnTo>
                  <a:lnTo>
                    <a:pt x="196" y="8"/>
                  </a:lnTo>
                  <a:lnTo>
                    <a:pt x="196" y="8"/>
                  </a:lnTo>
                  <a:lnTo>
                    <a:pt x="194" y="8"/>
                  </a:lnTo>
                  <a:lnTo>
                    <a:pt x="194" y="6"/>
                  </a:lnTo>
                  <a:lnTo>
                    <a:pt x="194" y="6"/>
                  </a:lnTo>
                  <a:lnTo>
                    <a:pt x="194" y="8"/>
                  </a:lnTo>
                  <a:lnTo>
                    <a:pt x="194" y="8"/>
                  </a:lnTo>
                  <a:lnTo>
                    <a:pt x="192" y="6"/>
                  </a:lnTo>
                  <a:lnTo>
                    <a:pt x="190" y="6"/>
                  </a:lnTo>
                  <a:lnTo>
                    <a:pt x="190" y="6"/>
                  </a:lnTo>
                  <a:lnTo>
                    <a:pt x="192" y="6"/>
                  </a:lnTo>
                  <a:lnTo>
                    <a:pt x="194" y="4"/>
                  </a:lnTo>
                  <a:lnTo>
                    <a:pt x="194" y="4"/>
                  </a:lnTo>
                  <a:lnTo>
                    <a:pt x="192" y="0"/>
                  </a:lnTo>
                  <a:lnTo>
                    <a:pt x="192" y="0"/>
                  </a:lnTo>
                  <a:lnTo>
                    <a:pt x="190" y="2"/>
                  </a:lnTo>
                  <a:lnTo>
                    <a:pt x="188" y="2"/>
                  </a:lnTo>
                  <a:lnTo>
                    <a:pt x="184" y="0"/>
                  </a:lnTo>
                  <a:lnTo>
                    <a:pt x="184" y="0"/>
                  </a:lnTo>
                  <a:lnTo>
                    <a:pt x="184" y="2"/>
                  </a:lnTo>
                  <a:lnTo>
                    <a:pt x="176" y="6"/>
                  </a:lnTo>
                  <a:lnTo>
                    <a:pt x="176" y="8"/>
                  </a:lnTo>
                  <a:lnTo>
                    <a:pt x="176" y="8"/>
                  </a:lnTo>
                  <a:lnTo>
                    <a:pt x="174" y="11"/>
                  </a:lnTo>
                  <a:lnTo>
                    <a:pt x="174" y="11"/>
                  </a:lnTo>
                  <a:lnTo>
                    <a:pt x="174" y="11"/>
                  </a:lnTo>
                  <a:lnTo>
                    <a:pt x="172" y="13"/>
                  </a:lnTo>
                  <a:lnTo>
                    <a:pt x="172" y="13"/>
                  </a:lnTo>
                  <a:lnTo>
                    <a:pt x="172" y="13"/>
                  </a:lnTo>
                  <a:lnTo>
                    <a:pt x="170" y="13"/>
                  </a:lnTo>
                  <a:lnTo>
                    <a:pt x="170" y="13"/>
                  </a:lnTo>
                  <a:lnTo>
                    <a:pt x="168" y="13"/>
                  </a:lnTo>
                  <a:lnTo>
                    <a:pt x="168" y="13"/>
                  </a:lnTo>
                  <a:lnTo>
                    <a:pt x="168" y="15"/>
                  </a:lnTo>
                  <a:lnTo>
                    <a:pt x="168" y="15"/>
                  </a:lnTo>
                  <a:lnTo>
                    <a:pt x="168" y="15"/>
                  </a:lnTo>
                  <a:lnTo>
                    <a:pt x="166" y="17"/>
                  </a:lnTo>
                  <a:lnTo>
                    <a:pt x="166" y="19"/>
                  </a:lnTo>
                  <a:lnTo>
                    <a:pt x="166" y="19"/>
                  </a:lnTo>
                  <a:lnTo>
                    <a:pt x="166" y="21"/>
                  </a:lnTo>
                  <a:lnTo>
                    <a:pt x="166" y="21"/>
                  </a:lnTo>
                  <a:lnTo>
                    <a:pt x="164" y="23"/>
                  </a:lnTo>
                  <a:lnTo>
                    <a:pt x="164" y="23"/>
                  </a:lnTo>
                  <a:lnTo>
                    <a:pt x="162" y="23"/>
                  </a:lnTo>
                  <a:lnTo>
                    <a:pt x="162" y="25"/>
                  </a:lnTo>
                  <a:lnTo>
                    <a:pt x="162" y="27"/>
                  </a:lnTo>
                  <a:lnTo>
                    <a:pt x="160" y="27"/>
                  </a:lnTo>
                  <a:lnTo>
                    <a:pt x="160" y="29"/>
                  </a:lnTo>
                  <a:lnTo>
                    <a:pt x="158" y="29"/>
                  </a:lnTo>
                  <a:lnTo>
                    <a:pt x="158" y="29"/>
                  </a:lnTo>
                  <a:lnTo>
                    <a:pt x="151" y="31"/>
                  </a:lnTo>
                  <a:lnTo>
                    <a:pt x="145" y="31"/>
                  </a:lnTo>
                  <a:lnTo>
                    <a:pt x="139" y="33"/>
                  </a:lnTo>
                  <a:lnTo>
                    <a:pt x="135" y="33"/>
                  </a:lnTo>
                  <a:lnTo>
                    <a:pt x="129" y="35"/>
                  </a:lnTo>
                  <a:lnTo>
                    <a:pt x="123" y="37"/>
                  </a:lnTo>
                  <a:lnTo>
                    <a:pt x="117" y="37"/>
                  </a:lnTo>
                  <a:lnTo>
                    <a:pt x="112" y="39"/>
                  </a:lnTo>
                  <a:lnTo>
                    <a:pt x="106" y="41"/>
                  </a:lnTo>
                  <a:lnTo>
                    <a:pt x="94" y="43"/>
                  </a:lnTo>
                  <a:lnTo>
                    <a:pt x="90" y="43"/>
                  </a:lnTo>
                  <a:lnTo>
                    <a:pt x="84" y="45"/>
                  </a:lnTo>
                  <a:lnTo>
                    <a:pt x="78" y="47"/>
                  </a:lnTo>
                  <a:lnTo>
                    <a:pt x="71" y="47"/>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7" y="49"/>
                  </a:lnTo>
                  <a:lnTo>
                    <a:pt x="63" y="49"/>
                  </a:lnTo>
                  <a:lnTo>
                    <a:pt x="59" y="51"/>
                  </a:lnTo>
                  <a:lnTo>
                    <a:pt x="55" y="51"/>
                  </a:lnTo>
                  <a:lnTo>
                    <a:pt x="51" y="54"/>
                  </a:lnTo>
                  <a:lnTo>
                    <a:pt x="47" y="54"/>
                  </a:lnTo>
                  <a:lnTo>
                    <a:pt x="43" y="54"/>
                  </a:lnTo>
                  <a:lnTo>
                    <a:pt x="39" y="56"/>
                  </a:lnTo>
                  <a:lnTo>
                    <a:pt x="35" y="56"/>
                  </a:lnTo>
                  <a:lnTo>
                    <a:pt x="31" y="56"/>
                  </a:lnTo>
                  <a:lnTo>
                    <a:pt x="26" y="58"/>
                  </a:lnTo>
                  <a:lnTo>
                    <a:pt x="24" y="58"/>
                  </a:lnTo>
                  <a:lnTo>
                    <a:pt x="20" y="60"/>
                  </a:lnTo>
                  <a:lnTo>
                    <a:pt x="16" y="60"/>
                  </a:lnTo>
                  <a:lnTo>
                    <a:pt x="4" y="62"/>
                  </a:lnTo>
                  <a:lnTo>
                    <a:pt x="4" y="64"/>
                  </a:lnTo>
                  <a:lnTo>
                    <a:pt x="4" y="68"/>
                  </a:lnTo>
                  <a:lnTo>
                    <a:pt x="2" y="74"/>
                  </a:lnTo>
                  <a:lnTo>
                    <a:pt x="2" y="82"/>
                  </a:lnTo>
                  <a:lnTo>
                    <a:pt x="2" y="90"/>
                  </a:lnTo>
                  <a:lnTo>
                    <a:pt x="2" y="99"/>
                  </a:lnTo>
                  <a:lnTo>
                    <a:pt x="2" y="107"/>
                  </a:lnTo>
                  <a:lnTo>
                    <a:pt x="2" y="123"/>
                  </a:lnTo>
                  <a:lnTo>
                    <a:pt x="2" y="131"/>
                  </a:lnTo>
                  <a:lnTo>
                    <a:pt x="0" y="133"/>
                  </a:lnTo>
                  <a:lnTo>
                    <a:pt x="0" y="136"/>
                  </a:lnTo>
                  <a:lnTo>
                    <a:pt x="4" y="138"/>
                  </a:lnTo>
                  <a:lnTo>
                    <a:pt x="14" y="136"/>
                  </a:lnTo>
                  <a:lnTo>
                    <a:pt x="22" y="133"/>
                  </a:lnTo>
                  <a:lnTo>
                    <a:pt x="33" y="131"/>
                  </a:lnTo>
                  <a:lnTo>
                    <a:pt x="43" y="129"/>
                  </a:lnTo>
                  <a:lnTo>
                    <a:pt x="49" y="129"/>
                  </a:lnTo>
                  <a:lnTo>
                    <a:pt x="53" y="127"/>
                  </a:lnTo>
                  <a:lnTo>
                    <a:pt x="57" y="127"/>
                  </a:lnTo>
                  <a:lnTo>
                    <a:pt x="59" y="129"/>
                  </a:lnTo>
                  <a:lnTo>
                    <a:pt x="61" y="129"/>
                  </a:lnTo>
                  <a:lnTo>
                    <a:pt x="61" y="127"/>
                  </a:lnTo>
                  <a:lnTo>
                    <a:pt x="71" y="123"/>
                  </a:lnTo>
                  <a:lnTo>
                    <a:pt x="74" y="123"/>
                  </a:lnTo>
                  <a:lnTo>
                    <a:pt x="76" y="123"/>
                  </a:lnTo>
                  <a:lnTo>
                    <a:pt x="76" y="123"/>
                  </a:lnTo>
                  <a:lnTo>
                    <a:pt x="78" y="123"/>
                  </a:lnTo>
                  <a:lnTo>
                    <a:pt x="82" y="121"/>
                  </a:lnTo>
                  <a:lnTo>
                    <a:pt x="94" y="119"/>
                  </a:lnTo>
                  <a:lnTo>
                    <a:pt x="104" y="115"/>
                  </a:lnTo>
                  <a:lnTo>
                    <a:pt x="117" y="113"/>
                  </a:lnTo>
                  <a:lnTo>
                    <a:pt x="129" y="111"/>
                  </a:lnTo>
                  <a:lnTo>
                    <a:pt x="137" y="109"/>
                  </a:lnTo>
                  <a:lnTo>
                    <a:pt x="137" y="109"/>
                  </a:lnTo>
                  <a:lnTo>
                    <a:pt x="145" y="107"/>
                  </a:lnTo>
                  <a:lnTo>
                    <a:pt x="151" y="105"/>
                  </a:lnTo>
                  <a:lnTo>
                    <a:pt x="160" y="103"/>
                  </a:lnTo>
                  <a:lnTo>
                    <a:pt x="166" y="101"/>
                  </a:lnTo>
                  <a:lnTo>
                    <a:pt x="170" y="101"/>
                  </a:lnTo>
                  <a:lnTo>
                    <a:pt x="172" y="101"/>
                  </a:lnTo>
                  <a:lnTo>
                    <a:pt x="172" y="105"/>
                  </a:lnTo>
                  <a:lnTo>
                    <a:pt x="174" y="111"/>
                  </a:lnTo>
                  <a:lnTo>
                    <a:pt x="174" y="111"/>
                  </a:lnTo>
                  <a:lnTo>
                    <a:pt x="174" y="113"/>
                  </a:lnTo>
                  <a:lnTo>
                    <a:pt x="176" y="113"/>
                  </a:lnTo>
                  <a:lnTo>
                    <a:pt x="176" y="111"/>
                  </a:lnTo>
                  <a:lnTo>
                    <a:pt x="178" y="111"/>
                  </a:lnTo>
                  <a:lnTo>
                    <a:pt x="178" y="113"/>
                  </a:lnTo>
                  <a:lnTo>
                    <a:pt x="178" y="113"/>
                  </a:lnTo>
                  <a:lnTo>
                    <a:pt x="178" y="113"/>
                  </a:lnTo>
                  <a:lnTo>
                    <a:pt x="178" y="115"/>
                  </a:lnTo>
                  <a:lnTo>
                    <a:pt x="178" y="115"/>
                  </a:lnTo>
                  <a:lnTo>
                    <a:pt x="178" y="115"/>
                  </a:lnTo>
                  <a:lnTo>
                    <a:pt x="180" y="117"/>
                  </a:lnTo>
                  <a:lnTo>
                    <a:pt x="180" y="121"/>
                  </a:lnTo>
                  <a:lnTo>
                    <a:pt x="180" y="121"/>
                  </a:lnTo>
                  <a:lnTo>
                    <a:pt x="180" y="121"/>
                  </a:lnTo>
                  <a:lnTo>
                    <a:pt x="180" y="123"/>
                  </a:lnTo>
                  <a:lnTo>
                    <a:pt x="182" y="123"/>
                  </a:lnTo>
                  <a:lnTo>
                    <a:pt x="184" y="123"/>
                  </a:lnTo>
                  <a:lnTo>
                    <a:pt x="184" y="123"/>
                  </a:lnTo>
                  <a:lnTo>
                    <a:pt x="186" y="123"/>
                  </a:lnTo>
                  <a:lnTo>
                    <a:pt x="188" y="125"/>
                  </a:lnTo>
                  <a:lnTo>
                    <a:pt x="190" y="129"/>
                  </a:lnTo>
                  <a:lnTo>
                    <a:pt x="190" y="127"/>
                  </a:lnTo>
                  <a:lnTo>
                    <a:pt x="190" y="127"/>
                  </a:lnTo>
                  <a:lnTo>
                    <a:pt x="192" y="125"/>
                  </a:lnTo>
                  <a:lnTo>
                    <a:pt x="192" y="125"/>
                  </a:lnTo>
                  <a:lnTo>
                    <a:pt x="194" y="125"/>
                  </a:lnTo>
                  <a:lnTo>
                    <a:pt x="194" y="125"/>
                  </a:lnTo>
                  <a:lnTo>
                    <a:pt x="196" y="125"/>
                  </a:lnTo>
                  <a:lnTo>
                    <a:pt x="196" y="119"/>
                  </a:lnTo>
                  <a:lnTo>
                    <a:pt x="196" y="117"/>
                  </a:lnTo>
                  <a:lnTo>
                    <a:pt x="198" y="117"/>
                  </a:lnTo>
                  <a:lnTo>
                    <a:pt x="198" y="121"/>
                  </a:lnTo>
                  <a:lnTo>
                    <a:pt x="194" y="129"/>
                  </a:lnTo>
                  <a:lnTo>
                    <a:pt x="194" y="133"/>
                  </a:lnTo>
                  <a:lnTo>
                    <a:pt x="194" y="136"/>
                  </a:lnTo>
                  <a:lnTo>
                    <a:pt x="196" y="140"/>
                  </a:lnTo>
                  <a:lnTo>
                    <a:pt x="196" y="144"/>
                  </a:lnTo>
                  <a:lnTo>
                    <a:pt x="198" y="148"/>
                  </a:lnTo>
                  <a:lnTo>
                    <a:pt x="198" y="148"/>
                  </a:lnTo>
                  <a:lnTo>
                    <a:pt x="198" y="150"/>
                  </a:lnTo>
                  <a:lnTo>
                    <a:pt x="201" y="150"/>
                  </a:lnTo>
                  <a:lnTo>
                    <a:pt x="201" y="152"/>
                  </a:lnTo>
                  <a:lnTo>
                    <a:pt x="205" y="146"/>
                  </a:lnTo>
                  <a:lnTo>
                    <a:pt x="207" y="144"/>
                  </a:lnTo>
                  <a:lnTo>
                    <a:pt x="207" y="144"/>
                  </a:lnTo>
                  <a:lnTo>
                    <a:pt x="205" y="144"/>
                  </a:lnTo>
                  <a:lnTo>
                    <a:pt x="209" y="142"/>
                  </a:lnTo>
                  <a:lnTo>
                    <a:pt x="209" y="142"/>
                  </a:lnTo>
                  <a:lnTo>
                    <a:pt x="209" y="140"/>
                  </a:lnTo>
                  <a:lnTo>
                    <a:pt x="211" y="140"/>
                  </a:lnTo>
                  <a:lnTo>
                    <a:pt x="211" y="142"/>
                  </a:lnTo>
                  <a:lnTo>
                    <a:pt x="211" y="144"/>
                  </a:lnTo>
                  <a:lnTo>
                    <a:pt x="209" y="144"/>
                  </a:lnTo>
                  <a:lnTo>
                    <a:pt x="213" y="146"/>
                  </a:lnTo>
                  <a:lnTo>
                    <a:pt x="215" y="144"/>
                  </a:lnTo>
                  <a:lnTo>
                    <a:pt x="217" y="140"/>
                  </a:lnTo>
                  <a:lnTo>
                    <a:pt x="217" y="142"/>
                  </a:lnTo>
                  <a:lnTo>
                    <a:pt x="217" y="142"/>
                  </a:lnTo>
                  <a:lnTo>
                    <a:pt x="217" y="142"/>
                  </a:lnTo>
                  <a:lnTo>
                    <a:pt x="219" y="140"/>
                  </a:lnTo>
                  <a:lnTo>
                    <a:pt x="219" y="138"/>
                  </a:lnTo>
                  <a:lnTo>
                    <a:pt x="219" y="136"/>
                  </a:lnTo>
                  <a:lnTo>
                    <a:pt x="219" y="133"/>
                  </a:lnTo>
                  <a:lnTo>
                    <a:pt x="219" y="131"/>
                  </a:lnTo>
                  <a:lnTo>
                    <a:pt x="219" y="129"/>
                  </a:lnTo>
                  <a:lnTo>
                    <a:pt x="221" y="129"/>
                  </a:lnTo>
                  <a:lnTo>
                    <a:pt x="221" y="129"/>
                  </a:lnTo>
                  <a:lnTo>
                    <a:pt x="223" y="129"/>
                  </a:lnTo>
                  <a:lnTo>
                    <a:pt x="223" y="131"/>
                  </a:lnTo>
                  <a:lnTo>
                    <a:pt x="225" y="131"/>
                  </a:lnTo>
                  <a:lnTo>
                    <a:pt x="225" y="131"/>
                  </a:lnTo>
                  <a:lnTo>
                    <a:pt x="225" y="131"/>
                  </a:lnTo>
                  <a:lnTo>
                    <a:pt x="223" y="129"/>
                  </a:lnTo>
                  <a:lnTo>
                    <a:pt x="225" y="127"/>
                  </a:lnTo>
                  <a:lnTo>
                    <a:pt x="225" y="127"/>
                  </a:lnTo>
                  <a:lnTo>
                    <a:pt x="227" y="125"/>
                  </a:lnTo>
                  <a:lnTo>
                    <a:pt x="227" y="125"/>
                  </a:lnTo>
                  <a:lnTo>
                    <a:pt x="227" y="125"/>
                  </a:lnTo>
                  <a:lnTo>
                    <a:pt x="227" y="125"/>
                  </a:lnTo>
                  <a:lnTo>
                    <a:pt x="227" y="123"/>
                  </a:lnTo>
                  <a:lnTo>
                    <a:pt x="229" y="125"/>
                  </a:lnTo>
                  <a:lnTo>
                    <a:pt x="231" y="123"/>
                  </a:lnTo>
                  <a:lnTo>
                    <a:pt x="231" y="121"/>
                  </a:lnTo>
                  <a:lnTo>
                    <a:pt x="231" y="119"/>
                  </a:lnTo>
                  <a:lnTo>
                    <a:pt x="233" y="119"/>
                  </a:lnTo>
                  <a:lnTo>
                    <a:pt x="231" y="119"/>
                  </a:lnTo>
                  <a:lnTo>
                    <a:pt x="231" y="117"/>
                  </a:lnTo>
                  <a:lnTo>
                    <a:pt x="231" y="113"/>
                  </a:lnTo>
                  <a:lnTo>
                    <a:pt x="231" y="113"/>
                  </a:lnTo>
                  <a:lnTo>
                    <a:pt x="233" y="113"/>
                  </a:lnTo>
                  <a:lnTo>
                    <a:pt x="237" y="115"/>
                  </a:lnTo>
                  <a:lnTo>
                    <a:pt x="237" y="115"/>
                  </a:lnTo>
                  <a:lnTo>
                    <a:pt x="237" y="113"/>
                  </a:lnTo>
                  <a:lnTo>
                    <a:pt x="237" y="113"/>
                  </a:lnTo>
                  <a:lnTo>
                    <a:pt x="237" y="113"/>
                  </a:lnTo>
                  <a:lnTo>
                    <a:pt x="239" y="113"/>
                  </a:lnTo>
                  <a:lnTo>
                    <a:pt x="239" y="113"/>
                  </a:lnTo>
                  <a:lnTo>
                    <a:pt x="237" y="115"/>
                  </a:lnTo>
                  <a:lnTo>
                    <a:pt x="239" y="115"/>
                  </a:lnTo>
                  <a:lnTo>
                    <a:pt x="239" y="117"/>
                  </a:lnTo>
                  <a:lnTo>
                    <a:pt x="237" y="117"/>
                  </a:lnTo>
                  <a:lnTo>
                    <a:pt x="237" y="119"/>
                  </a:lnTo>
                  <a:lnTo>
                    <a:pt x="237" y="119"/>
                  </a:lnTo>
                  <a:lnTo>
                    <a:pt x="239" y="121"/>
                  </a:lnTo>
                  <a:lnTo>
                    <a:pt x="241" y="129"/>
                  </a:lnTo>
                  <a:lnTo>
                    <a:pt x="241" y="133"/>
                  </a:lnTo>
                  <a:lnTo>
                    <a:pt x="239" y="136"/>
                  </a:lnTo>
                  <a:lnTo>
                    <a:pt x="241" y="133"/>
                  </a:lnTo>
                  <a:lnTo>
                    <a:pt x="246" y="131"/>
                  </a:lnTo>
                  <a:lnTo>
                    <a:pt x="248" y="129"/>
                  </a:lnTo>
                  <a:lnTo>
                    <a:pt x="252" y="129"/>
                  </a:lnTo>
                  <a:lnTo>
                    <a:pt x="254" y="127"/>
                  </a:lnTo>
                  <a:lnTo>
                    <a:pt x="254" y="125"/>
                  </a:lnTo>
                  <a:lnTo>
                    <a:pt x="256" y="123"/>
                  </a:lnTo>
                  <a:lnTo>
                    <a:pt x="258" y="119"/>
                  </a:lnTo>
                  <a:lnTo>
                    <a:pt x="258" y="117"/>
                  </a:lnTo>
                  <a:lnTo>
                    <a:pt x="258" y="117"/>
                  </a:lnTo>
                  <a:lnTo>
                    <a:pt x="260" y="119"/>
                  </a:lnTo>
                  <a:lnTo>
                    <a:pt x="262" y="119"/>
                  </a:lnTo>
                  <a:lnTo>
                    <a:pt x="262" y="117"/>
                  </a:lnTo>
                  <a:lnTo>
                    <a:pt x="264" y="117"/>
                  </a:lnTo>
                  <a:lnTo>
                    <a:pt x="266" y="117"/>
                  </a:lnTo>
                  <a:lnTo>
                    <a:pt x="266" y="115"/>
                  </a:lnTo>
                  <a:lnTo>
                    <a:pt x="268" y="115"/>
                  </a:lnTo>
                  <a:lnTo>
                    <a:pt x="270" y="113"/>
                  </a:lnTo>
                  <a:lnTo>
                    <a:pt x="270" y="117"/>
                  </a:lnTo>
                  <a:lnTo>
                    <a:pt x="270" y="117"/>
                  </a:lnTo>
                  <a:lnTo>
                    <a:pt x="270" y="117"/>
                  </a:lnTo>
                  <a:lnTo>
                    <a:pt x="272" y="115"/>
                  </a:lnTo>
                  <a:lnTo>
                    <a:pt x="272" y="113"/>
                  </a:lnTo>
                  <a:lnTo>
                    <a:pt x="272" y="113"/>
                  </a:lnTo>
                  <a:lnTo>
                    <a:pt x="274" y="113"/>
                  </a:lnTo>
                  <a:lnTo>
                    <a:pt x="276" y="111"/>
                  </a:lnTo>
                  <a:lnTo>
                    <a:pt x="280" y="109"/>
                  </a:lnTo>
                  <a:lnTo>
                    <a:pt x="291" y="105"/>
                  </a:lnTo>
                  <a:lnTo>
                    <a:pt x="295" y="105"/>
                  </a:lnTo>
                  <a:close/>
                </a:path>
              </a:pathLst>
            </a:custGeom>
            <a:solidFill>
              <a:schemeClr val="bg1">
                <a:lumMod val="75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MA</a:t>
              </a:r>
            </a:p>
          </p:txBody>
        </p:sp>
        <p:sp>
          <p:nvSpPr>
            <p:cNvPr id="96" name="Freeform 37">
              <a:extLst>
                <a:ext uri="{FF2B5EF4-FFF2-40B4-BE49-F238E27FC236}">
                  <a16:creationId xmlns:a16="http://schemas.microsoft.com/office/drawing/2014/main" id="{4B4803F7-AC20-42CC-5882-BB48D6BC356D}"/>
                </a:ext>
              </a:extLst>
            </p:cNvPr>
            <p:cNvSpPr>
              <a:spLocks noEditPoints="1"/>
            </p:cNvSpPr>
            <p:nvPr/>
          </p:nvSpPr>
          <p:spPr bwMode="auto">
            <a:xfrm>
              <a:off x="3272" y="1840"/>
              <a:ext cx="506" cy="427"/>
            </a:xfrm>
            <a:custGeom>
              <a:avLst/>
              <a:gdLst>
                <a:gd name="T0" fmla="*/ 232 w 506"/>
                <a:gd name="T1" fmla="*/ 382 h 427"/>
                <a:gd name="T2" fmla="*/ 338 w 506"/>
                <a:gd name="T3" fmla="*/ 423 h 427"/>
                <a:gd name="T4" fmla="*/ 494 w 506"/>
                <a:gd name="T5" fmla="*/ 347 h 427"/>
                <a:gd name="T6" fmla="*/ 475 w 506"/>
                <a:gd name="T7" fmla="*/ 365 h 427"/>
                <a:gd name="T8" fmla="*/ 461 w 506"/>
                <a:gd name="T9" fmla="*/ 304 h 427"/>
                <a:gd name="T10" fmla="*/ 469 w 506"/>
                <a:gd name="T11" fmla="*/ 291 h 427"/>
                <a:gd name="T12" fmla="*/ 459 w 506"/>
                <a:gd name="T13" fmla="*/ 320 h 427"/>
                <a:gd name="T14" fmla="*/ 494 w 506"/>
                <a:gd name="T15" fmla="*/ 394 h 427"/>
                <a:gd name="T16" fmla="*/ 477 w 506"/>
                <a:gd name="T17" fmla="*/ 382 h 427"/>
                <a:gd name="T18" fmla="*/ 459 w 506"/>
                <a:gd name="T19" fmla="*/ 377 h 427"/>
                <a:gd name="T20" fmla="*/ 445 w 506"/>
                <a:gd name="T21" fmla="*/ 369 h 427"/>
                <a:gd name="T22" fmla="*/ 430 w 506"/>
                <a:gd name="T23" fmla="*/ 351 h 427"/>
                <a:gd name="T24" fmla="*/ 434 w 506"/>
                <a:gd name="T25" fmla="*/ 345 h 427"/>
                <a:gd name="T26" fmla="*/ 457 w 506"/>
                <a:gd name="T27" fmla="*/ 332 h 427"/>
                <a:gd name="T28" fmla="*/ 451 w 506"/>
                <a:gd name="T29" fmla="*/ 322 h 427"/>
                <a:gd name="T30" fmla="*/ 453 w 506"/>
                <a:gd name="T31" fmla="*/ 306 h 427"/>
                <a:gd name="T32" fmla="*/ 436 w 506"/>
                <a:gd name="T33" fmla="*/ 312 h 427"/>
                <a:gd name="T34" fmla="*/ 412 w 506"/>
                <a:gd name="T35" fmla="*/ 310 h 427"/>
                <a:gd name="T36" fmla="*/ 420 w 506"/>
                <a:gd name="T37" fmla="*/ 300 h 427"/>
                <a:gd name="T38" fmla="*/ 404 w 506"/>
                <a:gd name="T39" fmla="*/ 300 h 427"/>
                <a:gd name="T40" fmla="*/ 391 w 506"/>
                <a:gd name="T41" fmla="*/ 283 h 427"/>
                <a:gd name="T42" fmla="*/ 430 w 506"/>
                <a:gd name="T43" fmla="*/ 295 h 427"/>
                <a:gd name="T44" fmla="*/ 406 w 506"/>
                <a:gd name="T45" fmla="*/ 246 h 427"/>
                <a:gd name="T46" fmla="*/ 262 w 506"/>
                <a:gd name="T47" fmla="*/ 220 h 427"/>
                <a:gd name="T48" fmla="*/ 242 w 506"/>
                <a:gd name="T49" fmla="*/ 181 h 427"/>
                <a:gd name="T50" fmla="*/ 268 w 506"/>
                <a:gd name="T51" fmla="*/ 113 h 427"/>
                <a:gd name="T52" fmla="*/ 268 w 506"/>
                <a:gd name="T53" fmla="*/ 58 h 427"/>
                <a:gd name="T54" fmla="*/ 268 w 506"/>
                <a:gd name="T55" fmla="*/ 13 h 427"/>
                <a:gd name="T56" fmla="*/ 2 w 506"/>
                <a:gd name="T57" fmla="*/ 58 h 427"/>
                <a:gd name="T58" fmla="*/ 27 w 506"/>
                <a:gd name="T59" fmla="*/ 154 h 427"/>
                <a:gd name="T60" fmla="*/ 37 w 506"/>
                <a:gd name="T61" fmla="*/ 179 h 427"/>
                <a:gd name="T62" fmla="*/ 43 w 506"/>
                <a:gd name="T63" fmla="*/ 195 h 427"/>
                <a:gd name="T64" fmla="*/ 55 w 506"/>
                <a:gd name="T65" fmla="*/ 220 h 427"/>
                <a:gd name="T66" fmla="*/ 51 w 506"/>
                <a:gd name="T67" fmla="*/ 265 h 427"/>
                <a:gd name="T68" fmla="*/ 45 w 506"/>
                <a:gd name="T69" fmla="*/ 316 h 427"/>
                <a:gd name="T70" fmla="*/ 41 w 506"/>
                <a:gd name="T71" fmla="*/ 371 h 427"/>
                <a:gd name="T72" fmla="*/ 166 w 506"/>
                <a:gd name="T73" fmla="*/ 382 h 427"/>
                <a:gd name="T74" fmla="*/ 193 w 506"/>
                <a:gd name="T75" fmla="*/ 365 h 427"/>
                <a:gd name="T76" fmla="*/ 223 w 506"/>
                <a:gd name="T77" fmla="*/ 349 h 427"/>
                <a:gd name="T78" fmla="*/ 250 w 506"/>
                <a:gd name="T79" fmla="*/ 367 h 427"/>
                <a:gd name="T80" fmla="*/ 279 w 506"/>
                <a:gd name="T81" fmla="*/ 377 h 427"/>
                <a:gd name="T82" fmla="*/ 295 w 506"/>
                <a:gd name="T83" fmla="*/ 402 h 427"/>
                <a:gd name="T84" fmla="*/ 281 w 506"/>
                <a:gd name="T85" fmla="*/ 406 h 427"/>
                <a:gd name="T86" fmla="*/ 322 w 506"/>
                <a:gd name="T87" fmla="*/ 410 h 427"/>
                <a:gd name="T88" fmla="*/ 342 w 506"/>
                <a:gd name="T89" fmla="*/ 408 h 427"/>
                <a:gd name="T90" fmla="*/ 352 w 506"/>
                <a:gd name="T91" fmla="*/ 396 h 427"/>
                <a:gd name="T92" fmla="*/ 375 w 506"/>
                <a:gd name="T93" fmla="*/ 398 h 427"/>
                <a:gd name="T94" fmla="*/ 393 w 506"/>
                <a:gd name="T95" fmla="*/ 400 h 427"/>
                <a:gd name="T96" fmla="*/ 393 w 506"/>
                <a:gd name="T97" fmla="*/ 375 h 427"/>
                <a:gd name="T98" fmla="*/ 391 w 506"/>
                <a:gd name="T99" fmla="*/ 367 h 427"/>
                <a:gd name="T100" fmla="*/ 420 w 506"/>
                <a:gd name="T101" fmla="*/ 379 h 427"/>
                <a:gd name="T102" fmla="*/ 447 w 506"/>
                <a:gd name="T103" fmla="*/ 392 h 427"/>
                <a:gd name="T104" fmla="*/ 469 w 506"/>
                <a:gd name="T105" fmla="*/ 402 h 427"/>
                <a:gd name="T106" fmla="*/ 473 w 506"/>
                <a:gd name="T107" fmla="*/ 410 h 427"/>
                <a:gd name="T108" fmla="*/ 490 w 506"/>
                <a:gd name="T109" fmla="*/ 404 h 427"/>
                <a:gd name="T110" fmla="*/ 451 w 506"/>
                <a:gd name="T111" fmla="*/ 338 h 427"/>
                <a:gd name="T112" fmla="*/ 500 w 506"/>
                <a:gd name="T113" fmla="*/ 302 h 427"/>
                <a:gd name="T114" fmla="*/ 367 w 506"/>
                <a:gd name="T115" fmla="*/ 414 h 427"/>
                <a:gd name="T116" fmla="*/ 375 w 506"/>
                <a:gd name="T117" fmla="*/ 416 h 427"/>
                <a:gd name="T118" fmla="*/ 397 w 506"/>
                <a:gd name="T119" fmla="*/ 375 h 427"/>
                <a:gd name="T120" fmla="*/ 500 w 506"/>
                <a:gd name="T121" fmla="*/ 322 h 427"/>
                <a:gd name="T122" fmla="*/ 443 w 506"/>
                <a:gd name="T123" fmla="*/ 345 h 427"/>
                <a:gd name="T124" fmla="*/ 465 w 506"/>
                <a:gd name="T125" fmla="*/ 314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 h="427">
                  <a:moveTo>
                    <a:pt x="236" y="375"/>
                  </a:moveTo>
                  <a:lnTo>
                    <a:pt x="234" y="375"/>
                  </a:lnTo>
                  <a:lnTo>
                    <a:pt x="230" y="373"/>
                  </a:lnTo>
                  <a:lnTo>
                    <a:pt x="230" y="373"/>
                  </a:lnTo>
                  <a:lnTo>
                    <a:pt x="227" y="373"/>
                  </a:lnTo>
                  <a:lnTo>
                    <a:pt x="225" y="371"/>
                  </a:lnTo>
                  <a:lnTo>
                    <a:pt x="223" y="369"/>
                  </a:lnTo>
                  <a:lnTo>
                    <a:pt x="217" y="369"/>
                  </a:lnTo>
                  <a:lnTo>
                    <a:pt x="217" y="369"/>
                  </a:lnTo>
                  <a:lnTo>
                    <a:pt x="217" y="369"/>
                  </a:lnTo>
                  <a:lnTo>
                    <a:pt x="215" y="371"/>
                  </a:lnTo>
                  <a:lnTo>
                    <a:pt x="215" y="371"/>
                  </a:lnTo>
                  <a:lnTo>
                    <a:pt x="213" y="373"/>
                  </a:lnTo>
                  <a:lnTo>
                    <a:pt x="211" y="373"/>
                  </a:lnTo>
                  <a:lnTo>
                    <a:pt x="209" y="373"/>
                  </a:lnTo>
                  <a:lnTo>
                    <a:pt x="207" y="375"/>
                  </a:lnTo>
                  <a:lnTo>
                    <a:pt x="207" y="377"/>
                  </a:lnTo>
                  <a:lnTo>
                    <a:pt x="209" y="377"/>
                  </a:lnTo>
                  <a:lnTo>
                    <a:pt x="219" y="382"/>
                  </a:lnTo>
                  <a:lnTo>
                    <a:pt x="219" y="384"/>
                  </a:lnTo>
                  <a:lnTo>
                    <a:pt x="221" y="384"/>
                  </a:lnTo>
                  <a:lnTo>
                    <a:pt x="227" y="386"/>
                  </a:lnTo>
                  <a:lnTo>
                    <a:pt x="230" y="386"/>
                  </a:lnTo>
                  <a:lnTo>
                    <a:pt x="232" y="386"/>
                  </a:lnTo>
                  <a:lnTo>
                    <a:pt x="232" y="386"/>
                  </a:lnTo>
                  <a:lnTo>
                    <a:pt x="232" y="384"/>
                  </a:lnTo>
                  <a:lnTo>
                    <a:pt x="232" y="382"/>
                  </a:lnTo>
                  <a:lnTo>
                    <a:pt x="232" y="382"/>
                  </a:lnTo>
                  <a:lnTo>
                    <a:pt x="234" y="379"/>
                  </a:lnTo>
                  <a:lnTo>
                    <a:pt x="238" y="377"/>
                  </a:lnTo>
                  <a:lnTo>
                    <a:pt x="238" y="375"/>
                  </a:lnTo>
                  <a:lnTo>
                    <a:pt x="238" y="375"/>
                  </a:lnTo>
                  <a:lnTo>
                    <a:pt x="236" y="375"/>
                  </a:lnTo>
                  <a:close/>
                  <a:moveTo>
                    <a:pt x="313" y="425"/>
                  </a:moveTo>
                  <a:lnTo>
                    <a:pt x="313" y="425"/>
                  </a:lnTo>
                  <a:lnTo>
                    <a:pt x="313" y="425"/>
                  </a:lnTo>
                  <a:lnTo>
                    <a:pt x="313" y="425"/>
                  </a:lnTo>
                  <a:close/>
                  <a:moveTo>
                    <a:pt x="313" y="425"/>
                  </a:moveTo>
                  <a:lnTo>
                    <a:pt x="318" y="427"/>
                  </a:lnTo>
                  <a:lnTo>
                    <a:pt x="320" y="425"/>
                  </a:lnTo>
                  <a:lnTo>
                    <a:pt x="318" y="425"/>
                  </a:lnTo>
                  <a:lnTo>
                    <a:pt x="313" y="425"/>
                  </a:lnTo>
                  <a:close/>
                  <a:moveTo>
                    <a:pt x="326" y="425"/>
                  </a:moveTo>
                  <a:lnTo>
                    <a:pt x="324" y="425"/>
                  </a:lnTo>
                  <a:lnTo>
                    <a:pt x="324" y="425"/>
                  </a:lnTo>
                  <a:lnTo>
                    <a:pt x="324" y="427"/>
                  </a:lnTo>
                  <a:lnTo>
                    <a:pt x="324" y="427"/>
                  </a:lnTo>
                  <a:lnTo>
                    <a:pt x="326" y="427"/>
                  </a:lnTo>
                  <a:lnTo>
                    <a:pt x="326" y="427"/>
                  </a:lnTo>
                  <a:lnTo>
                    <a:pt x="326" y="427"/>
                  </a:lnTo>
                  <a:lnTo>
                    <a:pt x="326" y="425"/>
                  </a:lnTo>
                  <a:close/>
                  <a:moveTo>
                    <a:pt x="342" y="423"/>
                  </a:moveTo>
                  <a:lnTo>
                    <a:pt x="342" y="423"/>
                  </a:lnTo>
                  <a:lnTo>
                    <a:pt x="340" y="423"/>
                  </a:lnTo>
                  <a:lnTo>
                    <a:pt x="340" y="423"/>
                  </a:lnTo>
                  <a:lnTo>
                    <a:pt x="338" y="423"/>
                  </a:lnTo>
                  <a:lnTo>
                    <a:pt x="338" y="423"/>
                  </a:lnTo>
                  <a:lnTo>
                    <a:pt x="336" y="423"/>
                  </a:lnTo>
                  <a:lnTo>
                    <a:pt x="336" y="423"/>
                  </a:lnTo>
                  <a:lnTo>
                    <a:pt x="336" y="423"/>
                  </a:lnTo>
                  <a:lnTo>
                    <a:pt x="334" y="425"/>
                  </a:lnTo>
                  <a:lnTo>
                    <a:pt x="334" y="425"/>
                  </a:lnTo>
                  <a:lnTo>
                    <a:pt x="332" y="425"/>
                  </a:lnTo>
                  <a:lnTo>
                    <a:pt x="332" y="427"/>
                  </a:lnTo>
                  <a:lnTo>
                    <a:pt x="332" y="427"/>
                  </a:lnTo>
                  <a:lnTo>
                    <a:pt x="340" y="423"/>
                  </a:lnTo>
                  <a:lnTo>
                    <a:pt x="342" y="423"/>
                  </a:lnTo>
                  <a:lnTo>
                    <a:pt x="342" y="423"/>
                  </a:lnTo>
                  <a:lnTo>
                    <a:pt x="342" y="420"/>
                  </a:lnTo>
                  <a:lnTo>
                    <a:pt x="342" y="423"/>
                  </a:lnTo>
                  <a:lnTo>
                    <a:pt x="342" y="423"/>
                  </a:lnTo>
                  <a:close/>
                  <a:moveTo>
                    <a:pt x="365" y="420"/>
                  </a:moveTo>
                  <a:lnTo>
                    <a:pt x="363" y="420"/>
                  </a:lnTo>
                  <a:lnTo>
                    <a:pt x="361" y="420"/>
                  </a:lnTo>
                  <a:lnTo>
                    <a:pt x="354" y="420"/>
                  </a:lnTo>
                  <a:lnTo>
                    <a:pt x="354" y="420"/>
                  </a:lnTo>
                  <a:lnTo>
                    <a:pt x="359" y="423"/>
                  </a:lnTo>
                  <a:lnTo>
                    <a:pt x="365" y="423"/>
                  </a:lnTo>
                  <a:lnTo>
                    <a:pt x="365" y="423"/>
                  </a:lnTo>
                  <a:lnTo>
                    <a:pt x="365" y="423"/>
                  </a:lnTo>
                  <a:lnTo>
                    <a:pt x="365" y="420"/>
                  </a:lnTo>
                  <a:close/>
                  <a:moveTo>
                    <a:pt x="494" y="347"/>
                  </a:moveTo>
                  <a:lnTo>
                    <a:pt x="494" y="345"/>
                  </a:lnTo>
                  <a:lnTo>
                    <a:pt x="494" y="347"/>
                  </a:lnTo>
                  <a:lnTo>
                    <a:pt x="494" y="347"/>
                  </a:lnTo>
                  <a:lnTo>
                    <a:pt x="494" y="347"/>
                  </a:lnTo>
                  <a:lnTo>
                    <a:pt x="494" y="347"/>
                  </a:lnTo>
                  <a:close/>
                  <a:moveTo>
                    <a:pt x="465" y="318"/>
                  </a:moveTo>
                  <a:lnTo>
                    <a:pt x="465" y="318"/>
                  </a:lnTo>
                  <a:lnTo>
                    <a:pt x="465" y="316"/>
                  </a:lnTo>
                  <a:lnTo>
                    <a:pt x="465" y="316"/>
                  </a:lnTo>
                  <a:lnTo>
                    <a:pt x="465" y="316"/>
                  </a:lnTo>
                  <a:lnTo>
                    <a:pt x="463" y="316"/>
                  </a:lnTo>
                  <a:lnTo>
                    <a:pt x="461" y="316"/>
                  </a:lnTo>
                  <a:lnTo>
                    <a:pt x="461" y="318"/>
                  </a:lnTo>
                  <a:lnTo>
                    <a:pt x="461" y="318"/>
                  </a:lnTo>
                  <a:lnTo>
                    <a:pt x="461" y="318"/>
                  </a:lnTo>
                  <a:lnTo>
                    <a:pt x="463" y="318"/>
                  </a:lnTo>
                  <a:lnTo>
                    <a:pt x="465" y="318"/>
                  </a:lnTo>
                  <a:lnTo>
                    <a:pt x="465" y="318"/>
                  </a:lnTo>
                  <a:close/>
                  <a:moveTo>
                    <a:pt x="475" y="365"/>
                  </a:moveTo>
                  <a:lnTo>
                    <a:pt x="477" y="365"/>
                  </a:lnTo>
                  <a:lnTo>
                    <a:pt x="477" y="363"/>
                  </a:lnTo>
                  <a:lnTo>
                    <a:pt x="477" y="363"/>
                  </a:lnTo>
                  <a:lnTo>
                    <a:pt x="477" y="363"/>
                  </a:lnTo>
                  <a:lnTo>
                    <a:pt x="477" y="363"/>
                  </a:lnTo>
                  <a:lnTo>
                    <a:pt x="477" y="363"/>
                  </a:lnTo>
                  <a:lnTo>
                    <a:pt x="477" y="363"/>
                  </a:lnTo>
                  <a:lnTo>
                    <a:pt x="475" y="365"/>
                  </a:lnTo>
                  <a:lnTo>
                    <a:pt x="471" y="367"/>
                  </a:lnTo>
                  <a:lnTo>
                    <a:pt x="473" y="367"/>
                  </a:lnTo>
                  <a:lnTo>
                    <a:pt x="475" y="365"/>
                  </a:lnTo>
                  <a:close/>
                  <a:moveTo>
                    <a:pt x="359" y="402"/>
                  </a:moveTo>
                  <a:lnTo>
                    <a:pt x="361" y="400"/>
                  </a:lnTo>
                  <a:lnTo>
                    <a:pt x="361" y="400"/>
                  </a:lnTo>
                  <a:lnTo>
                    <a:pt x="361" y="400"/>
                  </a:lnTo>
                  <a:lnTo>
                    <a:pt x="359" y="400"/>
                  </a:lnTo>
                  <a:lnTo>
                    <a:pt x="359" y="402"/>
                  </a:lnTo>
                  <a:lnTo>
                    <a:pt x="359" y="404"/>
                  </a:lnTo>
                  <a:lnTo>
                    <a:pt x="359" y="402"/>
                  </a:lnTo>
                  <a:lnTo>
                    <a:pt x="359" y="402"/>
                  </a:lnTo>
                  <a:close/>
                  <a:moveTo>
                    <a:pt x="483" y="359"/>
                  </a:moveTo>
                  <a:lnTo>
                    <a:pt x="488" y="355"/>
                  </a:lnTo>
                  <a:lnTo>
                    <a:pt x="488" y="355"/>
                  </a:lnTo>
                  <a:lnTo>
                    <a:pt x="488" y="355"/>
                  </a:lnTo>
                  <a:lnTo>
                    <a:pt x="486" y="355"/>
                  </a:lnTo>
                  <a:lnTo>
                    <a:pt x="483" y="359"/>
                  </a:lnTo>
                  <a:lnTo>
                    <a:pt x="483" y="359"/>
                  </a:lnTo>
                  <a:lnTo>
                    <a:pt x="483" y="359"/>
                  </a:lnTo>
                  <a:close/>
                  <a:moveTo>
                    <a:pt x="455" y="306"/>
                  </a:moveTo>
                  <a:lnTo>
                    <a:pt x="457" y="306"/>
                  </a:lnTo>
                  <a:lnTo>
                    <a:pt x="457" y="304"/>
                  </a:lnTo>
                  <a:lnTo>
                    <a:pt x="457" y="304"/>
                  </a:lnTo>
                  <a:lnTo>
                    <a:pt x="459" y="304"/>
                  </a:lnTo>
                  <a:lnTo>
                    <a:pt x="459" y="304"/>
                  </a:lnTo>
                  <a:lnTo>
                    <a:pt x="459" y="304"/>
                  </a:lnTo>
                  <a:lnTo>
                    <a:pt x="459" y="304"/>
                  </a:lnTo>
                  <a:lnTo>
                    <a:pt x="461" y="304"/>
                  </a:lnTo>
                  <a:lnTo>
                    <a:pt x="461" y="304"/>
                  </a:lnTo>
                  <a:lnTo>
                    <a:pt x="461" y="304"/>
                  </a:lnTo>
                  <a:lnTo>
                    <a:pt x="461" y="304"/>
                  </a:lnTo>
                  <a:lnTo>
                    <a:pt x="461" y="302"/>
                  </a:lnTo>
                  <a:lnTo>
                    <a:pt x="463" y="302"/>
                  </a:lnTo>
                  <a:lnTo>
                    <a:pt x="463" y="302"/>
                  </a:lnTo>
                  <a:lnTo>
                    <a:pt x="463" y="304"/>
                  </a:lnTo>
                  <a:lnTo>
                    <a:pt x="463" y="304"/>
                  </a:lnTo>
                  <a:lnTo>
                    <a:pt x="463" y="304"/>
                  </a:lnTo>
                  <a:lnTo>
                    <a:pt x="465" y="306"/>
                  </a:lnTo>
                  <a:lnTo>
                    <a:pt x="465" y="306"/>
                  </a:lnTo>
                  <a:lnTo>
                    <a:pt x="467" y="306"/>
                  </a:lnTo>
                  <a:lnTo>
                    <a:pt x="467" y="306"/>
                  </a:lnTo>
                  <a:lnTo>
                    <a:pt x="469" y="304"/>
                  </a:lnTo>
                  <a:lnTo>
                    <a:pt x="469" y="302"/>
                  </a:lnTo>
                  <a:lnTo>
                    <a:pt x="469" y="302"/>
                  </a:lnTo>
                  <a:lnTo>
                    <a:pt x="467" y="302"/>
                  </a:lnTo>
                  <a:lnTo>
                    <a:pt x="467" y="302"/>
                  </a:lnTo>
                  <a:lnTo>
                    <a:pt x="467" y="302"/>
                  </a:lnTo>
                  <a:lnTo>
                    <a:pt x="467" y="304"/>
                  </a:lnTo>
                  <a:lnTo>
                    <a:pt x="467" y="304"/>
                  </a:lnTo>
                  <a:lnTo>
                    <a:pt x="467" y="304"/>
                  </a:lnTo>
                  <a:lnTo>
                    <a:pt x="465" y="302"/>
                  </a:lnTo>
                  <a:lnTo>
                    <a:pt x="465" y="300"/>
                  </a:lnTo>
                  <a:lnTo>
                    <a:pt x="465" y="300"/>
                  </a:lnTo>
                  <a:lnTo>
                    <a:pt x="463" y="300"/>
                  </a:lnTo>
                  <a:lnTo>
                    <a:pt x="463" y="298"/>
                  </a:lnTo>
                  <a:lnTo>
                    <a:pt x="467" y="293"/>
                  </a:lnTo>
                  <a:lnTo>
                    <a:pt x="467" y="293"/>
                  </a:lnTo>
                  <a:lnTo>
                    <a:pt x="469" y="291"/>
                  </a:lnTo>
                  <a:lnTo>
                    <a:pt x="469" y="291"/>
                  </a:lnTo>
                  <a:lnTo>
                    <a:pt x="467" y="291"/>
                  </a:lnTo>
                  <a:lnTo>
                    <a:pt x="465" y="293"/>
                  </a:lnTo>
                  <a:lnTo>
                    <a:pt x="465" y="295"/>
                  </a:lnTo>
                  <a:lnTo>
                    <a:pt x="463" y="298"/>
                  </a:lnTo>
                  <a:lnTo>
                    <a:pt x="461" y="298"/>
                  </a:lnTo>
                  <a:lnTo>
                    <a:pt x="459" y="300"/>
                  </a:lnTo>
                  <a:lnTo>
                    <a:pt x="461" y="300"/>
                  </a:lnTo>
                  <a:lnTo>
                    <a:pt x="459" y="302"/>
                  </a:lnTo>
                  <a:lnTo>
                    <a:pt x="459" y="302"/>
                  </a:lnTo>
                  <a:lnTo>
                    <a:pt x="457" y="302"/>
                  </a:lnTo>
                  <a:lnTo>
                    <a:pt x="457" y="302"/>
                  </a:lnTo>
                  <a:lnTo>
                    <a:pt x="457" y="304"/>
                  </a:lnTo>
                  <a:lnTo>
                    <a:pt x="455" y="304"/>
                  </a:lnTo>
                  <a:lnTo>
                    <a:pt x="455" y="304"/>
                  </a:lnTo>
                  <a:lnTo>
                    <a:pt x="455" y="306"/>
                  </a:lnTo>
                  <a:lnTo>
                    <a:pt x="455" y="306"/>
                  </a:lnTo>
                  <a:close/>
                  <a:moveTo>
                    <a:pt x="459" y="318"/>
                  </a:moveTo>
                  <a:lnTo>
                    <a:pt x="461" y="316"/>
                  </a:lnTo>
                  <a:lnTo>
                    <a:pt x="461" y="314"/>
                  </a:lnTo>
                  <a:lnTo>
                    <a:pt x="461" y="312"/>
                  </a:lnTo>
                  <a:lnTo>
                    <a:pt x="461" y="312"/>
                  </a:lnTo>
                  <a:lnTo>
                    <a:pt x="461" y="314"/>
                  </a:lnTo>
                  <a:lnTo>
                    <a:pt x="459" y="316"/>
                  </a:lnTo>
                  <a:lnTo>
                    <a:pt x="459" y="318"/>
                  </a:lnTo>
                  <a:lnTo>
                    <a:pt x="459" y="318"/>
                  </a:lnTo>
                  <a:lnTo>
                    <a:pt x="457" y="320"/>
                  </a:lnTo>
                  <a:lnTo>
                    <a:pt x="459" y="320"/>
                  </a:lnTo>
                  <a:lnTo>
                    <a:pt x="459" y="318"/>
                  </a:lnTo>
                  <a:close/>
                  <a:moveTo>
                    <a:pt x="463" y="330"/>
                  </a:moveTo>
                  <a:lnTo>
                    <a:pt x="463" y="330"/>
                  </a:lnTo>
                  <a:lnTo>
                    <a:pt x="461" y="330"/>
                  </a:lnTo>
                  <a:lnTo>
                    <a:pt x="461" y="330"/>
                  </a:lnTo>
                  <a:lnTo>
                    <a:pt x="457" y="330"/>
                  </a:lnTo>
                  <a:lnTo>
                    <a:pt x="457" y="332"/>
                  </a:lnTo>
                  <a:lnTo>
                    <a:pt x="463" y="334"/>
                  </a:lnTo>
                  <a:lnTo>
                    <a:pt x="463" y="330"/>
                  </a:lnTo>
                  <a:close/>
                  <a:moveTo>
                    <a:pt x="328" y="425"/>
                  </a:moveTo>
                  <a:lnTo>
                    <a:pt x="328" y="425"/>
                  </a:lnTo>
                  <a:lnTo>
                    <a:pt x="328" y="427"/>
                  </a:lnTo>
                  <a:lnTo>
                    <a:pt x="328" y="427"/>
                  </a:lnTo>
                  <a:lnTo>
                    <a:pt x="328" y="427"/>
                  </a:lnTo>
                  <a:lnTo>
                    <a:pt x="330" y="425"/>
                  </a:lnTo>
                  <a:lnTo>
                    <a:pt x="330" y="425"/>
                  </a:lnTo>
                  <a:lnTo>
                    <a:pt x="330" y="425"/>
                  </a:lnTo>
                  <a:lnTo>
                    <a:pt x="328" y="425"/>
                  </a:lnTo>
                  <a:close/>
                  <a:moveTo>
                    <a:pt x="492" y="396"/>
                  </a:moveTo>
                  <a:lnTo>
                    <a:pt x="492" y="398"/>
                  </a:lnTo>
                  <a:lnTo>
                    <a:pt x="492" y="398"/>
                  </a:lnTo>
                  <a:lnTo>
                    <a:pt x="492" y="396"/>
                  </a:lnTo>
                  <a:lnTo>
                    <a:pt x="494" y="396"/>
                  </a:lnTo>
                  <a:lnTo>
                    <a:pt x="496" y="396"/>
                  </a:lnTo>
                  <a:lnTo>
                    <a:pt x="494" y="396"/>
                  </a:lnTo>
                  <a:lnTo>
                    <a:pt x="494" y="396"/>
                  </a:lnTo>
                  <a:lnTo>
                    <a:pt x="494" y="396"/>
                  </a:lnTo>
                  <a:lnTo>
                    <a:pt x="494" y="394"/>
                  </a:lnTo>
                  <a:lnTo>
                    <a:pt x="494" y="394"/>
                  </a:lnTo>
                  <a:lnTo>
                    <a:pt x="494" y="392"/>
                  </a:lnTo>
                  <a:lnTo>
                    <a:pt x="492" y="392"/>
                  </a:lnTo>
                  <a:lnTo>
                    <a:pt x="492" y="392"/>
                  </a:lnTo>
                  <a:lnTo>
                    <a:pt x="490" y="392"/>
                  </a:lnTo>
                  <a:lnTo>
                    <a:pt x="490" y="394"/>
                  </a:lnTo>
                  <a:lnTo>
                    <a:pt x="490" y="394"/>
                  </a:lnTo>
                  <a:lnTo>
                    <a:pt x="490" y="394"/>
                  </a:lnTo>
                  <a:lnTo>
                    <a:pt x="488" y="394"/>
                  </a:lnTo>
                  <a:lnTo>
                    <a:pt x="486" y="394"/>
                  </a:lnTo>
                  <a:lnTo>
                    <a:pt x="486" y="392"/>
                  </a:lnTo>
                  <a:lnTo>
                    <a:pt x="481" y="392"/>
                  </a:lnTo>
                  <a:lnTo>
                    <a:pt x="481" y="390"/>
                  </a:lnTo>
                  <a:lnTo>
                    <a:pt x="481" y="390"/>
                  </a:lnTo>
                  <a:lnTo>
                    <a:pt x="483" y="390"/>
                  </a:lnTo>
                  <a:lnTo>
                    <a:pt x="483" y="388"/>
                  </a:lnTo>
                  <a:lnTo>
                    <a:pt x="483" y="388"/>
                  </a:lnTo>
                  <a:lnTo>
                    <a:pt x="483" y="388"/>
                  </a:lnTo>
                  <a:lnTo>
                    <a:pt x="483" y="386"/>
                  </a:lnTo>
                  <a:lnTo>
                    <a:pt x="483" y="386"/>
                  </a:lnTo>
                  <a:lnTo>
                    <a:pt x="481" y="384"/>
                  </a:lnTo>
                  <a:lnTo>
                    <a:pt x="481" y="384"/>
                  </a:lnTo>
                  <a:lnTo>
                    <a:pt x="479" y="386"/>
                  </a:lnTo>
                  <a:lnTo>
                    <a:pt x="479" y="384"/>
                  </a:lnTo>
                  <a:lnTo>
                    <a:pt x="479" y="384"/>
                  </a:lnTo>
                  <a:lnTo>
                    <a:pt x="479" y="384"/>
                  </a:lnTo>
                  <a:lnTo>
                    <a:pt x="477" y="382"/>
                  </a:lnTo>
                  <a:lnTo>
                    <a:pt x="477" y="382"/>
                  </a:lnTo>
                  <a:lnTo>
                    <a:pt x="477" y="382"/>
                  </a:lnTo>
                  <a:lnTo>
                    <a:pt x="477" y="382"/>
                  </a:lnTo>
                  <a:lnTo>
                    <a:pt x="477" y="379"/>
                  </a:lnTo>
                  <a:lnTo>
                    <a:pt x="475" y="379"/>
                  </a:lnTo>
                  <a:lnTo>
                    <a:pt x="475" y="379"/>
                  </a:lnTo>
                  <a:lnTo>
                    <a:pt x="475" y="379"/>
                  </a:lnTo>
                  <a:lnTo>
                    <a:pt x="475" y="379"/>
                  </a:lnTo>
                  <a:lnTo>
                    <a:pt x="475" y="379"/>
                  </a:lnTo>
                  <a:lnTo>
                    <a:pt x="475" y="379"/>
                  </a:lnTo>
                  <a:lnTo>
                    <a:pt x="475" y="382"/>
                  </a:lnTo>
                  <a:lnTo>
                    <a:pt x="473" y="382"/>
                  </a:lnTo>
                  <a:lnTo>
                    <a:pt x="471" y="384"/>
                  </a:lnTo>
                  <a:lnTo>
                    <a:pt x="471" y="384"/>
                  </a:lnTo>
                  <a:lnTo>
                    <a:pt x="469" y="382"/>
                  </a:lnTo>
                  <a:lnTo>
                    <a:pt x="469" y="379"/>
                  </a:lnTo>
                  <a:lnTo>
                    <a:pt x="469" y="379"/>
                  </a:lnTo>
                  <a:lnTo>
                    <a:pt x="467" y="379"/>
                  </a:lnTo>
                  <a:lnTo>
                    <a:pt x="467" y="379"/>
                  </a:lnTo>
                  <a:lnTo>
                    <a:pt x="465" y="379"/>
                  </a:lnTo>
                  <a:lnTo>
                    <a:pt x="465" y="379"/>
                  </a:lnTo>
                  <a:lnTo>
                    <a:pt x="463" y="382"/>
                  </a:lnTo>
                  <a:lnTo>
                    <a:pt x="463" y="382"/>
                  </a:lnTo>
                  <a:lnTo>
                    <a:pt x="461" y="382"/>
                  </a:lnTo>
                  <a:lnTo>
                    <a:pt x="459" y="379"/>
                  </a:lnTo>
                  <a:lnTo>
                    <a:pt x="459" y="379"/>
                  </a:lnTo>
                  <a:lnTo>
                    <a:pt x="459" y="379"/>
                  </a:lnTo>
                  <a:lnTo>
                    <a:pt x="459" y="379"/>
                  </a:lnTo>
                  <a:lnTo>
                    <a:pt x="459" y="377"/>
                  </a:lnTo>
                  <a:lnTo>
                    <a:pt x="459" y="377"/>
                  </a:lnTo>
                  <a:lnTo>
                    <a:pt x="461" y="377"/>
                  </a:lnTo>
                  <a:lnTo>
                    <a:pt x="461" y="377"/>
                  </a:lnTo>
                  <a:lnTo>
                    <a:pt x="463" y="377"/>
                  </a:lnTo>
                  <a:lnTo>
                    <a:pt x="463" y="375"/>
                  </a:lnTo>
                  <a:lnTo>
                    <a:pt x="461" y="375"/>
                  </a:lnTo>
                  <a:lnTo>
                    <a:pt x="459" y="375"/>
                  </a:lnTo>
                  <a:lnTo>
                    <a:pt x="459" y="375"/>
                  </a:lnTo>
                  <a:lnTo>
                    <a:pt x="459" y="377"/>
                  </a:lnTo>
                  <a:lnTo>
                    <a:pt x="457" y="377"/>
                  </a:lnTo>
                  <a:lnTo>
                    <a:pt x="457" y="377"/>
                  </a:lnTo>
                  <a:lnTo>
                    <a:pt x="457" y="377"/>
                  </a:lnTo>
                  <a:lnTo>
                    <a:pt x="455" y="377"/>
                  </a:lnTo>
                  <a:lnTo>
                    <a:pt x="455" y="377"/>
                  </a:lnTo>
                  <a:lnTo>
                    <a:pt x="453" y="375"/>
                  </a:lnTo>
                  <a:lnTo>
                    <a:pt x="451" y="375"/>
                  </a:lnTo>
                  <a:lnTo>
                    <a:pt x="445" y="377"/>
                  </a:lnTo>
                  <a:lnTo>
                    <a:pt x="445" y="377"/>
                  </a:lnTo>
                  <a:lnTo>
                    <a:pt x="443" y="377"/>
                  </a:lnTo>
                  <a:lnTo>
                    <a:pt x="443" y="375"/>
                  </a:lnTo>
                  <a:lnTo>
                    <a:pt x="443" y="375"/>
                  </a:lnTo>
                  <a:lnTo>
                    <a:pt x="445" y="375"/>
                  </a:lnTo>
                  <a:lnTo>
                    <a:pt x="445" y="375"/>
                  </a:lnTo>
                  <a:lnTo>
                    <a:pt x="445" y="373"/>
                  </a:lnTo>
                  <a:lnTo>
                    <a:pt x="443" y="373"/>
                  </a:lnTo>
                  <a:lnTo>
                    <a:pt x="443" y="373"/>
                  </a:lnTo>
                  <a:lnTo>
                    <a:pt x="443" y="371"/>
                  </a:lnTo>
                  <a:lnTo>
                    <a:pt x="445" y="369"/>
                  </a:lnTo>
                  <a:lnTo>
                    <a:pt x="445" y="369"/>
                  </a:lnTo>
                  <a:lnTo>
                    <a:pt x="443" y="369"/>
                  </a:lnTo>
                  <a:lnTo>
                    <a:pt x="438" y="367"/>
                  </a:lnTo>
                  <a:lnTo>
                    <a:pt x="438" y="367"/>
                  </a:lnTo>
                  <a:lnTo>
                    <a:pt x="438" y="367"/>
                  </a:lnTo>
                  <a:lnTo>
                    <a:pt x="438" y="367"/>
                  </a:lnTo>
                  <a:lnTo>
                    <a:pt x="438" y="367"/>
                  </a:lnTo>
                  <a:lnTo>
                    <a:pt x="436" y="367"/>
                  </a:lnTo>
                  <a:lnTo>
                    <a:pt x="434" y="367"/>
                  </a:lnTo>
                  <a:lnTo>
                    <a:pt x="432" y="365"/>
                  </a:lnTo>
                  <a:lnTo>
                    <a:pt x="430" y="365"/>
                  </a:lnTo>
                  <a:lnTo>
                    <a:pt x="428" y="365"/>
                  </a:lnTo>
                  <a:lnTo>
                    <a:pt x="428" y="363"/>
                  </a:lnTo>
                  <a:lnTo>
                    <a:pt x="428" y="361"/>
                  </a:lnTo>
                  <a:lnTo>
                    <a:pt x="426" y="359"/>
                  </a:lnTo>
                  <a:lnTo>
                    <a:pt x="424" y="357"/>
                  </a:lnTo>
                  <a:lnTo>
                    <a:pt x="424" y="355"/>
                  </a:lnTo>
                  <a:lnTo>
                    <a:pt x="424" y="355"/>
                  </a:lnTo>
                  <a:lnTo>
                    <a:pt x="424" y="355"/>
                  </a:lnTo>
                  <a:lnTo>
                    <a:pt x="424" y="355"/>
                  </a:lnTo>
                  <a:lnTo>
                    <a:pt x="422" y="355"/>
                  </a:lnTo>
                  <a:lnTo>
                    <a:pt x="420" y="353"/>
                  </a:lnTo>
                  <a:lnTo>
                    <a:pt x="424" y="353"/>
                  </a:lnTo>
                  <a:lnTo>
                    <a:pt x="432" y="355"/>
                  </a:lnTo>
                  <a:lnTo>
                    <a:pt x="432" y="353"/>
                  </a:lnTo>
                  <a:lnTo>
                    <a:pt x="430" y="351"/>
                  </a:lnTo>
                  <a:lnTo>
                    <a:pt x="430" y="351"/>
                  </a:lnTo>
                  <a:lnTo>
                    <a:pt x="430" y="351"/>
                  </a:lnTo>
                  <a:lnTo>
                    <a:pt x="430" y="351"/>
                  </a:lnTo>
                  <a:lnTo>
                    <a:pt x="428" y="349"/>
                  </a:lnTo>
                  <a:lnTo>
                    <a:pt x="428" y="349"/>
                  </a:lnTo>
                  <a:lnTo>
                    <a:pt x="430" y="349"/>
                  </a:lnTo>
                  <a:lnTo>
                    <a:pt x="428" y="347"/>
                  </a:lnTo>
                  <a:lnTo>
                    <a:pt x="426" y="347"/>
                  </a:lnTo>
                  <a:lnTo>
                    <a:pt x="424" y="345"/>
                  </a:lnTo>
                  <a:lnTo>
                    <a:pt x="428" y="347"/>
                  </a:lnTo>
                  <a:lnTo>
                    <a:pt x="432" y="349"/>
                  </a:lnTo>
                  <a:lnTo>
                    <a:pt x="434" y="349"/>
                  </a:lnTo>
                  <a:lnTo>
                    <a:pt x="438" y="349"/>
                  </a:lnTo>
                  <a:lnTo>
                    <a:pt x="440" y="349"/>
                  </a:lnTo>
                  <a:lnTo>
                    <a:pt x="443" y="349"/>
                  </a:lnTo>
                  <a:lnTo>
                    <a:pt x="443" y="351"/>
                  </a:lnTo>
                  <a:lnTo>
                    <a:pt x="445" y="351"/>
                  </a:lnTo>
                  <a:lnTo>
                    <a:pt x="447" y="351"/>
                  </a:lnTo>
                  <a:lnTo>
                    <a:pt x="447" y="351"/>
                  </a:lnTo>
                  <a:lnTo>
                    <a:pt x="443" y="349"/>
                  </a:lnTo>
                  <a:lnTo>
                    <a:pt x="440" y="347"/>
                  </a:lnTo>
                  <a:lnTo>
                    <a:pt x="440" y="347"/>
                  </a:lnTo>
                  <a:lnTo>
                    <a:pt x="443" y="347"/>
                  </a:lnTo>
                  <a:lnTo>
                    <a:pt x="443" y="347"/>
                  </a:lnTo>
                  <a:lnTo>
                    <a:pt x="443" y="347"/>
                  </a:lnTo>
                  <a:lnTo>
                    <a:pt x="443" y="347"/>
                  </a:lnTo>
                  <a:lnTo>
                    <a:pt x="440" y="347"/>
                  </a:lnTo>
                  <a:lnTo>
                    <a:pt x="438" y="347"/>
                  </a:lnTo>
                  <a:lnTo>
                    <a:pt x="436" y="347"/>
                  </a:lnTo>
                  <a:lnTo>
                    <a:pt x="434" y="345"/>
                  </a:lnTo>
                  <a:lnTo>
                    <a:pt x="434" y="343"/>
                  </a:lnTo>
                  <a:lnTo>
                    <a:pt x="434" y="341"/>
                  </a:lnTo>
                  <a:lnTo>
                    <a:pt x="434" y="341"/>
                  </a:lnTo>
                  <a:lnTo>
                    <a:pt x="436" y="338"/>
                  </a:lnTo>
                  <a:lnTo>
                    <a:pt x="438" y="338"/>
                  </a:lnTo>
                  <a:lnTo>
                    <a:pt x="438" y="338"/>
                  </a:lnTo>
                  <a:lnTo>
                    <a:pt x="440" y="338"/>
                  </a:lnTo>
                  <a:lnTo>
                    <a:pt x="440" y="338"/>
                  </a:lnTo>
                  <a:lnTo>
                    <a:pt x="440" y="336"/>
                  </a:lnTo>
                  <a:lnTo>
                    <a:pt x="443" y="334"/>
                  </a:lnTo>
                  <a:lnTo>
                    <a:pt x="445" y="332"/>
                  </a:lnTo>
                  <a:lnTo>
                    <a:pt x="445" y="332"/>
                  </a:lnTo>
                  <a:lnTo>
                    <a:pt x="445" y="330"/>
                  </a:lnTo>
                  <a:lnTo>
                    <a:pt x="445" y="330"/>
                  </a:lnTo>
                  <a:lnTo>
                    <a:pt x="447" y="330"/>
                  </a:lnTo>
                  <a:lnTo>
                    <a:pt x="447" y="330"/>
                  </a:lnTo>
                  <a:lnTo>
                    <a:pt x="449" y="332"/>
                  </a:lnTo>
                  <a:lnTo>
                    <a:pt x="449" y="332"/>
                  </a:lnTo>
                  <a:lnTo>
                    <a:pt x="451" y="334"/>
                  </a:lnTo>
                  <a:lnTo>
                    <a:pt x="451" y="334"/>
                  </a:lnTo>
                  <a:lnTo>
                    <a:pt x="451" y="334"/>
                  </a:lnTo>
                  <a:lnTo>
                    <a:pt x="451" y="336"/>
                  </a:lnTo>
                  <a:lnTo>
                    <a:pt x="451" y="336"/>
                  </a:lnTo>
                  <a:lnTo>
                    <a:pt x="453" y="336"/>
                  </a:lnTo>
                  <a:lnTo>
                    <a:pt x="453" y="334"/>
                  </a:lnTo>
                  <a:lnTo>
                    <a:pt x="453" y="332"/>
                  </a:lnTo>
                  <a:lnTo>
                    <a:pt x="455" y="332"/>
                  </a:lnTo>
                  <a:lnTo>
                    <a:pt x="457" y="332"/>
                  </a:lnTo>
                  <a:lnTo>
                    <a:pt x="457" y="332"/>
                  </a:lnTo>
                  <a:lnTo>
                    <a:pt x="455" y="332"/>
                  </a:lnTo>
                  <a:lnTo>
                    <a:pt x="455" y="332"/>
                  </a:lnTo>
                  <a:lnTo>
                    <a:pt x="455" y="330"/>
                  </a:lnTo>
                  <a:lnTo>
                    <a:pt x="453" y="328"/>
                  </a:lnTo>
                  <a:lnTo>
                    <a:pt x="455" y="328"/>
                  </a:lnTo>
                  <a:lnTo>
                    <a:pt x="455" y="328"/>
                  </a:lnTo>
                  <a:lnTo>
                    <a:pt x="455" y="326"/>
                  </a:lnTo>
                  <a:lnTo>
                    <a:pt x="457" y="326"/>
                  </a:lnTo>
                  <a:lnTo>
                    <a:pt x="457" y="326"/>
                  </a:lnTo>
                  <a:lnTo>
                    <a:pt x="457" y="326"/>
                  </a:lnTo>
                  <a:lnTo>
                    <a:pt x="455" y="326"/>
                  </a:lnTo>
                  <a:lnTo>
                    <a:pt x="455" y="324"/>
                  </a:lnTo>
                  <a:lnTo>
                    <a:pt x="455" y="324"/>
                  </a:lnTo>
                  <a:lnTo>
                    <a:pt x="457" y="324"/>
                  </a:lnTo>
                  <a:lnTo>
                    <a:pt x="455" y="322"/>
                  </a:lnTo>
                  <a:lnTo>
                    <a:pt x="455" y="322"/>
                  </a:lnTo>
                  <a:lnTo>
                    <a:pt x="453" y="322"/>
                  </a:lnTo>
                  <a:lnTo>
                    <a:pt x="453" y="324"/>
                  </a:lnTo>
                  <a:lnTo>
                    <a:pt x="451" y="324"/>
                  </a:lnTo>
                  <a:lnTo>
                    <a:pt x="451" y="324"/>
                  </a:lnTo>
                  <a:lnTo>
                    <a:pt x="453" y="322"/>
                  </a:lnTo>
                  <a:lnTo>
                    <a:pt x="455" y="320"/>
                  </a:lnTo>
                  <a:lnTo>
                    <a:pt x="453" y="320"/>
                  </a:lnTo>
                  <a:lnTo>
                    <a:pt x="453" y="320"/>
                  </a:lnTo>
                  <a:lnTo>
                    <a:pt x="451" y="320"/>
                  </a:lnTo>
                  <a:lnTo>
                    <a:pt x="451" y="320"/>
                  </a:lnTo>
                  <a:lnTo>
                    <a:pt x="451" y="322"/>
                  </a:lnTo>
                  <a:lnTo>
                    <a:pt x="449" y="322"/>
                  </a:lnTo>
                  <a:lnTo>
                    <a:pt x="449" y="322"/>
                  </a:lnTo>
                  <a:lnTo>
                    <a:pt x="449" y="322"/>
                  </a:lnTo>
                  <a:lnTo>
                    <a:pt x="449" y="322"/>
                  </a:lnTo>
                  <a:lnTo>
                    <a:pt x="449" y="320"/>
                  </a:lnTo>
                  <a:lnTo>
                    <a:pt x="447" y="320"/>
                  </a:lnTo>
                  <a:lnTo>
                    <a:pt x="447" y="318"/>
                  </a:lnTo>
                  <a:lnTo>
                    <a:pt x="449" y="316"/>
                  </a:lnTo>
                  <a:lnTo>
                    <a:pt x="451" y="318"/>
                  </a:lnTo>
                  <a:lnTo>
                    <a:pt x="453" y="318"/>
                  </a:lnTo>
                  <a:lnTo>
                    <a:pt x="453" y="316"/>
                  </a:lnTo>
                  <a:lnTo>
                    <a:pt x="451" y="314"/>
                  </a:lnTo>
                  <a:lnTo>
                    <a:pt x="451" y="314"/>
                  </a:lnTo>
                  <a:lnTo>
                    <a:pt x="447" y="314"/>
                  </a:lnTo>
                  <a:lnTo>
                    <a:pt x="447" y="314"/>
                  </a:lnTo>
                  <a:lnTo>
                    <a:pt x="445" y="314"/>
                  </a:lnTo>
                  <a:lnTo>
                    <a:pt x="445" y="314"/>
                  </a:lnTo>
                  <a:lnTo>
                    <a:pt x="447" y="314"/>
                  </a:lnTo>
                  <a:lnTo>
                    <a:pt x="447" y="312"/>
                  </a:lnTo>
                  <a:lnTo>
                    <a:pt x="447" y="312"/>
                  </a:lnTo>
                  <a:lnTo>
                    <a:pt x="447" y="312"/>
                  </a:lnTo>
                  <a:lnTo>
                    <a:pt x="447" y="310"/>
                  </a:lnTo>
                  <a:lnTo>
                    <a:pt x="447" y="310"/>
                  </a:lnTo>
                  <a:lnTo>
                    <a:pt x="447" y="308"/>
                  </a:lnTo>
                  <a:lnTo>
                    <a:pt x="451" y="308"/>
                  </a:lnTo>
                  <a:lnTo>
                    <a:pt x="451" y="308"/>
                  </a:lnTo>
                  <a:lnTo>
                    <a:pt x="453" y="306"/>
                  </a:lnTo>
                  <a:lnTo>
                    <a:pt x="453" y="306"/>
                  </a:lnTo>
                  <a:lnTo>
                    <a:pt x="453" y="306"/>
                  </a:lnTo>
                  <a:lnTo>
                    <a:pt x="451" y="306"/>
                  </a:lnTo>
                  <a:lnTo>
                    <a:pt x="451" y="306"/>
                  </a:lnTo>
                  <a:lnTo>
                    <a:pt x="449" y="306"/>
                  </a:lnTo>
                  <a:lnTo>
                    <a:pt x="447" y="308"/>
                  </a:lnTo>
                  <a:lnTo>
                    <a:pt x="447" y="308"/>
                  </a:lnTo>
                  <a:lnTo>
                    <a:pt x="447" y="308"/>
                  </a:lnTo>
                  <a:lnTo>
                    <a:pt x="447" y="308"/>
                  </a:lnTo>
                  <a:lnTo>
                    <a:pt x="447" y="308"/>
                  </a:lnTo>
                  <a:lnTo>
                    <a:pt x="447" y="306"/>
                  </a:lnTo>
                  <a:lnTo>
                    <a:pt x="447" y="306"/>
                  </a:lnTo>
                  <a:lnTo>
                    <a:pt x="447" y="306"/>
                  </a:lnTo>
                  <a:lnTo>
                    <a:pt x="447" y="306"/>
                  </a:lnTo>
                  <a:lnTo>
                    <a:pt x="447" y="306"/>
                  </a:lnTo>
                  <a:lnTo>
                    <a:pt x="445" y="304"/>
                  </a:lnTo>
                  <a:lnTo>
                    <a:pt x="443" y="304"/>
                  </a:lnTo>
                  <a:lnTo>
                    <a:pt x="443" y="304"/>
                  </a:lnTo>
                  <a:lnTo>
                    <a:pt x="443" y="304"/>
                  </a:lnTo>
                  <a:lnTo>
                    <a:pt x="440" y="304"/>
                  </a:lnTo>
                  <a:lnTo>
                    <a:pt x="440" y="304"/>
                  </a:lnTo>
                  <a:lnTo>
                    <a:pt x="440" y="306"/>
                  </a:lnTo>
                  <a:lnTo>
                    <a:pt x="440" y="306"/>
                  </a:lnTo>
                  <a:lnTo>
                    <a:pt x="440" y="308"/>
                  </a:lnTo>
                  <a:lnTo>
                    <a:pt x="440" y="308"/>
                  </a:lnTo>
                  <a:lnTo>
                    <a:pt x="440" y="310"/>
                  </a:lnTo>
                  <a:lnTo>
                    <a:pt x="438" y="310"/>
                  </a:lnTo>
                  <a:lnTo>
                    <a:pt x="438" y="310"/>
                  </a:lnTo>
                  <a:lnTo>
                    <a:pt x="436" y="312"/>
                  </a:lnTo>
                  <a:lnTo>
                    <a:pt x="436" y="312"/>
                  </a:lnTo>
                  <a:lnTo>
                    <a:pt x="434" y="312"/>
                  </a:lnTo>
                  <a:lnTo>
                    <a:pt x="434" y="314"/>
                  </a:lnTo>
                  <a:lnTo>
                    <a:pt x="434" y="318"/>
                  </a:lnTo>
                  <a:lnTo>
                    <a:pt x="434" y="320"/>
                  </a:lnTo>
                  <a:lnTo>
                    <a:pt x="434" y="322"/>
                  </a:lnTo>
                  <a:lnTo>
                    <a:pt x="432" y="324"/>
                  </a:lnTo>
                  <a:lnTo>
                    <a:pt x="430" y="326"/>
                  </a:lnTo>
                  <a:lnTo>
                    <a:pt x="428" y="326"/>
                  </a:lnTo>
                  <a:lnTo>
                    <a:pt x="426" y="326"/>
                  </a:lnTo>
                  <a:lnTo>
                    <a:pt x="424" y="326"/>
                  </a:lnTo>
                  <a:lnTo>
                    <a:pt x="422" y="324"/>
                  </a:lnTo>
                  <a:lnTo>
                    <a:pt x="420" y="322"/>
                  </a:lnTo>
                  <a:lnTo>
                    <a:pt x="420" y="322"/>
                  </a:lnTo>
                  <a:lnTo>
                    <a:pt x="422" y="320"/>
                  </a:lnTo>
                  <a:lnTo>
                    <a:pt x="422" y="318"/>
                  </a:lnTo>
                  <a:lnTo>
                    <a:pt x="420" y="318"/>
                  </a:lnTo>
                  <a:lnTo>
                    <a:pt x="418" y="320"/>
                  </a:lnTo>
                  <a:lnTo>
                    <a:pt x="416" y="320"/>
                  </a:lnTo>
                  <a:lnTo>
                    <a:pt x="414" y="320"/>
                  </a:lnTo>
                  <a:lnTo>
                    <a:pt x="412" y="320"/>
                  </a:lnTo>
                  <a:lnTo>
                    <a:pt x="412" y="320"/>
                  </a:lnTo>
                  <a:lnTo>
                    <a:pt x="410" y="318"/>
                  </a:lnTo>
                  <a:lnTo>
                    <a:pt x="410" y="316"/>
                  </a:lnTo>
                  <a:lnTo>
                    <a:pt x="410" y="314"/>
                  </a:lnTo>
                  <a:lnTo>
                    <a:pt x="410" y="312"/>
                  </a:lnTo>
                  <a:lnTo>
                    <a:pt x="410" y="310"/>
                  </a:lnTo>
                  <a:lnTo>
                    <a:pt x="412" y="310"/>
                  </a:lnTo>
                  <a:lnTo>
                    <a:pt x="414" y="310"/>
                  </a:lnTo>
                  <a:lnTo>
                    <a:pt x="418" y="310"/>
                  </a:lnTo>
                  <a:lnTo>
                    <a:pt x="420" y="312"/>
                  </a:lnTo>
                  <a:lnTo>
                    <a:pt x="420" y="310"/>
                  </a:lnTo>
                  <a:lnTo>
                    <a:pt x="420" y="310"/>
                  </a:lnTo>
                  <a:lnTo>
                    <a:pt x="420" y="308"/>
                  </a:lnTo>
                  <a:lnTo>
                    <a:pt x="420" y="308"/>
                  </a:lnTo>
                  <a:lnTo>
                    <a:pt x="420" y="306"/>
                  </a:lnTo>
                  <a:lnTo>
                    <a:pt x="422" y="306"/>
                  </a:lnTo>
                  <a:lnTo>
                    <a:pt x="424" y="304"/>
                  </a:lnTo>
                  <a:lnTo>
                    <a:pt x="424" y="302"/>
                  </a:lnTo>
                  <a:lnTo>
                    <a:pt x="424" y="300"/>
                  </a:lnTo>
                  <a:lnTo>
                    <a:pt x="426" y="298"/>
                  </a:lnTo>
                  <a:lnTo>
                    <a:pt x="424" y="298"/>
                  </a:lnTo>
                  <a:lnTo>
                    <a:pt x="424" y="295"/>
                  </a:lnTo>
                  <a:lnTo>
                    <a:pt x="422" y="295"/>
                  </a:lnTo>
                  <a:lnTo>
                    <a:pt x="420" y="298"/>
                  </a:lnTo>
                  <a:lnTo>
                    <a:pt x="420" y="298"/>
                  </a:lnTo>
                  <a:lnTo>
                    <a:pt x="420" y="298"/>
                  </a:lnTo>
                  <a:lnTo>
                    <a:pt x="420" y="298"/>
                  </a:lnTo>
                  <a:lnTo>
                    <a:pt x="420" y="298"/>
                  </a:lnTo>
                  <a:lnTo>
                    <a:pt x="420" y="298"/>
                  </a:lnTo>
                  <a:lnTo>
                    <a:pt x="422" y="298"/>
                  </a:lnTo>
                  <a:lnTo>
                    <a:pt x="422" y="298"/>
                  </a:lnTo>
                  <a:lnTo>
                    <a:pt x="422" y="298"/>
                  </a:lnTo>
                  <a:lnTo>
                    <a:pt x="422" y="300"/>
                  </a:lnTo>
                  <a:lnTo>
                    <a:pt x="422" y="300"/>
                  </a:lnTo>
                  <a:lnTo>
                    <a:pt x="420" y="300"/>
                  </a:lnTo>
                  <a:lnTo>
                    <a:pt x="420" y="300"/>
                  </a:lnTo>
                  <a:lnTo>
                    <a:pt x="418" y="300"/>
                  </a:lnTo>
                  <a:lnTo>
                    <a:pt x="418" y="300"/>
                  </a:lnTo>
                  <a:lnTo>
                    <a:pt x="418" y="302"/>
                  </a:lnTo>
                  <a:lnTo>
                    <a:pt x="416" y="304"/>
                  </a:lnTo>
                  <a:lnTo>
                    <a:pt x="416" y="304"/>
                  </a:lnTo>
                  <a:lnTo>
                    <a:pt x="416" y="302"/>
                  </a:lnTo>
                  <a:lnTo>
                    <a:pt x="416" y="302"/>
                  </a:lnTo>
                  <a:lnTo>
                    <a:pt x="416" y="302"/>
                  </a:lnTo>
                  <a:lnTo>
                    <a:pt x="416" y="302"/>
                  </a:lnTo>
                  <a:lnTo>
                    <a:pt x="416" y="298"/>
                  </a:lnTo>
                  <a:lnTo>
                    <a:pt x="418" y="298"/>
                  </a:lnTo>
                  <a:lnTo>
                    <a:pt x="416" y="295"/>
                  </a:lnTo>
                  <a:lnTo>
                    <a:pt x="416" y="295"/>
                  </a:lnTo>
                  <a:lnTo>
                    <a:pt x="416" y="298"/>
                  </a:lnTo>
                  <a:lnTo>
                    <a:pt x="416" y="298"/>
                  </a:lnTo>
                  <a:lnTo>
                    <a:pt x="414" y="300"/>
                  </a:lnTo>
                  <a:lnTo>
                    <a:pt x="414" y="302"/>
                  </a:lnTo>
                  <a:lnTo>
                    <a:pt x="412" y="304"/>
                  </a:lnTo>
                  <a:lnTo>
                    <a:pt x="412" y="304"/>
                  </a:lnTo>
                  <a:lnTo>
                    <a:pt x="412" y="304"/>
                  </a:lnTo>
                  <a:lnTo>
                    <a:pt x="410" y="304"/>
                  </a:lnTo>
                  <a:lnTo>
                    <a:pt x="410" y="304"/>
                  </a:lnTo>
                  <a:lnTo>
                    <a:pt x="408" y="302"/>
                  </a:lnTo>
                  <a:lnTo>
                    <a:pt x="408" y="302"/>
                  </a:lnTo>
                  <a:lnTo>
                    <a:pt x="406" y="300"/>
                  </a:lnTo>
                  <a:lnTo>
                    <a:pt x="406" y="300"/>
                  </a:lnTo>
                  <a:lnTo>
                    <a:pt x="404" y="300"/>
                  </a:lnTo>
                  <a:lnTo>
                    <a:pt x="402" y="302"/>
                  </a:lnTo>
                  <a:lnTo>
                    <a:pt x="399" y="306"/>
                  </a:lnTo>
                  <a:lnTo>
                    <a:pt x="393" y="310"/>
                  </a:lnTo>
                  <a:lnTo>
                    <a:pt x="391" y="312"/>
                  </a:lnTo>
                  <a:lnTo>
                    <a:pt x="389" y="312"/>
                  </a:lnTo>
                  <a:lnTo>
                    <a:pt x="383" y="314"/>
                  </a:lnTo>
                  <a:lnTo>
                    <a:pt x="381" y="316"/>
                  </a:lnTo>
                  <a:lnTo>
                    <a:pt x="379" y="316"/>
                  </a:lnTo>
                  <a:lnTo>
                    <a:pt x="373" y="314"/>
                  </a:lnTo>
                  <a:lnTo>
                    <a:pt x="369" y="312"/>
                  </a:lnTo>
                  <a:lnTo>
                    <a:pt x="363" y="312"/>
                  </a:lnTo>
                  <a:lnTo>
                    <a:pt x="359" y="312"/>
                  </a:lnTo>
                  <a:lnTo>
                    <a:pt x="354" y="308"/>
                  </a:lnTo>
                  <a:lnTo>
                    <a:pt x="352" y="304"/>
                  </a:lnTo>
                  <a:lnTo>
                    <a:pt x="352" y="300"/>
                  </a:lnTo>
                  <a:lnTo>
                    <a:pt x="354" y="295"/>
                  </a:lnTo>
                  <a:lnTo>
                    <a:pt x="361" y="289"/>
                  </a:lnTo>
                  <a:lnTo>
                    <a:pt x="363" y="285"/>
                  </a:lnTo>
                  <a:lnTo>
                    <a:pt x="365" y="281"/>
                  </a:lnTo>
                  <a:lnTo>
                    <a:pt x="367" y="279"/>
                  </a:lnTo>
                  <a:lnTo>
                    <a:pt x="369" y="277"/>
                  </a:lnTo>
                  <a:lnTo>
                    <a:pt x="373" y="275"/>
                  </a:lnTo>
                  <a:lnTo>
                    <a:pt x="377" y="277"/>
                  </a:lnTo>
                  <a:lnTo>
                    <a:pt x="381" y="277"/>
                  </a:lnTo>
                  <a:lnTo>
                    <a:pt x="385" y="279"/>
                  </a:lnTo>
                  <a:lnTo>
                    <a:pt x="389" y="281"/>
                  </a:lnTo>
                  <a:lnTo>
                    <a:pt x="391" y="281"/>
                  </a:lnTo>
                  <a:lnTo>
                    <a:pt x="391" y="283"/>
                  </a:lnTo>
                  <a:lnTo>
                    <a:pt x="393" y="287"/>
                  </a:lnTo>
                  <a:lnTo>
                    <a:pt x="393" y="287"/>
                  </a:lnTo>
                  <a:lnTo>
                    <a:pt x="397" y="287"/>
                  </a:lnTo>
                  <a:lnTo>
                    <a:pt x="399" y="287"/>
                  </a:lnTo>
                  <a:lnTo>
                    <a:pt x="402" y="287"/>
                  </a:lnTo>
                  <a:lnTo>
                    <a:pt x="402" y="287"/>
                  </a:lnTo>
                  <a:lnTo>
                    <a:pt x="404" y="287"/>
                  </a:lnTo>
                  <a:lnTo>
                    <a:pt x="408" y="289"/>
                  </a:lnTo>
                  <a:lnTo>
                    <a:pt x="410" y="289"/>
                  </a:lnTo>
                  <a:lnTo>
                    <a:pt x="414" y="289"/>
                  </a:lnTo>
                  <a:lnTo>
                    <a:pt x="414" y="289"/>
                  </a:lnTo>
                  <a:lnTo>
                    <a:pt x="416" y="291"/>
                  </a:lnTo>
                  <a:lnTo>
                    <a:pt x="416" y="291"/>
                  </a:lnTo>
                  <a:lnTo>
                    <a:pt x="416" y="291"/>
                  </a:lnTo>
                  <a:lnTo>
                    <a:pt x="416" y="293"/>
                  </a:lnTo>
                  <a:lnTo>
                    <a:pt x="416" y="293"/>
                  </a:lnTo>
                  <a:lnTo>
                    <a:pt x="416" y="293"/>
                  </a:lnTo>
                  <a:lnTo>
                    <a:pt x="418" y="295"/>
                  </a:lnTo>
                  <a:lnTo>
                    <a:pt x="420" y="295"/>
                  </a:lnTo>
                  <a:lnTo>
                    <a:pt x="420" y="293"/>
                  </a:lnTo>
                  <a:lnTo>
                    <a:pt x="422" y="293"/>
                  </a:lnTo>
                  <a:lnTo>
                    <a:pt x="426" y="295"/>
                  </a:lnTo>
                  <a:lnTo>
                    <a:pt x="426" y="293"/>
                  </a:lnTo>
                  <a:lnTo>
                    <a:pt x="428" y="293"/>
                  </a:lnTo>
                  <a:lnTo>
                    <a:pt x="430" y="293"/>
                  </a:lnTo>
                  <a:lnTo>
                    <a:pt x="430" y="293"/>
                  </a:lnTo>
                  <a:lnTo>
                    <a:pt x="430" y="295"/>
                  </a:lnTo>
                  <a:lnTo>
                    <a:pt x="430" y="295"/>
                  </a:lnTo>
                  <a:lnTo>
                    <a:pt x="428" y="295"/>
                  </a:lnTo>
                  <a:lnTo>
                    <a:pt x="430" y="295"/>
                  </a:lnTo>
                  <a:lnTo>
                    <a:pt x="432" y="295"/>
                  </a:lnTo>
                  <a:lnTo>
                    <a:pt x="434" y="293"/>
                  </a:lnTo>
                  <a:lnTo>
                    <a:pt x="436" y="291"/>
                  </a:lnTo>
                  <a:lnTo>
                    <a:pt x="436" y="291"/>
                  </a:lnTo>
                  <a:lnTo>
                    <a:pt x="434" y="291"/>
                  </a:lnTo>
                  <a:lnTo>
                    <a:pt x="432" y="291"/>
                  </a:lnTo>
                  <a:lnTo>
                    <a:pt x="432" y="291"/>
                  </a:lnTo>
                  <a:lnTo>
                    <a:pt x="430" y="289"/>
                  </a:lnTo>
                  <a:lnTo>
                    <a:pt x="426" y="283"/>
                  </a:lnTo>
                  <a:lnTo>
                    <a:pt x="424" y="281"/>
                  </a:lnTo>
                  <a:lnTo>
                    <a:pt x="424" y="277"/>
                  </a:lnTo>
                  <a:lnTo>
                    <a:pt x="424" y="275"/>
                  </a:lnTo>
                  <a:lnTo>
                    <a:pt x="420" y="271"/>
                  </a:lnTo>
                  <a:lnTo>
                    <a:pt x="420" y="269"/>
                  </a:lnTo>
                  <a:lnTo>
                    <a:pt x="420" y="269"/>
                  </a:lnTo>
                  <a:lnTo>
                    <a:pt x="420" y="267"/>
                  </a:lnTo>
                  <a:lnTo>
                    <a:pt x="420" y="265"/>
                  </a:lnTo>
                  <a:lnTo>
                    <a:pt x="420" y="265"/>
                  </a:lnTo>
                  <a:lnTo>
                    <a:pt x="418" y="263"/>
                  </a:lnTo>
                  <a:lnTo>
                    <a:pt x="414" y="261"/>
                  </a:lnTo>
                  <a:lnTo>
                    <a:pt x="414" y="257"/>
                  </a:lnTo>
                  <a:lnTo>
                    <a:pt x="412" y="257"/>
                  </a:lnTo>
                  <a:lnTo>
                    <a:pt x="408" y="254"/>
                  </a:lnTo>
                  <a:lnTo>
                    <a:pt x="408" y="254"/>
                  </a:lnTo>
                  <a:lnTo>
                    <a:pt x="404" y="248"/>
                  </a:lnTo>
                  <a:lnTo>
                    <a:pt x="406" y="246"/>
                  </a:lnTo>
                  <a:lnTo>
                    <a:pt x="404" y="244"/>
                  </a:lnTo>
                  <a:lnTo>
                    <a:pt x="404" y="244"/>
                  </a:lnTo>
                  <a:lnTo>
                    <a:pt x="402" y="242"/>
                  </a:lnTo>
                  <a:lnTo>
                    <a:pt x="402" y="240"/>
                  </a:lnTo>
                  <a:lnTo>
                    <a:pt x="402" y="238"/>
                  </a:lnTo>
                  <a:lnTo>
                    <a:pt x="404" y="234"/>
                  </a:lnTo>
                  <a:lnTo>
                    <a:pt x="404" y="232"/>
                  </a:lnTo>
                  <a:lnTo>
                    <a:pt x="404" y="230"/>
                  </a:lnTo>
                  <a:lnTo>
                    <a:pt x="406" y="226"/>
                  </a:lnTo>
                  <a:lnTo>
                    <a:pt x="406" y="220"/>
                  </a:lnTo>
                  <a:lnTo>
                    <a:pt x="408" y="216"/>
                  </a:lnTo>
                  <a:lnTo>
                    <a:pt x="410" y="211"/>
                  </a:lnTo>
                  <a:lnTo>
                    <a:pt x="410" y="207"/>
                  </a:lnTo>
                  <a:lnTo>
                    <a:pt x="408" y="207"/>
                  </a:lnTo>
                  <a:lnTo>
                    <a:pt x="406" y="207"/>
                  </a:lnTo>
                  <a:lnTo>
                    <a:pt x="402" y="207"/>
                  </a:lnTo>
                  <a:lnTo>
                    <a:pt x="399" y="207"/>
                  </a:lnTo>
                  <a:lnTo>
                    <a:pt x="393" y="207"/>
                  </a:lnTo>
                  <a:lnTo>
                    <a:pt x="385" y="209"/>
                  </a:lnTo>
                  <a:lnTo>
                    <a:pt x="375" y="209"/>
                  </a:lnTo>
                  <a:lnTo>
                    <a:pt x="363" y="211"/>
                  </a:lnTo>
                  <a:lnTo>
                    <a:pt x="348" y="211"/>
                  </a:lnTo>
                  <a:lnTo>
                    <a:pt x="334" y="213"/>
                  </a:lnTo>
                  <a:lnTo>
                    <a:pt x="320" y="216"/>
                  </a:lnTo>
                  <a:lnTo>
                    <a:pt x="303" y="216"/>
                  </a:lnTo>
                  <a:lnTo>
                    <a:pt x="289" y="218"/>
                  </a:lnTo>
                  <a:lnTo>
                    <a:pt x="275" y="218"/>
                  </a:lnTo>
                  <a:lnTo>
                    <a:pt x="262" y="220"/>
                  </a:lnTo>
                  <a:lnTo>
                    <a:pt x="252" y="220"/>
                  </a:lnTo>
                  <a:lnTo>
                    <a:pt x="244" y="222"/>
                  </a:lnTo>
                  <a:lnTo>
                    <a:pt x="238" y="222"/>
                  </a:lnTo>
                  <a:lnTo>
                    <a:pt x="236" y="222"/>
                  </a:lnTo>
                  <a:lnTo>
                    <a:pt x="232" y="222"/>
                  </a:lnTo>
                  <a:lnTo>
                    <a:pt x="232" y="222"/>
                  </a:lnTo>
                  <a:lnTo>
                    <a:pt x="238" y="216"/>
                  </a:lnTo>
                  <a:lnTo>
                    <a:pt x="238" y="211"/>
                  </a:lnTo>
                  <a:lnTo>
                    <a:pt x="234" y="209"/>
                  </a:lnTo>
                  <a:lnTo>
                    <a:pt x="234" y="205"/>
                  </a:lnTo>
                  <a:lnTo>
                    <a:pt x="234" y="205"/>
                  </a:lnTo>
                  <a:lnTo>
                    <a:pt x="234" y="203"/>
                  </a:lnTo>
                  <a:lnTo>
                    <a:pt x="234" y="201"/>
                  </a:lnTo>
                  <a:lnTo>
                    <a:pt x="234" y="201"/>
                  </a:lnTo>
                  <a:lnTo>
                    <a:pt x="234" y="201"/>
                  </a:lnTo>
                  <a:lnTo>
                    <a:pt x="234" y="199"/>
                  </a:lnTo>
                  <a:lnTo>
                    <a:pt x="234" y="199"/>
                  </a:lnTo>
                  <a:lnTo>
                    <a:pt x="234" y="197"/>
                  </a:lnTo>
                  <a:lnTo>
                    <a:pt x="232" y="197"/>
                  </a:lnTo>
                  <a:lnTo>
                    <a:pt x="230" y="195"/>
                  </a:lnTo>
                  <a:lnTo>
                    <a:pt x="230" y="193"/>
                  </a:lnTo>
                  <a:lnTo>
                    <a:pt x="232" y="191"/>
                  </a:lnTo>
                  <a:lnTo>
                    <a:pt x="234" y="191"/>
                  </a:lnTo>
                  <a:lnTo>
                    <a:pt x="238" y="191"/>
                  </a:lnTo>
                  <a:lnTo>
                    <a:pt x="240" y="191"/>
                  </a:lnTo>
                  <a:lnTo>
                    <a:pt x="242" y="189"/>
                  </a:lnTo>
                  <a:lnTo>
                    <a:pt x="242" y="187"/>
                  </a:lnTo>
                  <a:lnTo>
                    <a:pt x="242" y="181"/>
                  </a:lnTo>
                  <a:lnTo>
                    <a:pt x="242" y="179"/>
                  </a:lnTo>
                  <a:lnTo>
                    <a:pt x="244" y="179"/>
                  </a:lnTo>
                  <a:lnTo>
                    <a:pt x="244" y="177"/>
                  </a:lnTo>
                  <a:lnTo>
                    <a:pt x="242" y="177"/>
                  </a:lnTo>
                  <a:lnTo>
                    <a:pt x="242" y="172"/>
                  </a:lnTo>
                  <a:lnTo>
                    <a:pt x="240" y="172"/>
                  </a:lnTo>
                  <a:lnTo>
                    <a:pt x="240" y="172"/>
                  </a:lnTo>
                  <a:lnTo>
                    <a:pt x="240" y="166"/>
                  </a:lnTo>
                  <a:lnTo>
                    <a:pt x="242" y="164"/>
                  </a:lnTo>
                  <a:lnTo>
                    <a:pt x="248" y="158"/>
                  </a:lnTo>
                  <a:lnTo>
                    <a:pt x="248" y="158"/>
                  </a:lnTo>
                  <a:lnTo>
                    <a:pt x="248" y="156"/>
                  </a:lnTo>
                  <a:lnTo>
                    <a:pt x="248" y="154"/>
                  </a:lnTo>
                  <a:lnTo>
                    <a:pt x="248" y="144"/>
                  </a:lnTo>
                  <a:lnTo>
                    <a:pt x="248" y="142"/>
                  </a:lnTo>
                  <a:lnTo>
                    <a:pt x="248" y="140"/>
                  </a:lnTo>
                  <a:lnTo>
                    <a:pt x="250" y="136"/>
                  </a:lnTo>
                  <a:lnTo>
                    <a:pt x="252" y="132"/>
                  </a:lnTo>
                  <a:lnTo>
                    <a:pt x="252" y="129"/>
                  </a:lnTo>
                  <a:lnTo>
                    <a:pt x="254" y="127"/>
                  </a:lnTo>
                  <a:lnTo>
                    <a:pt x="256" y="125"/>
                  </a:lnTo>
                  <a:lnTo>
                    <a:pt x="258" y="125"/>
                  </a:lnTo>
                  <a:lnTo>
                    <a:pt x="260" y="123"/>
                  </a:lnTo>
                  <a:lnTo>
                    <a:pt x="262" y="123"/>
                  </a:lnTo>
                  <a:lnTo>
                    <a:pt x="266" y="117"/>
                  </a:lnTo>
                  <a:lnTo>
                    <a:pt x="266" y="117"/>
                  </a:lnTo>
                  <a:lnTo>
                    <a:pt x="268" y="113"/>
                  </a:lnTo>
                  <a:lnTo>
                    <a:pt x="268" y="113"/>
                  </a:lnTo>
                  <a:lnTo>
                    <a:pt x="268" y="113"/>
                  </a:lnTo>
                  <a:lnTo>
                    <a:pt x="273" y="111"/>
                  </a:lnTo>
                  <a:lnTo>
                    <a:pt x="275" y="109"/>
                  </a:lnTo>
                  <a:lnTo>
                    <a:pt x="277" y="105"/>
                  </a:lnTo>
                  <a:lnTo>
                    <a:pt x="277" y="101"/>
                  </a:lnTo>
                  <a:lnTo>
                    <a:pt x="273" y="97"/>
                  </a:lnTo>
                  <a:lnTo>
                    <a:pt x="273" y="97"/>
                  </a:lnTo>
                  <a:lnTo>
                    <a:pt x="273" y="97"/>
                  </a:lnTo>
                  <a:lnTo>
                    <a:pt x="273" y="95"/>
                  </a:lnTo>
                  <a:lnTo>
                    <a:pt x="275" y="95"/>
                  </a:lnTo>
                  <a:lnTo>
                    <a:pt x="279" y="95"/>
                  </a:lnTo>
                  <a:lnTo>
                    <a:pt x="281" y="88"/>
                  </a:lnTo>
                  <a:lnTo>
                    <a:pt x="285" y="80"/>
                  </a:lnTo>
                  <a:lnTo>
                    <a:pt x="287" y="76"/>
                  </a:lnTo>
                  <a:lnTo>
                    <a:pt x="287" y="76"/>
                  </a:lnTo>
                  <a:lnTo>
                    <a:pt x="289" y="76"/>
                  </a:lnTo>
                  <a:lnTo>
                    <a:pt x="289" y="74"/>
                  </a:lnTo>
                  <a:lnTo>
                    <a:pt x="287" y="72"/>
                  </a:lnTo>
                  <a:lnTo>
                    <a:pt x="285" y="72"/>
                  </a:lnTo>
                  <a:lnTo>
                    <a:pt x="283" y="72"/>
                  </a:lnTo>
                  <a:lnTo>
                    <a:pt x="281" y="70"/>
                  </a:lnTo>
                  <a:lnTo>
                    <a:pt x="281" y="70"/>
                  </a:lnTo>
                  <a:lnTo>
                    <a:pt x="279" y="66"/>
                  </a:lnTo>
                  <a:lnTo>
                    <a:pt x="277" y="64"/>
                  </a:lnTo>
                  <a:lnTo>
                    <a:pt x="275" y="64"/>
                  </a:lnTo>
                  <a:lnTo>
                    <a:pt x="270" y="62"/>
                  </a:lnTo>
                  <a:lnTo>
                    <a:pt x="270" y="60"/>
                  </a:lnTo>
                  <a:lnTo>
                    <a:pt x="268" y="58"/>
                  </a:lnTo>
                  <a:lnTo>
                    <a:pt x="268" y="54"/>
                  </a:lnTo>
                  <a:lnTo>
                    <a:pt x="268" y="54"/>
                  </a:lnTo>
                  <a:lnTo>
                    <a:pt x="268" y="52"/>
                  </a:lnTo>
                  <a:lnTo>
                    <a:pt x="270" y="50"/>
                  </a:lnTo>
                  <a:lnTo>
                    <a:pt x="268" y="50"/>
                  </a:lnTo>
                  <a:lnTo>
                    <a:pt x="268" y="47"/>
                  </a:lnTo>
                  <a:lnTo>
                    <a:pt x="266" y="47"/>
                  </a:lnTo>
                  <a:lnTo>
                    <a:pt x="264" y="45"/>
                  </a:lnTo>
                  <a:lnTo>
                    <a:pt x="264" y="45"/>
                  </a:lnTo>
                  <a:lnTo>
                    <a:pt x="262" y="43"/>
                  </a:lnTo>
                  <a:lnTo>
                    <a:pt x="262" y="41"/>
                  </a:lnTo>
                  <a:lnTo>
                    <a:pt x="262" y="39"/>
                  </a:lnTo>
                  <a:lnTo>
                    <a:pt x="262" y="37"/>
                  </a:lnTo>
                  <a:lnTo>
                    <a:pt x="264" y="37"/>
                  </a:lnTo>
                  <a:lnTo>
                    <a:pt x="268" y="35"/>
                  </a:lnTo>
                  <a:lnTo>
                    <a:pt x="268" y="35"/>
                  </a:lnTo>
                  <a:lnTo>
                    <a:pt x="270" y="33"/>
                  </a:lnTo>
                  <a:lnTo>
                    <a:pt x="270" y="31"/>
                  </a:lnTo>
                  <a:lnTo>
                    <a:pt x="268" y="31"/>
                  </a:lnTo>
                  <a:lnTo>
                    <a:pt x="264" y="29"/>
                  </a:lnTo>
                  <a:lnTo>
                    <a:pt x="262" y="29"/>
                  </a:lnTo>
                  <a:lnTo>
                    <a:pt x="262" y="27"/>
                  </a:lnTo>
                  <a:lnTo>
                    <a:pt x="262" y="23"/>
                  </a:lnTo>
                  <a:lnTo>
                    <a:pt x="264" y="19"/>
                  </a:lnTo>
                  <a:lnTo>
                    <a:pt x="264" y="17"/>
                  </a:lnTo>
                  <a:lnTo>
                    <a:pt x="266" y="17"/>
                  </a:lnTo>
                  <a:lnTo>
                    <a:pt x="266" y="15"/>
                  </a:lnTo>
                  <a:lnTo>
                    <a:pt x="268" y="13"/>
                  </a:lnTo>
                  <a:lnTo>
                    <a:pt x="268" y="11"/>
                  </a:lnTo>
                  <a:lnTo>
                    <a:pt x="266" y="9"/>
                  </a:lnTo>
                  <a:lnTo>
                    <a:pt x="266" y="7"/>
                  </a:lnTo>
                  <a:lnTo>
                    <a:pt x="264" y="7"/>
                  </a:lnTo>
                  <a:lnTo>
                    <a:pt x="262" y="7"/>
                  </a:lnTo>
                  <a:lnTo>
                    <a:pt x="262" y="7"/>
                  </a:lnTo>
                  <a:lnTo>
                    <a:pt x="260" y="7"/>
                  </a:lnTo>
                  <a:lnTo>
                    <a:pt x="260" y="4"/>
                  </a:lnTo>
                  <a:lnTo>
                    <a:pt x="260" y="0"/>
                  </a:lnTo>
                  <a:lnTo>
                    <a:pt x="258" y="2"/>
                  </a:lnTo>
                  <a:lnTo>
                    <a:pt x="242" y="2"/>
                  </a:lnTo>
                  <a:lnTo>
                    <a:pt x="225" y="4"/>
                  </a:lnTo>
                  <a:lnTo>
                    <a:pt x="209" y="4"/>
                  </a:lnTo>
                  <a:lnTo>
                    <a:pt x="193" y="7"/>
                  </a:lnTo>
                  <a:lnTo>
                    <a:pt x="178" y="9"/>
                  </a:lnTo>
                  <a:lnTo>
                    <a:pt x="162" y="9"/>
                  </a:lnTo>
                  <a:lnTo>
                    <a:pt x="146" y="11"/>
                  </a:lnTo>
                  <a:lnTo>
                    <a:pt x="129" y="11"/>
                  </a:lnTo>
                  <a:lnTo>
                    <a:pt x="113" y="13"/>
                  </a:lnTo>
                  <a:lnTo>
                    <a:pt x="96" y="13"/>
                  </a:lnTo>
                  <a:lnTo>
                    <a:pt x="80" y="15"/>
                  </a:lnTo>
                  <a:lnTo>
                    <a:pt x="64" y="15"/>
                  </a:lnTo>
                  <a:lnTo>
                    <a:pt x="47" y="17"/>
                  </a:lnTo>
                  <a:lnTo>
                    <a:pt x="31" y="17"/>
                  </a:lnTo>
                  <a:lnTo>
                    <a:pt x="17" y="19"/>
                  </a:lnTo>
                  <a:lnTo>
                    <a:pt x="0" y="19"/>
                  </a:lnTo>
                  <a:lnTo>
                    <a:pt x="0" y="31"/>
                  </a:lnTo>
                  <a:lnTo>
                    <a:pt x="2" y="58"/>
                  </a:lnTo>
                  <a:lnTo>
                    <a:pt x="2" y="70"/>
                  </a:lnTo>
                  <a:lnTo>
                    <a:pt x="2" y="82"/>
                  </a:lnTo>
                  <a:lnTo>
                    <a:pt x="4" y="95"/>
                  </a:lnTo>
                  <a:lnTo>
                    <a:pt x="4" y="107"/>
                  </a:lnTo>
                  <a:lnTo>
                    <a:pt x="4" y="121"/>
                  </a:lnTo>
                  <a:lnTo>
                    <a:pt x="4" y="127"/>
                  </a:lnTo>
                  <a:lnTo>
                    <a:pt x="6" y="129"/>
                  </a:lnTo>
                  <a:lnTo>
                    <a:pt x="6" y="129"/>
                  </a:lnTo>
                  <a:lnTo>
                    <a:pt x="6" y="129"/>
                  </a:lnTo>
                  <a:lnTo>
                    <a:pt x="6" y="129"/>
                  </a:lnTo>
                  <a:lnTo>
                    <a:pt x="8" y="132"/>
                  </a:lnTo>
                  <a:lnTo>
                    <a:pt x="8" y="132"/>
                  </a:lnTo>
                  <a:lnTo>
                    <a:pt x="10" y="132"/>
                  </a:lnTo>
                  <a:lnTo>
                    <a:pt x="12" y="136"/>
                  </a:lnTo>
                  <a:lnTo>
                    <a:pt x="12" y="136"/>
                  </a:lnTo>
                  <a:lnTo>
                    <a:pt x="12" y="136"/>
                  </a:lnTo>
                  <a:lnTo>
                    <a:pt x="12" y="136"/>
                  </a:lnTo>
                  <a:lnTo>
                    <a:pt x="17" y="138"/>
                  </a:lnTo>
                  <a:lnTo>
                    <a:pt x="17" y="138"/>
                  </a:lnTo>
                  <a:lnTo>
                    <a:pt x="19" y="140"/>
                  </a:lnTo>
                  <a:lnTo>
                    <a:pt x="21" y="142"/>
                  </a:lnTo>
                  <a:lnTo>
                    <a:pt x="21" y="144"/>
                  </a:lnTo>
                  <a:lnTo>
                    <a:pt x="21" y="144"/>
                  </a:lnTo>
                  <a:lnTo>
                    <a:pt x="23" y="146"/>
                  </a:lnTo>
                  <a:lnTo>
                    <a:pt x="23" y="146"/>
                  </a:lnTo>
                  <a:lnTo>
                    <a:pt x="25" y="150"/>
                  </a:lnTo>
                  <a:lnTo>
                    <a:pt x="25" y="150"/>
                  </a:lnTo>
                  <a:lnTo>
                    <a:pt x="27" y="154"/>
                  </a:lnTo>
                  <a:lnTo>
                    <a:pt x="27" y="156"/>
                  </a:lnTo>
                  <a:lnTo>
                    <a:pt x="27" y="156"/>
                  </a:lnTo>
                  <a:lnTo>
                    <a:pt x="27" y="156"/>
                  </a:lnTo>
                  <a:lnTo>
                    <a:pt x="27" y="158"/>
                  </a:lnTo>
                  <a:lnTo>
                    <a:pt x="29" y="158"/>
                  </a:lnTo>
                  <a:lnTo>
                    <a:pt x="29" y="158"/>
                  </a:lnTo>
                  <a:lnTo>
                    <a:pt x="29" y="158"/>
                  </a:lnTo>
                  <a:lnTo>
                    <a:pt x="27" y="160"/>
                  </a:lnTo>
                  <a:lnTo>
                    <a:pt x="27" y="162"/>
                  </a:lnTo>
                  <a:lnTo>
                    <a:pt x="27" y="164"/>
                  </a:lnTo>
                  <a:lnTo>
                    <a:pt x="27" y="166"/>
                  </a:lnTo>
                  <a:lnTo>
                    <a:pt x="27" y="166"/>
                  </a:lnTo>
                  <a:lnTo>
                    <a:pt x="27" y="166"/>
                  </a:lnTo>
                  <a:lnTo>
                    <a:pt x="27" y="168"/>
                  </a:lnTo>
                  <a:lnTo>
                    <a:pt x="27" y="168"/>
                  </a:lnTo>
                  <a:lnTo>
                    <a:pt x="27" y="170"/>
                  </a:lnTo>
                  <a:lnTo>
                    <a:pt x="27" y="170"/>
                  </a:lnTo>
                  <a:lnTo>
                    <a:pt x="27" y="170"/>
                  </a:lnTo>
                  <a:lnTo>
                    <a:pt x="29" y="172"/>
                  </a:lnTo>
                  <a:lnTo>
                    <a:pt x="29" y="175"/>
                  </a:lnTo>
                  <a:lnTo>
                    <a:pt x="31" y="177"/>
                  </a:lnTo>
                  <a:lnTo>
                    <a:pt x="33" y="177"/>
                  </a:lnTo>
                  <a:lnTo>
                    <a:pt x="33" y="177"/>
                  </a:lnTo>
                  <a:lnTo>
                    <a:pt x="33" y="177"/>
                  </a:lnTo>
                  <a:lnTo>
                    <a:pt x="35" y="179"/>
                  </a:lnTo>
                  <a:lnTo>
                    <a:pt x="37" y="179"/>
                  </a:lnTo>
                  <a:lnTo>
                    <a:pt x="37" y="179"/>
                  </a:lnTo>
                  <a:lnTo>
                    <a:pt x="37" y="179"/>
                  </a:lnTo>
                  <a:lnTo>
                    <a:pt x="37" y="179"/>
                  </a:lnTo>
                  <a:lnTo>
                    <a:pt x="37" y="181"/>
                  </a:lnTo>
                  <a:lnTo>
                    <a:pt x="37" y="181"/>
                  </a:lnTo>
                  <a:lnTo>
                    <a:pt x="37" y="181"/>
                  </a:lnTo>
                  <a:lnTo>
                    <a:pt x="37" y="181"/>
                  </a:lnTo>
                  <a:lnTo>
                    <a:pt x="35" y="181"/>
                  </a:lnTo>
                  <a:lnTo>
                    <a:pt x="35" y="181"/>
                  </a:lnTo>
                  <a:lnTo>
                    <a:pt x="35" y="183"/>
                  </a:lnTo>
                  <a:lnTo>
                    <a:pt x="35" y="183"/>
                  </a:lnTo>
                  <a:lnTo>
                    <a:pt x="35" y="183"/>
                  </a:lnTo>
                  <a:lnTo>
                    <a:pt x="37" y="185"/>
                  </a:lnTo>
                  <a:lnTo>
                    <a:pt x="37" y="185"/>
                  </a:lnTo>
                  <a:lnTo>
                    <a:pt x="37" y="185"/>
                  </a:lnTo>
                  <a:lnTo>
                    <a:pt x="39" y="185"/>
                  </a:lnTo>
                  <a:lnTo>
                    <a:pt x="39" y="185"/>
                  </a:lnTo>
                  <a:lnTo>
                    <a:pt x="39" y="185"/>
                  </a:lnTo>
                  <a:lnTo>
                    <a:pt x="39" y="185"/>
                  </a:lnTo>
                  <a:lnTo>
                    <a:pt x="39" y="187"/>
                  </a:lnTo>
                  <a:lnTo>
                    <a:pt x="39" y="189"/>
                  </a:lnTo>
                  <a:lnTo>
                    <a:pt x="41" y="189"/>
                  </a:lnTo>
                  <a:lnTo>
                    <a:pt x="41" y="189"/>
                  </a:lnTo>
                  <a:lnTo>
                    <a:pt x="41" y="191"/>
                  </a:lnTo>
                  <a:lnTo>
                    <a:pt x="43" y="193"/>
                  </a:lnTo>
                  <a:lnTo>
                    <a:pt x="45" y="193"/>
                  </a:lnTo>
                  <a:lnTo>
                    <a:pt x="45" y="193"/>
                  </a:lnTo>
                  <a:lnTo>
                    <a:pt x="45" y="193"/>
                  </a:lnTo>
                  <a:lnTo>
                    <a:pt x="43" y="195"/>
                  </a:lnTo>
                  <a:lnTo>
                    <a:pt x="43" y="195"/>
                  </a:lnTo>
                  <a:lnTo>
                    <a:pt x="43" y="197"/>
                  </a:lnTo>
                  <a:lnTo>
                    <a:pt x="43" y="197"/>
                  </a:lnTo>
                  <a:lnTo>
                    <a:pt x="43" y="199"/>
                  </a:lnTo>
                  <a:lnTo>
                    <a:pt x="43" y="199"/>
                  </a:lnTo>
                  <a:lnTo>
                    <a:pt x="43" y="199"/>
                  </a:lnTo>
                  <a:lnTo>
                    <a:pt x="43" y="201"/>
                  </a:lnTo>
                  <a:lnTo>
                    <a:pt x="47" y="203"/>
                  </a:lnTo>
                  <a:lnTo>
                    <a:pt x="47" y="203"/>
                  </a:lnTo>
                  <a:lnTo>
                    <a:pt x="47" y="203"/>
                  </a:lnTo>
                  <a:lnTo>
                    <a:pt x="47" y="205"/>
                  </a:lnTo>
                  <a:lnTo>
                    <a:pt x="47" y="205"/>
                  </a:lnTo>
                  <a:lnTo>
                    <a:pt x="49" y="205"/>
                  </a:lnTo>
                  <a:lnTo>
                    <a:pt x="49" y="207"/>
                  </a:lnTo>
                  <a:lnTo>
                    <a:pt x="49" y="207"/>
                  </a:lnTo>
                  <a:lnTo>
                    <a:pt x="49" y="207"/>
                  </a:lnTo>
                  <a:lnTo>
                    <a:pt x="49" y="209"/>
                  </a:lnTo>
                  <a:lnTo>
                    <a:pt x="49" y="211"/>
                  </a:lnTo>
                  <a:lnTo>
                    <a:pt x="51" y="211"/>
                  </a:lnTo>
                  <a:lnTo>
                    <a:pt x="51" y="211"/>
                  </a:lnTo>
                  <a:lnTo>
                    <a:pt x="51" y="213"/>
                  </a:lnTo>
                  <a:lnTo>
                    <a:pt x="51" y="213"/>
                  </a:lnTo>
                  <a:lnTo>
                    <a:pt x="51" y="213"/>
                  </a:lnTo>
                  <a:lnTo>
                    <a:pt x="51" y="213"/>
                  </a:lnTo>
                  <a:lnTo>
                    <a:pt x="51" y="213"/>
                  </a:lnTo>
                  <a:lnTo>
                    <a:pt x="53" y="211"/>
                  </a:lnTo>
                  <a:lnTo>
                    <a:pt x="55" y="213"/>
                  </a:lnTo>
                  <a:lnTo>
                    <a:pt x="55" y="213"/>
                  </a:lnTo>
                  <a:lnTo>
                    <a:pt x="55" y="220"/>
                  </a:lnTo>
                  <a:lnTo>
                    <a:pt x="55" y="220"/>
                  </a:lnTo>
                  <a:lnTo>
                    <a:pt x="55" y="222"/>
                  </a:lnTo>
                  <a:lnTo>
                    <a:pt x="55" y="224"/>
                  </a:lnTo>
                  <a:lnTo>
                    <a:pt x="57" y="226"/>
                  </a:lnTo>
                  <a:lnTo>
                    <a:pt x="60" y="228"/>
                  </a:lnTo>
                  <a:lnTo>
                    <a:pt x="60" y="228"/>
                  </a:lnTo>
                  <a:lnTo>
                    <a:pt x="60" y="230"/>
                  </a:lnTo>
                  <a:lnTo>
                    <a:pt x="60" y="230"/>
                  </a:lnTo>
                  <a:lnTo>
                    <a:pt x="55" y="232"/>
                  </a:lnTo>
                  <a:lnTo>
                    <a:pt x="55" y="232"/>
                  </a:lnTo>
                  <a:lnTo>
                    <a:pt x="53" y="232"/>
                  </a:lnTo>
                  <a:lnTo>
                    <a:pt x="55" y="236"/>
                  </a:lnTo>
                  <a:lnTo>
                    <a:pt x="57" y="238"/>
                  </a:lnTo>
                  <a:lnTo>
                    <a:pt x="57" y="238"/>
                  </a:lnTo>
                  <a:lnTo>
                    <a:pt x="57" y="240"/>
                  </a:lnTo>
                  <a:lnTo>
                    <a:pt x="57" y="240"/>
                  </a:lnTo>
                  <a:lnTo>
                    <a:pt x="57" y="240"/>
                  </a:lnTo>
                  <a:lnTo>
                    <a:pt x="55" y="242"/>
                  </a:lnTo>
                  <a:lnTo>
                    <a:pt x="55" y="244"/>
                  </a:lnTo>
                  <a:lnTo>
                    <a:pt x="55" y="244"/>
                  </a:lnTo>
                  <a:lnTo>
                    <a:pt x="55" y="246"/>
                  </a:lnTo>
                  <a:lnTo>
                    <a:pt x="55" y="248"/>
                  </a:lnTo>
                  <a:lnTo>
                    <a:pt x="55" y="248"/>
                  </a:lnTo>
                  <a:lnTo>
                    <a:pt x="55" y="250"/>
                  </a:lnTo>
                  <a:lnTo>
                    <a:pt x="55" y="250"/>
                  </a:lnTo>
                  <a:lnTo>
                    <a:pt x="55" y="252"/>
                  </a:lnTo>
                  <a:lnTo>
                    <a:pt x="53" y="259"/>
                  </a:lnTo>
                  <a:lnTo>
                    <a:pt x="51" y="265"/>
                  </a:lnTo>
                  <a:lnTo>
                    <a:pt x="51" y="267"/>
                  </a:lnTo>
                  <a:lnTo>
                    <a:pt x="47" y="269"/>
                  </a:lnTo>
                  <a:lnTo>
                    <a:pt x="47" y="271"/>
                  </a:lnTo>
                  <a:lnTo>
                    <a:pt x="47" y="275"/>
                  </a:lnTo>
                  <a:lnTo>
                    <a:pt x="47" y="277"/>
                  </a:lnTo>
                  <a:lnTo>
                    <a:pt x="45" y="277"/>
                  </a:lnTo>
                  <a:lnTo>
                    <a:pt x="43" y="279"/>
                  </a:lnTo>
                  <a:lnTo>
                    <a:pt x="43" y="281"/>
                  </a:lnTo>
                  <a:lnTo>
                    <a:pt x="43" y="283"/>
                  </a:lnTo>
                  <a:lnTo>
                    <a:pt x="43" y="283"/>
                  </a:lnTo>
                  <a:lnTo>
                    <a:pt x="43" y="283"/>
                  </a:lnTo>
                  <a:lnTo>
                    <a:pt x="43" y="285"/>
                  </a:lnTo>
                  <a:lnTo>
                    <a:pt x="43" y="287"/>
                  </a:lnTo>
                  <a:lnTo>
                    <a:pt x="43" y="287"/>
                  </a:lnTo>
                  <a:lnTo>
                    <a:pt x="45" y="289"/>
                  </a:lnTo>
                  <a:lnTo>
                    <a:pt x="45" y="291"/>
                  </a:lnTo>
                  <a:lnTo>
                    <a:pt x="45" y="293"/>
                  </a:lnTo>
                  <a:lnTo>
                    <a:pt x="45" y="295"/>
                  </a:lnTo>
                  <a:lnTo>
                    <a:pt x="43" y="298"/>
                  </a:lnTo>
                  <a:lnTo>
                    <a:pt x="41" y="300"/>
                  </a:lnTo>
                  <a:lnTo>
                    <a:pt x="41" y="302"/>
                  </a:lnTo>
                  <a:lnTo>
                    <a:pt x="41" y="306"/>
                  </a:lnTo>
                  <a:lnTo>
                    <a:pt x="43" y="308"/>
                  </a:lnTo>
                  <a:lnTo>
                    <a:pt x="45" y="310"/>
                  </a:lnTo>
                  <a:lnTo>
                    <a:pt x="45" y="312"/>
                  </a:lnTo>
                  <a:lnTo>
                    <a:pt x="47" y="314"/>
                  </a:lnTo>
                  <a:lnTo>
                    <a:pt x="45" y="314"/>
                  </a:lnTo>
                  <a:lnTo>
                    <a:pt x="45" y="316"/>
                  </a:lnTo>
                  <a:lnTo>
                    <a:pt x="45" y="318"/>
                  </a:lnTo>
                  <a:lnTo>
                    <a:pt x="45" y="318"/>
                  </a:lnTo>
                  <a:lnTo>
                    <a:pt x="47" y="320"/>
                  </a:lnTo>
                  <a:lnTo>
                    <a:pt x="47" y="322"/>
                  </a:lnTo>
                  <a:lnTo>
                    <a:pt x="47" y="324"/>
                  </a:lnTo>
                  <a:lnTo>
                    <a:pt x="47" y="324"/>
                  </a:lnTo>
                  <a:lnTo>
                    <a:pt x="47" y="326"/>
                  </a:lnTo>
                  <a:lnTo>
                    <a:pt x="47" y="328"/>
                  </a:lnTo>
                  <a:lnTo>
                    <a:pt x="45" y="330"/>
                  </a:lnTo>
                  <a:lnTo>
                    <a:pt x="45" y="332"/>
                  </a:lnTo>
                  <a:lnTo>
                    <a:pt x="47" y="334"/>
                  </a:lnTo>
                  <a:lnTo>
                    <a:pt x="41" y="341"/>
                  </a:lnTo>
                  <a:lnTo>
                    <a:pt x="39" y="343"/>
                  </a:lnTo>
                  <a:lnTo>
                    <a:pt x="39" y="343"/>
                  </a:lnTo>
                  <a:lnTo>
                    <a:pt x="41" y="343"/>
                  </a:lnTo>
                  <a:lnTo>
                    <a:pt x="43" y="345"/>
                  </a:lnTo>
                  <a:lnTo>
                    <a:pt x="43" y="345"/>
                  </a:lnTo>
                  <a:lnTo>
                    <a:pt x="43" y="353"/>
                  </a:lnTo>
                  <a:lnTo>
                    <a:pt x="39" y="361"/>
                  </a:lnTo>
                  <a:lnTo>
                    <a:pt x="37" y="361"/>
                  </a:lnTo>
                  <a:lnTo>
                    <a:pt x="33" y="361"/>
                  </a:lnTo>
                  <a:lnTo>
                    <a:pt x="31" y="363"/>
                  </a:lnTo>
                  <a:lnTo>
                    <a:pt x="31" y="365"/>
                  </a:lnTo>
                  <a:lnTo>
                    <a:pt x="33" y="369"/>
                  </a:lnTo>
                  <a:lnTo>
                    <a:pt x="35" y="373"/>
                  </a:lnTo>
                  <a:lnTo>
                    <a:pt x="37" y="373"/>
                  </a:lnTo>
                  <a:lnTo>
                    <a:pt x="39" y="373"/>
                  </a:lnTo>
                  <a:lnTo>
                    <a:pt x="41" y="371"/>
                  </a:lnTo>
                  <a:lnTo>
                    <a:pt x="43" y="371"/>
                  </a:lnTo>
                  <a:lnTo>
                    <a:pt x="45" y="369"/>
                  </a:lnTo>
                  <a:lnTo>
                    <a:pt x="47" y="367"/>
                  </a:lnTo>
                  <a:lnTo>
                    <a:pt x="51" y="367"/>
                  </a:lnTo>
                  <a:lnTo>
                    <a:pt x="60" y="365"/>
                  </a:lnTo>
                  <a:lnTo>
                    <a:pt x="60" y="365"/>
                  </a:lnTo>
                  <a:lnTo>
                    <a:pt x="60" y="365"/>
                  </a:lnTo>
                  <a:lnTo>
                    <a:pt x="60" y="365"/>
                  </a:lnTo>
                  <a:lnTo>
                    <a:pt x="70" y="365"/>
                  </a:lnTo>
                  <a:lnTo>
                    <a:pt x="72" y="365"/>
                  </a:lnTo>
                  <a:lnTo>
                    <a:pt x="74" y="365"/>
                  </a:lnTo>
                  <a:lnTo>
                    <a:pt x="78" y="365"/>
                  </a:lnTo>
                  <a:lnTo>
                    <a:pt x="80" y="365"/>
                  </a:lnTo>
                  <a:lnTo>
                    <a:pt x="82" y="363"/>
                  </a:lnTo>
                  <a:lnTo>
                    <a:pt x="86" y="363"/>
                  </a:lnTo>
                  <a:lnTo>
                    <a:pt x="92" y="361"/>
                  </a:lnTo>
                  <a:lnTo>
                    <a:pt x="96" y="363"/>
                  </a:lnTo>
                  <a:lnTo>
                    <a:pt x="107" y="365"/>
                  </a:lnTo>
                  <a:lnTo>
                    <a:pt x="113" y="367"/>
                  </a:lnTo>
                  <a:lnTo>
                    <a:pt x="125" y="369"/>
                  </a:lnTo>
                  <a:lnTo>
                    <a:pt x="131" y="373"/>
                  </a:lnTo>
                  <a:lnTo>
                    <a:pt x="133" y="375"/>
                  </a:lnTo>
                  <a:lnTo>
                    <a:pt x="143" y="379"/>
                  </a:lnTo>
                  <a:lnTo>
                    <a:pt x="160" y="382"/>
                  </a:lnTo>
                  <a:lnTo>
                    <a:pt x="162" y="379"/>
                  </a:lnTo>
                  <a:lnTo>
                    <a:pt x="164" y="382"/>
                  </a:lnTo>
                  <a:lnTo>
                    <a:pt x="164" y="379"/>
                  </a:lnTo>
                  <a:lnTo>
                    <a:pt x="166" y="382"/>
                  </a:lnTo>
                  <a:lnTo>
                    <a:pt x="182" y="384"/>
                  </a:lnTo>
                  <a:lnTo>
                    <a:pt x="184" y="382"/>
                  </a:lnTo>
                  <a:lnTo>
                    <a:pt x="186" y="382"/>
                  </a:lnTo>
                  <a:lnTo>
                    <a:pt x="193" y="377"/>
                  </a:lnTo>
                  <a:lnTo>
                    <a:pt x="197" y="377"/>
                  </a:lnTo>
                  <a:lnTo>
                    <a:pt x="203" y="377"/>
                  </a:lnTo>
                  <a:lnTo>
                    <a:pt x="205" y="377"/>
                  </a:lnTo>
                  <a:lnTo>
                    <a:pt x="205" y="375"/>
                  </a:lnTo>
                  <a:lnTo>
                    <a:pt x="203" y="375"/>
                  </a:lnTo>
                  <a:lnTo>
                    <a:pt x="205" y="373"/>
                  </a:lnTo>
                  <a:lnTo>
                    <a:pt x="205" y="373"/>
                  </a:lnTo>
                  <a:lnTo>
                    <a:pt x="209" y="371"/>
                  </a:lnTo>
                  <a:lnTo>
                    <a:pt x="207" y="371"/>
                  </a:lnTo>
                  <a:lnTo>
                    <a:pt x="205" y="371"/>
                  </a:lnTo>
                  <a:lnTo>
                    <a:pt x="203" y="371"/>
                  </a:lnTo>
                  <a:lnTo>
                    <a:pt x="201" y="373"/>
                  </a:lnTo>
                  <a:lnTo>
                    <a:pt x="201" y="373"/>
                  </a:lnTo>
                  <a:lnTo>
                    <a:pt x="199" y="371"/>
                  </a:lnTo>
                  <a:lnTo>
                    <a:pt x="197" y="365"/>
                  </a:lnTo>
                  <a:lnTo>
                    <a:pt x="199" y="365"/>
                  </a:lnTo>
                  <a:lnTo>
                    <a:pt x="201" y="363"/>
                  </a:lnTo>
                  <a:lnTo>
                    <a:pt x="199" y="363"/>
                  </a:lnTo>
                  <a:lnTo>
                    <a:pt x="199" y="363"/>
                  </a:lnTo>
                  <a:lnTo>
                    <a:pt x="199" y="363"/>
                  </a:lnTo>
                  <a:lnTo>
                    <a:pt x="197" y="365"/>
                  </a:lnTo>
                  <a:lnTo>
                    <a:pt x="195" y="365"/>
                  </a:lnTo>
                  <a:lnTo>
                    <a:pt x="195" y="365"/>
                  </a:lnTo>
                  <a:lnTo>
                    <a:pt x="193" y="365"/>
                  </a:lnTo>
                  <a:lnTo>
                    <a:pt x="193" y="363"/>
                  </a:lnTo>
                  <a:lnTo>
                    <a:pt x="191" y="361"/>
                  </a:lnTo>
                  <a:lnTo>
                    <a:pt x="191" y="359"/>
                  </a:lnTo>
                  <a:lnTo>
                    <a:pt x="193" y="359"/>
                  </a:lnTo>
                  <a:lnTo>
                    <a:pt x="193" y="359"/>
                  </a:lnTo>
                  <a:lnTo>
                    <a:pt x="193" y="359"/>
                  </a:lnTo>
                  <a:lnTo>
                    <a:pt x="195" y="357"/>
                  </a:lnTo>
                  <a:lnTo>
                    <a:pt x="195" y="357"/>
                  </a:lnTo>
                  <a:lnTo>
                    <a:pt x="197" y="357"/>
                  </a:lnTo>
                  <a:lnTo>
                    <a:pt x="197" y="359"/>
                  </a:lnTo>
                  <a:lnTo>
                    <a:pt x="197" y="359"/>
                  </a:lnTo>
                  <a:lnTo>
                    <a:pt x="195" y="361"/>
                  </a:lnTo>
                  <a:lnTo>
                    <a:pt x="197" y="361"/>
                  </a:lnTo>
                  <a:lnTo>
                    <a:pt x="199" y="361"/>
                  </a:lnTo>
                  <a:lnTo>
                    <a:pt x="201" y="357"/>
                  </a:lnTo>
                  <a:lnTo>
                    <a:pt x="201" y="357"/>
                  </a:lnTo>
                  <a:lnTo>
                    <a:pt x="209" y="353"/>
                  </a:lnTo>
                  <a:lnTo>
                    <a:pt x="209" y="353"/>
                  </a:lnTo>
                  <a:lnTo>
                    <a:pt x="211" y="351"/>
                  </a:lnTo>
                  <a:lnTo>
                    <a:pt x="211" y="351"/>
                  </a:lnTo>
                  <a:lnTo>
                    <a:pt x="211" y="349"/>
                  </a:lnTo>
                  <a:lnTo>
                    <a:pt x="211" y="349"/>
                  </a:lnTo>
                  <a:lnTo>
                    <a:pt x="213" y="349"/>
                  </a:lnTo>
                  <a:lnTo>
                    <a:pt x="213" y="351"/>
                  </a:lnTo>
                  <a:lnTo>
                    <a:pt x="215" y="351"/>
                  </a:lnTo>
                  <a:lnTo>
                    <a:pt x="217" y="349"/>
                  </a:lnTo>
                  <a:lnTo>
                    <a:pt x="219" y="349"/>
                  </a:lnTo>
                  <a:lnTo>
                    <a:pt x="223" y="349"/>
                  </a:lnTo>
                  <a:lnTo>
                    <a:pt x="223" y="349"/>
                  </a:lnTo>
                  <a:lnTo>
                    <a:pt x="225" y="351"/>
                  </a:lnTo>
                  <a:lnTo>
                    <a:pt x="225" y="351"/>
                  </a:lnTo>
                  <a:lnTo>
                    <a:pt x="225" y="353"/>
                  </a:lnTo>
                  <a:lnTo>
                    <a:pt x="223" y="353"/>
                  </a:lnTo>
                  <a:lnTo>
                    <a:pt x="223" y="353"/>
                  </a:lnTo>
                  <a:lnTo>
                    <a:pt x="223" y="351"/>
                  </a:lnTo>
                  <a:lnTo>
                    <a:pt x="221" y="353"/>
                  </a:lnTo>
                  <a:lnTo>
                    <a:pt x="221" y="355"/>
                  </a:lnTo>
                  <a:lnTo>
                    <a:pt x="221" y="357"/>
                  </a:lnTo>
                  <a:lnTo>
                    <a:pt x="221" y="357"/>
                  </a:lnTo>
                  <a:lnTo>
                    <a:pt x="221" y="359"/>
                  </a:lnTo>
                  <a:lnTo>
                    <a:pt x="221" y="359"/>
                  </a:lnTo>
                  <a:lnTo>
                    <a:pt x="223" y="361"/>
                  </a:lnTo>
                  <a:lnTo>
                    <a:pt x="225" y="361"/>
                  </a:lnTo>
                  <a:lnTo>
                    <a:pt x="230" y="357"/>
                  </a:lnTo>
                  <a:lnTo>
                    <a:pt x="230" y="357"/>
                  </a:lnTo>
                  <a:lnTo>
                    <a:pt x="240" y="357"/>
                  </a:lnTo>
                  <a:lnTo>
                    <a:pt x="242" y="357"/>
                  </a:lnTo>
                  <a:lnTo>
                    <a:pt x="244" y="357"/>
                  </a:lnTo>
                  <a:lnTo>
                    <a:pt x="244" y="359"/>
                  </a:lnTo>
                  <a:lnTo>
                    <a:pt x="244" y="363"/>
                  </a:lnTo>
                  <a:lnTo>
                    <a:pt x="244" y="365"/>
                  </a:lnTo>
                  <a:lnTo>
                    <a:pt x="244" y="367"/>
                  </a:lnTo>
                  <a:lnTo>
                    <a:pt x="244" y="369"/>
                  </a:lnTo>
                  <a:lnTo>
                    <a:pt x="246" y="369"/>
                  </a:lnTo>
                  <a:lnTo>
                    <a:pt x="248" y="367"/>
                  </a:lnTo>
                  <a:lnTo>
                    <a:pt x="250" y="367"/>
                  </a:lnTo>
                  <a:lnTo>
                    <a:pt x="250" y="367"/>
                  </a:lnTo>
                  <a:lnTo>
                    <a:pt x="252" y="367"/>
                  </a:lnTo>
                  <a:lnTo>
                    <a:pt x="252" y="369"/>
                  </a:lnTo>
                  <a:lnTo>
                    <a:pt x="252" y="369"/>
                  </a:lnTo>
                  <a:lnTo>
                    <a:pt x="252" y="371"/>
                  </a:lnTo>
                  <a:lnTo>
                    <a:pt x="254" y="373"/>
                  </a:lnTo>
                  <a:lnTo>
                    <a:pt x="254" y="375"/>
                  </a:lnTo>
                  <a:lnTo>
                    <a:pt x="254" y="377"/>
                  </a:lnTo>
                  <a:lnTo>
                    <a:pt x="252" y="377"/>
                  </a:lnTo>
                  <a:lnTo>
                    <a:pt x="254" y="379"/>
                  </a:lnTo>
                  <a:lnTo>
                    <a:pt x="258" y="377"/>
                  </a:lnTo>
                  <a:lnTo>
                    <a:pt x="262" y="375"/>
                  </a:lnTo>
                  <a:lnTo>
                    <a:pt x="264" y="375"/>
                  </a:lnTo>
                  <a:lnTo>
                    <a:pt x="266" y="375"/>
                  </a:lnTo>
                  <a:lnTo>
                    <a:pt x="266" y="375"/>
                  </a:lnTo>
                  <a:lnTo>
                    <a:pt x="264" y="377"/>
                  </a:lnTo>
                  <a:lnTo>
                    <a:pt x="264" y="377"/>
                  </a:lnTo>
                  <a:lnTo>
                    <a:pt x="264" y="379"/>
                  </a:lnTo>
                  <a:lnTo>
                    <a:pt x="266" y="379"/>
                  </a:lnTo>
                  <a:lnTo>
                    <a:pt x="268" y="379"/>
                  </a:lnTo>
                  <a:lnTo>
                    <a:pt x="270" y="379"/>
                  </a:lnTo>
                  <a:lnTo>
                    <a:pt x="275" y="382"/>
                  </a:lnTo>
                  <a:lnTo>
                    <a:pt x="277" y="382"/>
                  </a:lnTo>
                  <a:lnTo>
                    <a:pt x="277" y="382"/>
                  </a:lnTo>
                  <a:lnTo>
                    <a:pt x="279" y="379"/>
                  </a:lnTo>
                  <a:lnTo>
                    <a:pt x="279" y="377"/>
                  </a:lnTo>
                  <a:lnTo>
                    <a:pt x="279" y="377"/>
                  </a:lnTo>
                  <a:lnTo>
                    <a:pt x="279" y="377"/>
                  </a:lnTo>
                  <a:lnTo>
                    <a:pt x="279" y="375"/>
                  </a:lnTo>
                  <a:lnTo>
                    <a:pt x="279" y="375"/>
                  </a:lnTo>
                  <a:lnTo>
                    <a:pt x="281" y="371"/>
                  </a:lnTo>
                  <a:lnTo>
                    <a:pt x="281" y="371"/>
                  </a:lnTo>
                  <a:lnTo>
                    <a:pt x="281" y="367"/>
                  </a:lnTo>
                  <a:lnTo>
                    <a:pt x="281" y="367"/>
                  </a:lnTo>
                  <a:lnTo>
                    <a:pt x="283" y="369"/>
                  </a:lnTo>
                  <a:lnTo>
                    <a:pt x="283" y="369"/>
                  </a:lnTo>
                  <a:lnTo>
                    <a:pt x="285" y="371"/>
                  </a:lnTo>
                  <a:lnTo>
                    <a:pt x="285" y="373"/>
                  </a:lnTo>
                  <a:lnTo>
                    <a:pt x="283" y="373"/>
                  </a:lnTo>
                  <a:lnTo>
                    <a:pt x="283" y="373"/>
                  </a:lnTo>
                  <a:lnTo>
                    <a:pt x="281" y="375"/>
                  </a:lnTo>
                  <a:lnTo>
                    <a:pt x="281" y="377"/>
                  </a:lnTo>
                  <a:lnTo>
                    <a:pt x="281" y="382"/>
                  </a:lnTo>
                  <a:lnTo>
                    <a:pt x="281" y="384"/>
                  </a:lnTo>
                  <a:lnTo>
                    <a:pt x="283" y="386"/>
                  </a:lnTo>
                  <a:lnTo>
                    <a:pt x="283" y="386"/>
                  </a:lnTo>
                  <a:lnTo>
                    <a:pt x="285" y="386"/>
                  </a:lnTo>
                  <a:lnTo>
                    <a:pt x="285" y="388"/>
                  </a:lnTo>
                  <a:lnTo>
                    <a:pt x="285" y="388"/>
                  </a:lnTo>
                  <a:lnTo>
                    <a:pt x="285" y="390"/>
                  </a:lnTo>
                  <a:lnTo>
                    <a:pt x="285" y="390"/>
                  </a:lnTo>
                  <a:lnTo>
                    <a:pt x="287" y="392"/>
                  </a:lnTo>
                  <a:lnTo>
                    <a:pt x="289" y="392"/>
                  </a:lnTo>
                  <a:lnTo>
                    <a:pt x="295" y="396"/>
                  </a:lnTo>
                  <a:lnTo>
                    <a:pt x="297" y="398"/>
                  </a:lnTo>
                  <a:lnTo>
                    <a:pt x="295" y="402"/>
                  </a:lnTo>
                  <a:lnTo>
                    <a:pt x="295" y="402"/>
                  </a:lnTo>
                  <a:lnTo>
                    <a:pt x="295" y="402"/>
                  </a:lnTo>
                  <a:lnTo>
                    <a:pt x="295" y="404"/>
                  </a:lnTo>
                  <a:lnTo>
                    <a:pt x="297" y="404"/>
                  </a:lnTo>
                  <a:lnTo>
                    <a:pt x="295" y="404"/>
                  </a:lnTo>
                  <a:lnTo>
                    <a:pt x="295" y="406"/>
                  </a:lnTo>
                  <a:lnTo>
                    <a:pt x="293" y="406"/>
                  </a:lnTo>
                  <a:lnTo>
                    <a:pt x="293" y="404"/>
                  </a:lnTo>
                  <a:lnTo>
                    <a:pt x="293" y="404"/>
                  </a:lnTo>
                  <a:lnTo>
                    <a:pt x="291" y="404"/>
                  </a:lnTo>
                  <a:lnTo>
                    <a:pt x="291" y="404"/>
                  </a:lnTo>
                  <a:lnTo>
                    <a:pt x="291" y="402"/>
                  </a:lnTo>
                  <a:lnTo>
                    <a:pt x="291" y="400"/>
                  </a:lnTo>
                  <a:lnTo>
                    <a:pt x="291" y="396"/>
                  </a:lnTo>
                  <a:lnTo>
                    <a:pt x="289" y="398"/>
                  </a:lnTo>
                  <a:lnTo>
                    <a:pt x="287" y="396"/>
                  </a:lnTo>
                  <a:lnTo>
                    <a:pt x="285" y="394"/>
                  </a:lnTo>
                  <a:lnTo>
                    <a:pt x="285" y="394"/>
                  </a:lnTo>
                  <a:lnTo>
                    <a:pt x="283" y="394"/>
                  </a:lnTo>
                  <a:lnTo>
                    <a:pt x="283" y="394"/>
                  </a:lnTo>
                  <a:lnTo>
                    <a:pt x="281" y="396"/>
                  </a:lnTo>
                  <a:lnTo>
                    <a:pt x="281" y="398"/>
                  </a:lnTo>
                  <a:lnTo>
                    <a:pt x="279" y="400"/>
                  </a:lnTo>
                  <a:lnTo>
                    <a:pt x="277" y="400"/>
                  </a:lnTo>
                  <a:lnTo>
                    <a:pt x="277" y="400"/>
                  </a:lnTo>
                  <a:lnTo>
                    <a:pt x="275" y="398"/>
                  </a:lnTo>
                  <a:lnTo>
                    <a:pt x="277" y="402"/>
                  </a:lnTo>
                  <a:lnTo>
                    <a:pt x="281" y="406"/>
                  </a:lnTo>
                  <a:lnTo>
                    <a:pt x="287" y="408"/>
                  </a:lnTo>
                  <a:lnTo>
                    <a:pt x="295" y="408"/>
                  </a:lnTo>
                  <a:lnTo>
                    <a:pt x="297" y="410"/>
                  </a:lnTo>
                  <a:lnTo>
                    <a:pt x="299" y="410"/>
                  </a:lnTo>
                  <a:lnTo>
                    <a:pt x="301" y="412"/>
                  </a:lnTo>
                  <a:lnTo>
                    <a:pt x="301" y="412"/>
                  </a:lnTo>
                  <a:lnTo>
                    <a:pt x="303" y="410"/>
                  </a:lnTo>
                  <a:lnTo>
                    <a:pt x="303" y="410"/>
                  </a:lnTo>
                  <a:lnTo>
                    <a:pt x="303" y="408"/>
                  </a:lnTo>
                  <a:lnTo>
                    <a:pt x="305" y="408"/>
                  </a:lnTo>
                  <a:lnTo>
                    <a:pt x="305" y="408"/>
                  </a:lnTo>
                  <a:lnTo>
                    <a:pt x="307" y="408"/>
                  </a:lnTo>
                  <a:lnTo>
                    <a:pt x="309" y="410"/>
                  </a:lnTo>
                  <a:lnTo>
                    <a:pt x="307" y="410"/>
                  </a:lnTo>
                  <a:lnTo>
                    <a:pt x="307" y="410"/>
                  </a:lnTo>
                  <a:lnTo>
                    <a:pt x="307" y="412"/>
                  </a:lnTo>
                  <a:lnTo>
                    <a:pt x="307" y="412"/>
                  </a:lnTo>
                  <a:lnTo>
                    <a:pt x="309" y="412"/>
                  </a:lnTo>
                  <a:lnTo>
                    <a:pt x="311" y="412"/>
                  </a:lnTo>
                  <a:lnTo>
                    <a:pt x="316" y="412"/>
                  </a:lnTo>
                  <a:lnTo>
                    <a:pt x="320" y="416"/>
                  </a:lnTo>
                  <a:lnTo>
                    <a:pt x="320" y="416"/>
                  </a:lnTo>
                  <a:lnTo>
                    <a:pt x="320" y="416"/>
                  </a:lnTo>
                  <a:lnTo>
                    <a:pt x="320" y="416"/>
                  </a:lnTo>
                  <a:lnTo>
                    <a:pt x="322" y="414"/>
                  </a:lnTo>
                  <a:lnTo>
                    <a:pt x="324" y="414"/>
                  </a:lnTo>
                  <a:lnTo>
                    <a:pt x="324" y="412"/>
                  </a:lnTo>
                  <a:lnTo>
                    <a:pt x="322" y="410"/>
                  </a:lnTo>
                  <a:lnTo>
                    <a:pt x="324" y="412"/>
                  </a:lnTo>
                  <a:lnTo>
                    <a:pt x="326" y="412"/>
                  </a:lnTo>
                  <a:lnTo>
                    <a:pt x="328" y="412"/>
                  </a:lnTo>
                  <a:lnTo>
                    <a:pt x="330" y="412"/>
                  </a:lnTo>
                  <a:lnTo>
                    <a:pt x="330" y="414"/>
                  </a:lnTo>
                  <a:lnTo>
                    <a:pt x="330" y="414"/>
                  </a:lnTo>
                  <a:lnTo>
                    <a:pt x="328" y="416"/>
                  </a:lnTo>
                  <a:lnTo>
                    <a:pt x="326" y="416"/>
                  </a:lnTo>
                  <a:lnTo>
                    <a:pt x="328" y="416"/>
                  </a:lnTo>
                  <a:lnTo>
                    <a:pt x="332" y="418"/>
                  </a:lnTo>
                  <a:lnTo>
                    <a:pt x="332" y="418"/>
                  </a:lnTo>
                  <a:lnTo>
                    <a:pt x="332" y="416"/>
                  </a:lnTo>
                  <a:lnTo>
                    <a:pt x="334" y="416"/>
                  </a:lnTo>
                  <a:lnTo>
                    <a:pt x="336" y="416"/>
                  </a:lnTo>
                  <a:lnTo>
                    <a:pt x="336" y="416"/>
                  </a:lnTo>
                  <a:lnTo>
                    <a:pt x="336" y="416"/>
                  </a:lnTo>
                  <a:lnTo>
                    <a:pt x="338" y="416"/>
                  </a:lnTo>
                  <a:lnTo>
                    <a:pt x="338" y="416"/>
                  </a:lnTo>
                  <a:lnTo>
                    <a:pt x="338" y="414"/>
                  </a:lnTo>
                  <a:lnTo>
                    <a:pt x="338" y="414"/>
                  </a:lnTo>
                  <a:lnTo>
                    <a:pt x="338" y="412"/>
                  </a:lnTo>
                  <a:lnTo>
                    <a:pt x="338" y="412"/>
                  </a:lnTo>
                  <a:lnTo>
                    <a:pt x="340" y="412"/>
                  </a:lnTo>
                  <a:lnTo>
                    <a:pt x="340" y="412"/>
                  </a:lnTo>
                  <a:lnTo>
                    <a:pt x="342" y="412"/>
                  </a:lnTo>
                  <a:lnTo>
                    <a:pt x="342" y="414"/>
                  </a:lnTo>
                  <a:lnTo>
                    <a:pt x="342" y="412"/>
                  </a:lnTo>
                  <a:lnTo>
                    <a:pt x="342" y="408"/>
                  </a:lnTo>
                  <a:lnTo>
                    <a:pt x="342" y="408"/>
                  </a:lnTo>
                  <a:lnTo>
                    <a:pt x="342" y="408"/>
                  </a:lnTo>
                  <a:lnTo>
                    <a:pt x="342" y="404"/>
                  </a:lnTo>
                  <a:lnTo>
                    <a:pt x="342" y="404"/>
                  </a:lnTo>
                  <a:lnTo>
                    <a:pt x="342" y="402"/>
                  </a:lnTo>
                  <a:lnTo>
                    <a:pt x="344" y="404"/>
                  </a:lnTo>
                  <a:lnTo>
                    <a:pt x="344" y="404"/>
                  </a:lnTo>
                  <a:lnTo>
                    <a:pt x="346" y="406"/>
                  </a:lnTo>
                  <a:lnTo>
                    <a:pt x="346" y="404"/>
                  </a:lnTo>
                  <a:lnTo>
                    <a:pt x="344" y="402"/>
                  </a:lnTo>
                  <a:lnTo>
                    <a:pt x="346" y="402"/>
                  </a:lnTo>
                  <a:lnTo>
                    <a:pt x="346" y="400"/>
                  </a:lnTo>
                  <a:lnTo>
                    <a:pt x="346" y="398"/>
                  </a:lnTo>
                  <a:lnTo>
                    <a:pt x="344" y="398"/>
                  </a:lnTo>
                  <a:lnTo>
                    <a:pt x="344" y="398"/>
                  </a:lnTo>
                  <a:lnTo>
                    <a:pt x="344" y="396"/>
                  </a:lnTo>
                  <a:lnTo>
                    <a:pt x="344" y="396"/>
                  </a:lnTo>
                  <a:lnTo>
                    <a:pt x="344" y="396"/>
                  </a:lnTo>
                  <a:lnTo>
                    <a:pt x="346" y="396"/>
                  </a:lnTo>
                  <a:lnTo>
                    <a:pt x="346" y="396"/>
                  </a:lnTo>
                  <a:lnTo>
                    <a:pt x="346" y="394"/>
                  </a:lnTo>
                  <a:lnTo>
                    <a:pt x="346" y="394"/>
                  </a:lnTo>
                  <a:lnTo>
                    <a:pt x="348" y="394"/>
                  </a:lnTo>
                  <a:lnTo>
                    <a:pt x="348" y="396"/>
                  </a:lnTo>
                  <a:lnTo>
                    <a:pt x="346" y="396"/>
                  </a:lnTo>
                  <a:lnTo>
                    <a:pt x="348" y="396"/>
                  </a:lnTo>
                  <a:lnTo>
                    <a:pt x="350" y="398"/>
                  </a:lnTo>
                  <a:lnTo>
                    <a:pt x="352" y="396"/>
                  </a:lnTo>
                  <a:lnTo>
                    <a:pt x="352" y="396"/>
                  </a:lnTo>
                  <a:lnTo>
                    <a:pt x="354" y="396"/>
                  </a:lnTo>
                  <a:lnTo>
                    <a:pt x="356" y="396"/>
                  </a:lnTo>
                  <a:lnTo>
                    <a:pt x="356" y="394"/>
                  </a:lnTo>
                  <a:lnTo>
                    <a:pt x="359" y="392"/>
                  </a:lnTo>
                  <a:lnTo>
                    <a:pt x="359" y="392"/>
                  </a:lnTo>
                  <a:lnTo>
                    <a:pt x="359" y="390"/>
                  </a:lnTo>
                  <a:lnTo>
                    <a:pt x="359" y="390"/>
                  </a:lnTo>
                  <a:lnTo>
                    <a:pt x="361" y="390"/>
                  </a:lnTo>
                  <a:lnTo>
                    <a:pt x="361" y="390"/>
                  </a:lnTo>
                  <a:lnTo>
                    <a:pt x="361" y="392"/>
                  </a:lnTo>
                  <a:lnTo>
                    <a:pt x="363" y="394"/>
                  </a:lnTo>
                  <a:lnTo>
                    <a:pt x="365" y="396"/>
                  </a:lnTo>
                  <a:lnTo>
                    <a:pt x="365" y="402"/>
                  </a:lnTo>
                  <a:lnTo>
                    <a:pt x="367" y="398"/>
                  </a:lnTo>
                  <a:lnTo>
                    <a:pt x="367" y="396"/>
                  </a:lnTo>
                  <a:lnTo>
                    <a:pt x="367" y="396"/>
                  </a:lnTo>
                  <a:lnTo>
                    <a:pt x="367" y="394"/>
                  </a:lnTo>
                  <a:lnTo>
                    <a:pt x="369" y="394"/>
                  </a:lnTo>
                  <a:lnTo>
                    <a:pt x="369" y="394"/>
                  </a:lnTo>
                  <a:lnTo>
                    <a:pt x="369" y="394"/>
                  </a:lnTo>
                  <a:lnTo>
                    <a:pt x="369" y="396"/>
                  </a:lnTo>
                  <a:lnTo>
                    <a:pt x="373" y="398"/>
                  </a:lnTo>
                  <a:lnTo>
                    <a:pt x="375" y="400"/>
                  </a:lnTo>
                  <a:lnTo>
                    <a:pt x="375" y="402"/>
                  </a:lnTo>
                  <a:lnTo>
                    <a:pt x="375" y="400"/>
                  </a:lnTo>
                  <a:lnTo>
                    <a:pt x="375" y="398"/>
                  </a:lnTo>
                  <a:lnTo>
                    <a:pt x="375" y="398"/>
                  </a:lnTo>
                  <a:lnTo>
                    <a:pt x="377" y="398"/>
                  </a:lnTo>
                  <a:lnTo>
                    <a:pt x="377" y="398"/>
                  </a:lnTo>
                  <a:lnTo>
                    <a:pt x="377" y="400"/>
                  </a:lnTo>
                  <a:lnTo>
                    <a:pt x="377" y="400"/>
                  </a:lnTo>
                  <a:lnTo>
                    <a:pt x="377" y="402"/>
                  </a:lnTo>
                  <a:lnTo>
                    <a:pt x="377" y="404"/>
                  </a:lnTo>
                  <a:lnTo>
                    <a:pt x="377" y="404"/>
                  </a:lnTo>
                  <a:lnTo>
                    <a:pt x="377" y="406"/>
                  </a:lnTo>
                  <a:lnTo>
                    <a:pt x="377" y="406"/>
                  </a:lnTo>
                  <a:lnTo>
                    <a:pt x="377" y="408"/>
                  </a:lnTo>
                  <a:lnTo>
                    <a:pt x="377" y="408"/>
                  </a:lnTo>
                  <a:lnTo>
                    <a:pt x="379" y="410"/>
                  </a:lnTo>
                  <a:lnTo>
                    <a:pt x="379" y="412"/>
                  </a:lnTo>
                  <a:lnTo>
                    <a:pt x="381" y="412"/>
                  </a:lnTo>
                  <a:lnTo>
                    <a:pt x="381" y="414"/>
                  </a:lnTo>
                  <a:lnTo>
                    <a:pt x="381" y="416"/>
                  </a:lnTo>
                  <a:lnTo>
                    <a:pt x="379" y="416"/>
                  </a:lnTo>
                  <a:lnTo>
                    <a:pt x="381" y="416"/>
                  </a:lnTo>
                  <a:lnTo>
                    <a:pt x="383" y="414"/>
                  </a:lnTo>
                  <a:lnTo>
                    <a:pt x="389" y="412"/>
                  </a:lnTo>
                  <a:lnTo>
                    <a:pt x="389" y="410"/>
                  </a:lnTo>
                  <a:lnTo>
                    <a:pt x="391" y="410"/>
                  </a:lnTo>
                  <a:lnTo>
                    <a:pt x="393" y="408"/>
                  </a:lnTo>
                  <a:lnTo>
                    <a:pt x="393" y="406"/>
                  </a:lnTo>
                  <a:lnTo>
                    <a:pt x="395" y="406"/>
                  </a:lnTo>
                  <a:lnTo>
                    <a:pt x="395" y="402"/>
                  </a:lnTo>
                  <a:lnTo>
                    <a:pt x="397" y="400"/>
                  </a:lnTo>
                  <a:lnTo>
                    <a:pt x="393" y="400"/>
                  </a:lnTo>
                  <a:lnTo>
                    <a:pt x="391" y="398"/>
                  </a:lnTo>
                  <a:lnTo>
                    <a:pt x="391" y="394"/>
                  </a:lnTo>
                  <a:lnTo>
                    <a:pt x="395" y="394"/>
                  </a:lnTo>
                  <a:lnTo>
                    <a:pt x="393" y="392"/>
                  </a:lnTo>
                  <a:lnTo>
                    <a:pt x="393" y="392"/>
                  </a:lnTo>
                  <a:lnTo>
                    <a:pt x="395" y="392"/>
                  </a:lnTo>
                  <a:lnTo>
                    <a:pt x="397" y="394"/>
                  </a:lnTo>
                  <a:lnTo>
                    <a:pt x="399" y="392"/>
                  </a:lnTo>
                  <a:lnTo>
                    <a:pt x="399" y="392"/>
                  </a:lnTo>
                  <a:lnTo>
                    <a:pt x="397" y="390"/>
                  </a:lnTo>
                  <a:lnTo>
                    <a:pt x="395" y="390"/>
                  </a:lnTo>
                  <a:lnTo>
                    <a:pt x="395" y="388"/>
                  </a:lnTo>
                  <a:lnTo>
                    <a:pt x="395" y="386"/>
                  </a:lnTo>
                  <a:lnTo>
                    <a:pt x="395" y="386"/>
                  </a:lnTo>
                  <a:lnTo>
                    <a:pt x="395" y="386"/>
                  </a:lnTo>
                  <a:lnTo>
                    <a:pt x="397" y="388"/>
                  </a:lnTo>
                  <a:lnTo>
                    <a:pt x="397" y="388"/>
                  </a:lnTo>
                  <a:lnTo>
                    <a:pt x="397" y="386"/>
                  </a:lnTo>
                  <a:lnTo>
                    <a:pt x="397" y="384"/>
                  </a:lnTo>
                  <a:lnTo>
                    <a:pt x="395" y="384"/>
                  </a:lnTo>
                  <a:lnTo>
                    <a:pt x="395" y="384"/>
                  </a:lnTo>
                  <a:lnTo>
                    <a:pt x="395" y="382"/>
                  </a:lnTo>
                  <a:lnTo>
                    <a:pt x="395" y="382"/>
                  </a:lnTo>
                  <a:lnTo>
                    <a:pt x="395" y="379"/>
                  </a:lnTo>
                  <a:lnTo>
                    <a:pt x="395" y="379"/>
                  </a:lnTo>
                  <a:lnTo>
                    <a:pt x="397" y="377"/>
                  </a:lnTo>
                  <a:lnTo>
                    <a:pt x="395" y="375"/>
                  </a:lnTo>
                  <a:lnTo>
                    <a:pt x="393" y="375"/>
                  </a:lnTo>
                  <a:lnTo>
                    <a:pt x="391" y="375"/>
                  </a:lnTo>
                  <a:lnTo>
                    <a:pt x="387" y="375"/>
                  </a:lnTo>
                  <a:lnTo>
                    <a:pt x="387" y="375"/>
                  </a:lnTo>
                  <a:lnTo>
                    <a:pt x="385" y="373"/>
                  </a:lnTo>
                  <a:lnTo>
                    <a:pt x="381" y="371"/>
                  </a:lnTo>
                  <a:lnTo>
                    <a:pt x="381" y="369"/>
                  </a:lnTo>
                  <a:lnTo>
                    <a:pt x="379" y="371"/>
                  </a:lnTo>
                  <a:lnTo>
                    <a:pt x="379" y="371"/>
                  </a:lnTo>
                  <a:lnTo>
                    <a:pt x="379" y="371"/>
                  </a:lnTo>
                  <a:lnTo>
                    <a:pt x="379" y="369"/>
                  </a:lnTo>
                  <a:lnTo>
                    <a:pt x="379" y="369"/>
                  </a:lnTo>
                  <a:lnTo>
                    <a:pt x="381" y="369"/>
                  </a:lnTo>
                  <a:lnTo>
                    <a:pt x="381" y="369"/>
                  </a:lnTo>
                  <a:lnTo>
                    <a:pt x="381" y="367"/>
                  </a:lnTo>
                  <a:lnTo>
                    <a:pt x="381" y="367"/>
                  </a:lnTo>
                  <a:lnTo>
                    <a:pt x="379" y="367"/>
                  </a:lnTo>
                  <a:lnTo>
                    <a:pt x="379" y="367"/>
                  </a:lnTo>
                  <a:lnTo>
                    <a:pt x="381" y="365"/>
                  </a:lnTo>
                  <a:lnTo>
                    <a:pt x="381" y="363"/>
                  </a:lnTo>
                  <a:lnTo>
                    <a:pt x="383" y="365"/>
                  </a:lnTo>
                  <a:lnTo>
                    <a:pt x="385" y="367"/>
                  </a:lnTo>
                  <a:lnTo>
                    <a:pt x="387" y="369"/>
                  </a:lnTo>
                  <a:lnTo>
                    <a:pt x="387" y="367"/>
                  </a:lnTo>
                  <a:lnTo>
                    <a:pt x="385" y="367"/>
                  </a:lnTo>
                  <a:lnTo>
                    <a:pt x="387" y="367"/>
                  </a:lnTo>
                  <a:lnTo>
                    <a:pt x="387" y="365"/>
                  </a:lnTo>
                  <a:lnTo>
                    <a:pt x="389" y="367"/>
                  </a:lnTo>
                  <a:lnTo>
                    <a:pt x="391" y="367"/>
                  </a:lnTo>
                  <a:lnTo>
                    <a:pt x="402" y="373"/>
                  </a:lnTo>
                  <a:lnTo>
                    <a:pt x="406" y="373"/>
                  </a:lnTo>
                  <a:lnTo>
                    <a:pt x="408" y="371"/>
                  </a:lnTo>
                  <a:lnTo>
                    <a:pt x="412" y="375"/>
                  </a:lnTo>
                  <a:lnTo>
                    <a:pt x="412" y="375"/>
                  </a:lnTo>
                  <a:lnTo>
                    <a:pt x="414" y="373"/>
                  </a:lnTo>
                  <a:lnTo>
                    <a:pt x="414" y="371"/>
                  </a:lnTo>
                  <a:lnTo>
                    <a:pt x="414" y="371"/>
                  </a:lnTo>
                  <a:lnTo>
                    <a:pt x="414" y="371"/>
                  </a:lnTo>
                  <a:lnTo>
                    <a:pt x="416" y="371"/>
                  </a:lnTo>
                  <a:lnTo>
                    <a:pt x="416" y="371"/>
                  </a:lnTo>
                  <a:lnTo>
                    <a:pt x="416" y="373"/>
                  </a:lnTo>
                  <a:lnTo>
                    <a:pt x="416" y="373"/>
                  </a:lnTo>
                  <a:lnTo>
                    <a:pt x="416" y="373"/>
                  </a:lnTo>
                  <a:lnTo>
                    <a:pt x="416" y="375"/>
                  </a:lnTo>
                  <a:lnTo>
                    <a:pt x="416" y="375"/>
                  </a:lnTo>
                  <a:lnTo>
                    <a:pt x="416" y="375"/>
                  </a:lnTo>
                  <a:lnTo>
                    <a:pt x="416" y="375"/>
                  </a:lnTo>
                  <a:lnTo>
                    <a:pt x="416" y="375"/>
                  </a:lnTo>
                  <a:lnTo>
                    <a:pt x="416" y="375"/>
                  </a:lnTo>
                  <a:lnTo>
                    <a:pt x="416" y="377"/>
                  </a:lnTo>
                  <a:lnTo>
                    <a:pt x="416" y="377"/>
                  </a:lnTo>
                  <a:lnTo>
                    <a:pt x="418" y="377"/>
                  </a:lnTo>
                  <a:lnTo>
                    <a:pt x="418" y="377"/>
                  </a:lnTo>
                  <a:lnTo>
                    <a:pt x="420" y="377"/>
                  </a:lnTo>
                  <a:lnTo>
                    <a:pt x="420" y="377"/>
                  </a:lnTo>
                  <a:lnTo>
                    <a:pt x="422" y="377"/>
                  </a:lnTo>
                  <a:lnTo>
                    <a:pt x="420" y="379"/>
                  </a:lnTo>
                  <a:lnTo>
                    <a:pt x="420" y="379"/>
                  </a:lnTo>
                  <a:lnTo>
                    <a:pt x="420" y="379"/>
                  </a:lnTo>
                  <a:lnTo>
                    <a:pt x="420" y="382"/>
                  </a:lnTo>
                  <a:lnTo>
                    <a:pt x="422" y="382"/>
                  </a:lnTo>
                  <a:lnTo>
                    <a:pt x="422" y="379"/>
                  </a:lnTo>
                  <a:lnTo>
                    <a:pt x="422" y="379"/>
                  </a:lnTo>
                  <a:lnTo>
                    <a:pt x="422" y="379"/>
                  </a:lnTo>
                  <a:lnTo>
                    <a:pt x="422" y="382"/>
                  </a:lnTo>
                  <a:lnTo>
                    <a:pt x="424" y="382"/>
                  </a:lnTo>
                  <a:lnTo>
                    <a:pt x="424" y="384"/>
                  </a:lnTo>
                  <a:lnTo>
                    <a:pt x="422" y="386"/>
                  </a:lnTo>
                  <a:lnTo>
                    <a:pt x="422" y="386"/>
                  </a:lnTo>
                  <a:lnTo>
                    <a:pt x="420" y="388"/>
                  </a:lnTo>
                  <a:lnTo>
                    <a:pt x="418" y="388"/>
                  </a:lnTo>
                  <a:lnTo>
                    <a:pt x="430" y="388"/>
                  </a:lnTo>
                  <a:lnTo>
                    <a:pt x="430" y="388"/>
                  </a:lnTo>
                  <a:lnTo>
                    <a:pt x="434" y="386"/>
                  </a:lnTo>
                  <a:lnTo>
                    <a:pt x="434" y="384"/>
                  </a:lnTo>
                  <a:lnTo>
                    <a:pt x="436" y="386"/>
                  </a:lnTo>
                  <a:lnTo>
                    <a:pt x="436" y="386"/>
                  </a:lnTo>
                  <a:lnTo>
                    <a:pt x="434" y="390"/>
                  </a:lnTo>
                  <a:lnTo>
                    <a:pt x="436" y="390"/>
                  </a:lnTo>
                  <a:lnTo>
                    <a:pt x="436" y="392"/>
                  </a:lnTo>
                  <a:lnTo>
                    <a:pt x="438" y="394"/>
                  </a:lnTo>
                  <a:lnTo>
                    <a:pt x="440" y="394"/>
                  </a:lnTo>
                  <a:lnTo>
                    <a:pt x="443" y="394"/>
                  </a:lnTo>
                  <a:lnTo>
                    <a:pt x="449" y="394"/>
                  </a:lnTo>
                  <a:lnTo>
                    <a:pt x="447" y="392"/>
                  </a:lnTo>
                  <a:lnTo>
                    <a:pt x="449" y="392"/>
                  </a:lnTo>
                  <a:lnTo>
                    <a:pt x="451" y="392"/>
                  </a:lnTo>
                  <a:lnTo>
                    <a:pt x="453" y="392"/>
                  </a:lnTo>
                  <a:lnTo>
                    <a:pt x="451" y="394"/>
                  </a:lnTo>
                  <a:lnTo>
                    <a:pt x="451" y="394"/>
                  </a:lnTo>
                  <a:lnTo>
                    <a:pt x="457" y="402"/>
                  </a:lnTo>
                  <a:lnTo>
                    <a:pt x="459" y="402"/>
                  </a:lnTo>
                  <a:lnTo>
                    <a:pt x="459" y="404"/>
                  </a:lnTo>
                  <a:lnTo>
                    <a:pt x="459" y="404"/>
                  </a:lnTo>
                  <a:lnTo>
                    <a:pt x="459" y="406"/>
                  </a:lnTo>
                  <a:lnTo>
                    <a:pt x="459" y="408"/>
                  </a:lnTo>
                  <a:lnTo>
                    <a:pt x="461" y="408"/>
                  </a:lnTo>
                  <a:lnTo>
                    <a:pt x="463" y="408"/>
                  </a:lnTo>
                  <a:lnTo>
                    <a:pt x="465" y="406"/>
                  </a:lnTo>
                  <a:lnTo>
                    <a:pt x="465" y="406"/>
                  </a:lnTo>
                  <a:lnTo>
                    <a:pt x="465" y="404"/>
                  </a:lnTo>
                  <a:lnTo>
                    <a:pt x="465" y="402"/>
                  </a:lnTo>
                  <a:lnTo>
                    <a:pt x="465" y="400"/>
                  </a:lnTo>
                  <a:lnTo>
                    <a:pt x="465" y="400"/>
                  </a:lnTo>
                  <a:lnTo>
                    <a:pt x="465" y="398"/>
                  </a:lnTo>
                  <a:lnTo>
                    <a:pt x="467" y="398"/>
                  </a:lnTo>
                  <a:lnTo>
                    <a:pt x="467" y="400"/>
                  </a:lnTo>
                  <a:lnTo>
                    <a:pt x="467" y="402"/>
                  </a:lnTo>
                  <a:lnTo>
                    <a:pt x="467" y="404"/>
                  </a:lnTo>
                  <a:lnTo>
                    <a:pt x="467" y="404"/>
                  </a:lnTo>
                  <a:lnTo>
                    <a:pt x="469" y="404"/>
                  </a:lnTo>
                  <a:lnTo>
                    <a:pt x="469" y="402"/>
                  </a:lnTo>
                  <a:lnTo>
                    <a:pt x="469" y="402"/>
                  </a:lnTo>
                  <a:lnTo>
                    <a:pt x="469" y="400"/>
                  </a:lnTo>
                  <a:lnTo>
                    <a:pt x="471" y="400"/>
                  </a:lnTo>
                  <a:lnTo>
                    <a:pt x="471" y="402"/>
                  </a:lnTo>
                  <a:lnTo>
                    <a:pt x="469" y="404"/>
                  </a:lnTo>
                  <a:lnTo>
                    <a:pt x="469" y="406"/>
                  </a:lnTo>
                  <a:lnTo>
                    <a:pt x="467" y="410"/>
                  </a:lnTo>
                  <a:lnTo>
                    <a:pt x="467" y="410"/>
                  </a:lnTo>
                  <a:lnTo>
                    <a:pt x="465" y="410"/>
                  </a:lnTo>
                  <a:lnTo>
                    <a:pt x="465" y="412"/>
                  </a:lnTo>
                  <a:lnTo>
                    <a:pt x="465" y="412"/>
                  </a:lnTo>
                  <a:lnTo>
                    <a:pt x="465" y="414"/>
                  </a:lnTo>
                  <a:lnTo>
                    <a:pt x="465" y="414"/>
                  </a:lnTo>
                  <a:lnTo>
                    <a:pt x="465" y="416"/>
                  </a:lnTo>
                  <a:lnTo>
                    <a:pt x="463" y="418"/>
                  </a:lnTo>
                  <a:lnTo>
                    <a:pt x="461" y="420"/>
                  </a:lnTo>
                  <a:lnTo>
                    <a:pt x="461" y="420"/>
                  </a:lnTo>
                  <a:lnTo>
                    <a:pt x="459" y="423"/>
                  </a:lnTo>
                  <a:lnTo>
                    <a:pt x="459" y="423"/>
                  </a:lnTo>
                  <a:lnTo>
                    <a:pt x="459" y="427"/>
                  </a:lnTo>
                  <a:lnTo>
                    <a:pt x="461" y="427"/>
                  </a:lnTo>
                  <a:lnTo>
                    <a:pt x="463" y="425"/>
                  </a:lnTo>
                  <a:lnTo>
                    <a:pt x="467" y="416"/>
                  </a:lnTo>
                  <a:lnTo>
                    <a:pt x="467" y="416"/>
                  </a:lnTo>
                  <a:lnTo>
                    <a:pt x="467" y="414"/>
                  </a:lnTo>
                  <a:lnTo>
                    <a:pt x="467" y="412"/>
                  </a:lnTo>
                  <a:lnTo>
                    <a:pt x="469" y="412"/>
                  </a:lnTo>
                  <a:lnTo>
                    <a:pt x="471" y="410"/>
                  </a:lnTo>
                  <a:lnTo>
                    <a:pt x="473" y="410"/>
                  </a:lnTo>
                  <a:lnTo>
                    <a:pt x="473" y="410"/>
                  </a:lnTo>
                  <a:lnTo>
                    <a:pt x="473" y="408"/>
                  </a:lnTo>
                  <a:lnTo>
                    <a:pt x="473" y="408"/>
                  </a:lnTo>
                  <a:lnTo>
                    <a:pt x="473" y="406"/>
                  </a:lnTo>
                  <a:lnTo>
                    <a:pt x="473" y="406"/>
                  </a:lnTo>
                  <a:lnTo>
                    <a:pt x="473" y="406"/>
                  </a:lnTo>
                  <a:lnTo>
                    <a:pt x="475" y="406"/>
                  </a:lnTo>
                  <a:lnTo>
                    <a:pt x="475" y="408"/>
                  </a:lnTo>
                  <a:lnTo>
                    <a:pt x="479" y="410"/>
                  </a:lnTo>
                  <a:lnTo>
                    <a:pt x="479" y="412"/>
                  </a:lnTo>
                  <a:lnTo>
                    <a:pt x="479" y="414"/>
                  </a:lnTo>
                  <a:lnTo>
                    <a:pt x="483" y="416"/>
                  </a:lnTo>
                  <a:lnTo>
                    <a:pt x="483" y="416"/>
                  </a:lnTo>
                  <a:lnTo>
                    <a:pt x="486" y="416"/>
                  </a:lnTo>
                  <a:lnTo>
                    <a:pt x="483" y="412"/>
                  </a:lnTo>
                  <a:lnTo>
                    <a:pt x="483" y="410"/>
                  </a:lnTo>
                  <a:lnTo>
                    <a:pt x="486" y="408"/>
                  </a:lnTo>
                  <a:lnTo>
                    <a:pt x="486" y="406"/>
                  </a:lnTo>
                  <a:lnTo>
                    <a:pt x="488" y="406"/>
                  </a:lnTo>
                  <a:lnTo>
                    <a:pt x="488" y="406"/>
                  </a:lnTo>
                  <a:lnTo>
                    <a:pt x="488" y="406"/>
                  </a:lnTo>
                  <a:lnTo>
                    <a:pt x="490" y="408"/>
                  </a:lnTo>
                  <a:lnTo>
                    <a:pt x="490" y="406"/>
                  </a:lnTo>
                  <a:lnTo>
                    <a:pt x="488" y="404"/>
                  </a:lnTo>
                  <a:lnTo>
                    <a:pt x="488" y="404"/>
                  </a:lnTo>
                  <a:lnTo>
                    <a:pt x="488" y="402"/>
                  </a:lnTo>
                  <a:lnTo>
                    <a:pt x="490" y="402"/>
                  </a:lnTo>
                  <a:lnTo>
                    <a:pt x="490" y="404"/>
                  </a:lnTo>
                  <a:lnTo>
                    <a:pt x="490" y="404"/>
                  </a:lnTo>
                  <a:lnTo>
                    <a:pt x="492" y="406"/>
                  </a:lnTo>
                  <a:lnTo>
                    <a:pt x="492" y="404"/>
                  </a:lnTo>
                  <a:lnTo>
                    <a:pt x="494" y="400"/>
                  </a:lnTo>
                  <a:lnTo>
                    <a:pt x="488" y="400"/>
                  </a:lnTo>
                  <a:lnTo>
                    <a:pt x="488" y="400"/>
                  </a:lnTo>
                  <a:lnTo>
                    <a:pt x="488" y="398"/>
                  </a:lnTo>
                  <a:lnTo>
                    <a:pt x="488" y="398"/>
                  </a:lnTo>
                  <a:lnTo>
                    <a:pt x="490" y="396"/>
                  </a:lnTo>
                  <a:lnTo>
                    <a:pt x="492" y="396"/>
                  </a:lnTo>
                  <a:lnTo>
                    <a:pt x="492" y="396"/>
                  </a:lnTo>
                  <a:lnTo>
                    <a:pt x="492" y="396"/>
                  </a:lnTo>
                  <a:close/>
                  <a:moveTo>
                    <a:pt x="449" y="336"/>
                  </a:moveTo>
                  <a:lnTo>
                    <a:pt x="449" y="334"/>
                  </a:lnTo>
                  <a:lnTo>
                    <a:pt x="447" y="334"/>
                  </a:lnTo>
                  <a:lnTo>
                    <a:pt x="447" y="334"/>
                  </a:lnTo>
                  <a:lnTo>
                    <a:pt x="447" y="334"/>
                  </a:lnTo>
                  <a:lnTo>
                    <a:pt x="445" y="332"/>
                  </a:lnTo>
                  <a:lnTo>
                    <a:pt x="443" y="334"/>
                  </a:lnTo>
                  <a:lnTo>
                    <a:pt x="443" y="336"/>
                  </a:lnTo>
                  <a:lnTo>
                    <a:pt x="445" y="341"/>
                  </a:lnTo>
                  <a:lnTo>
                    <a:pt x="445" y="338"/>
                  </a:lnTo>
                  <a:lnTo>
                    <a:pt x="447" y="336"/>
                  </a:lnTo>
                  <a:lnTo>
                    <a:pt x="447" y="336"/>
                  </a:lnTo>
                  <a:lnTo>
                    <a:pt x="447" y="336"/>
                  </a:lnTo>
                  <a:lnTo>
                    <a:pt x="449" y="338"/>
                  </a:lnTo>
                  <a:lnTo>
                    <a:pt x="449" y="338"/>
                  </a:lnTo>
                  <a:lnTo>
                    <a:pt x="451" y="338"/>
                  </a:lnTo>
                  <a:lnTo>
                    <a:pt x="449" y="338"/>
                  </a:lnTo>
                  <a:lnTo>
                    <a:pt x="449" y="336"/>
                  </a:lnTo>
                  <a:close/>
                  <a:moveTo>
                    <a:pt x="498" y="341"/>
                  </a:moveTo>
                  <a:lnTo>
                    <a:pt x="500" y="336"/>
                  </a:lnTo>
                  <a:lnTo>
                    <a:pt x="502" y="334"/>
                  </a:lnTo>
                  <a:lnTo>
                    <a:pt x="496" y="343"/>
                  </a:lnTo>
                  <a:lnTo>
                    <a:pt x="498" y="341"/>
                  </a:lnTo>
                  <a:close/>
                  <a:moveTo>
                    <a:pt x="412" y="388"/>
                  </a:moveTo>
                  <a:lnTo>
                    <a:pt x="412" y="388"/>
                  </a:lnTo>
                  <a:lnTo>
                    <a:pt x="412" y="388"/>
                  </a:lnTo>
                  <a:lnTo>
                    <a:pt x="412" y="388"/>
                  </a:lnTo>
                  <a:lnTo>
                    <a:pt x="410" y="388"/>
                  </a:lnTo>
                  <a:lnTo>
                    <a:pt x="410" y="388"/>
                  </a:lnTo>
                  <a:lnTo>
                    <a:pt x="410" y="388"/>
                  </a:lnTo>
                  <a:lnTo>
                    <a:pt x="410" y="390"/>
                  </a:lnTo>
                  <a:lnTo>
                    <a:pt x="412" y="390"/>
                  </a:lnTo>
                  <a:lnTo>
                    <a:pt x="412" y="390"/>
                  </a:lnTo>
                  <a:lnTo>
                    <a:pt x="412" y="390"/>
                  </a:lnTo>
                  <a:lnTo>
                    <a:pt x="412" y="390"/>
                  </a:lnTo>
                  <a:lnTo>
                    <a:pt x="412" y="390"/>
                  </a:lnTo>
                  <a:lnTo>
                    <a:pt x="414" y="388"/>
                  </a:lnTo>
                  <a:lnTo>
                    <a:pt x="414" y="388"/>
                  </a:lnTo>
                  <a:lnTo>
                    <a:pt x="412" y="388"/>
                  </a:lnTo>
                  <a:lnTo>
                    <a:pt x="412" y="388"/>
                  </a:lnTo>
                  <a:close/>
                  <a:moveTo>
                    <a:pt x="504" y="308"/>
                  </a:moveTo>
                  <a:lnTo>
                    <a:pt x="502" y="306"/>
                  </a:lnTo>
                  <a:lnTo>
                    <a:pt x="502" y="304"/>
                  </a:lnTo>
                  <a:lnTo>
                    <a:pt x="500" y="302"/>
                  </a:lnTo>
                  <a:lnTo>
                    <a:pt x="498" y="300"/>
                  </a:lnTo>
                  <a:lnTo>
                    <a:pt x="500" y="302"/>
                  </a:lnTo>
                  <a:lnTo>
                    <a:pt x="502" y="302"/>
                  </a:lnTo>
                  <a:lnTo>
                    <a:pt x="502" y="306"/>
                  </a:lnTo>
                  <a:lnTo>
                    <a:pt x="502" y="308"/>
                  </a:lnTo>
                  <a:lnTo>
                    <a:pt x="502" y="308"/>
                  </a:lnTo>
                  <a:lnTo>
                    <a:pt x="504" y="310"/>
                  </a:lnTo>
                  <a:lnTo>
                    <a:pt x="504" y="312"/>
                  </a:lnTo>
                  <a:lnTo>
                    <a:pt x="504" y="314"/>
                  </a:lnTo>
                  <a:lnTo>
                    <a:pt x="504" y="316"/>
                  </a:lnTo>
                  <a:lnTo>
                    <a:pt x="506" y="320"/>
                  </a:lnTo>
                  <a:lnTo>
                    <a:pt x="504" y="322"/>
                  </a:lnTo>
                  <a:lnTo>
                    <a:pt x="502" y="328"/>
                  </a:lnTo>
                  <a:lnTo>
                    <a:pt x="502" y="328"/>
                  </a:lnTo>
                  <a:lnTo>
                    <a:pt x="504" y="330"/>
                  </a:lnTo>
                  <a:lnTo>
                    <a:pt x="504" y="330"/>
                  </a:lnTo>
                  <a:lnTo>
                    <a:pt x="504" y="330"/>
                  </a:lnTo>
                  <a:lnTo>
                    <a:pt x="506" y="326"/>
                  </a:lnTo>
                  <a:lnTo>
                    <a:pt x="506" y="324"/>
                  </a:lnTo>
                  <a:lnTo>
                    <a:pt x="506" y="314"/>
                  </a:lnTo>
                  <a:lnTo>
                    <a:pt x="504" y="308"/>
                  </a:lnTo>
                  <a:close/>
                  <a:moveTo>
                    <a:pt x="371" y="412"/>
                  </a:moveTo>
                  <a:lnTo>
                    <a:pt x="369" y="412"/>
                  </a:lnTo>
                  <a:lnTo>
                    <a:pt x="369" y="412"/>
                  </a:lnTo>
                  <a:lnTo>
                    <a:pt x="369" y="412"/>
                  </a:lnTo>
                  <a:lnTo>
                    <a:pt x="369" y="414"/>
                  </a:lnTo>
                  <a:lnTo>
                    <a:pt x="369" y="414"/>
                  </a:lnTo>
                  <a:lnTo>
                    <a:pt x="367" y="414"/>
                  </a:lnTo>
                  <a:lnTo>
                    <a:pt x="365" y="416"/>
                  </a:lnTo>
                  <a:lnTo>
                    <a:pt x="365" y="416"/>
                  </a:lnTo>
                  <a:lnTo>
                    <a:pt x="365" y="416"/>
                  </a:lnTo>
                  <a:lnTo>
                    <a:pt x="371" y="414"/>
                  </a:lnTo>
                  <a:lnTo>
                    <a:pt x="371" y="414"/>
                  </a:lnTo>
                  <a:lnTo>
                    <a:pt x="371" y="412"/>
                  </a:lnTo>
                  <a:close/>
                  <a:moveTo>
                    <a:pt x="406" y="394"/>
                  </a:moveTo>
                  <a:lnTo>
                    <a:pt x="404" y="394"/>
                  </a:lnTo>
                  <a:lnTo>
                    <a:pt x="404" y="396"/>
                  </a:lnTo>
                  <a:lnTo>
                    <a:pt x="402" y="398"/>
                  </a:lnTo>
                  <a:lnTo>
                    <a:pt x="399" y="398"/>
                  </a:lnTo>
                  <a:lnTo>
                    <a:pt x="399" y="400"/>
                  </a:lnTo>
                  <a:lnTo>
                    <a:pt x="399" y="400"/>
                  </a:lnTo>
                  <a:lnTo>
                    <a:pt x="399" y="400"/>
                  </a:lnTo>
                  <a:lnTo>
                    <a:pt x="404" y="398"/>
                  </a:lnTo>
                  <a:lnTo>
                    <a:pt x="406" y="396"/>
                  </a:lnTo>
                  <a:lnTo>
                    <a:pt x="406" y="396"/>
                  </a:lnTo>
                  <a:lnTo>
                    <a:pt x="406" y="394"/>
                  </a:lnTo>
                  <a:close/>
                  <a:moveTo>
                    <a:pt x="408" y="392"/>
                  </a:moveTo>
                  <a:lnTo>
                    <a:pt x="408" y="392"/>
                  </a:lnTo>
                  <a:lnTo>
                    <a:pt x="408" y="394"/>
                  </a:lnTo>
                  <a:lnTo>
                    <a:pt x="408" y="394"/>
                  </a:lnTo>
                  <a:lnTo>
                    <a:pt x="410" y="392"/>
                  </a:lnTo>
                  <a:lnTo>
                    <a:pt x="410" y="392"/>
                  </a:lnTo>
                  <a:lnTo>
                    <a:pt x="408" y="392"/>
                  </a:lnTo>
                  <a:lnTo>
                    <a:pt x="408" y="392"/>
                  </a:lnTo>
                  <a:close/>
                  <a:moveTo>
                    <a:pt x="375" y="416"/>
                  </a:moveTo>
                  <a:lnTo>
                    <a:pt x="375" y="416"/>
                  </a:lnTo>
                  <a:lnTo>
                    <a:pt x="373" y="418"/>
                  </a:lnTo>
                  <a:lnTo>
                    <a:pt x="373" y="418"/>
                  </a:lnTo>
                  <a:lnTo>
                    <a:pt x="371" y="420"/>
                  </a:lnTo>
                  <a:lnTo>
                    <a:pt x="377" y="418"/>
                  </a:lnTo>
                  <a:lnTo>
                    <a:pt x="377" y="416"/>
                  </a:lnTo>
                  <a:lnTo>
                    <a:pt x="375" y="416"/>
                  </a:lnTo>
                  <a:close/>
                  <a:moveTo>
                    <a:pt x="393" y="373"/>
                  </a:moveTo>
                  <a:lnTo>
                    <a:pt x="393" y="373"/>
                  </a:lnTo>
                  <a:lnTo>
                    <a:pt x="393" y="375"/>
                  </a:lnTo>
                  <a:lnTo>
                    <a:pt x="395" y="375"/>
                  </a:lnTo>
                  <a:lnTo>
                    <a:pt x="395" y="375"/>
                  </a:lnTo>
                  <a:lnTo>
                    <a:pt x="395" y="373"/>
                  </a:lnTo>
                  <a:lnTo>
                    <a:pt x="395" y="375"/>
                  </a:lnTo>
                  <a:lnTo>
                    <a:pt x="397" y="375"/>
                  </a:lnTo>
                  <a:lnTo>
                    <a:pt x="397" y="375"/>
                  </a:lnTo>
                  <a:lnTo>
                    <a:pt x="397" y="375"/>
                  </a:lnTo>
                  <a:lnTo>
                    <a:pt x="399" y="375"/>
                  </a:lnTo>
                  <a:lnTo>
                    <a:pt x="399" y="375"/>
                  </a:lnTo>
                  <a:lnTo>
                    <a:pt x="399" y="375"/>
                  </a:lnTo>
                  <a:lnTo>
                    <a:pt x="399" y="375"/>
                  </a:lnTo>
                  <a:lnTo>
                    <a:pt x="399" y="375"/>
                  </a:lnTo>
                  <a:lnTo>
                    <a:pt x="399" y="375"/>
                  </a:lnTo>
                  <a:lnTo>
                    <a:pt x="399" y="375"/>
                  </a:lnTo>
                  <a:lnTo>
                    <a:pt x="399" y="373"/>
                  </a:lnTo>
                  <a:lnTo>
                    <a:pt x="399" y="373"/>
                  </a:lnTo>
                  <a:lnTo>
                    <a:pt x="399" y="373"/>
                  </a:lnTo>
                  <a:lnTo>
                    <a:pt x="399" y="375"/>
                  </a:lnTo>
                  <a:lnTo>
                    <a:pt x="397" y="375"/>
                  </a:lnTo>
                  <a:lnTo>
                    <a:pt x="397" y="375"/>
                  </a:lnTo>
                  <a:lnTo>
                    <a:pt x="397" y="373"/>
                  </a:lnTo>
                  <a:lnTo>
                    <a:pt x="395" y="373"/>
                  </a:lnTo>
                  <a:lnTo>
                    <a:pt x="397" y="373"/>
                  </a:lnTo>
                  <a:lnTo>
                    <a:pt x="397" y="373"/>
                  </a:lnTo>
                  <a:lnTo>
                    <a:pt x="397" y="371"/>
                  </a:lnTo>
                  <a:lnTo>
                    <a:pt x="395" y="371"/>
                  </a:lnTo>
                  <a:lnTo>
                    <a:pt x="395" y="371"/>
                  </a:lnTo>
                  <a:lnTo>
                    <a:pt x="393" y="371"/>
                  </a:lnTo>
                  <a:lnTo>
                    <a:pt x="393" y="371"/>
                  </a:lnTo>
                  <a:lnTo>
                    <a:pt x="393" y="369"/>
                  </a:lnTo>
                  <a:lnTo>
                    <a:pt x="391" y="369"/>
                  </a:lnTo>
                  <a:lnTo>
                    <a:pt x="389" y="369"/>
                  </a:lnTo>
                  <a:lnTo>
                    <a:pt x="389" y="369"/>
                  </a:lnTo>
                  <a:lnTo>
                    <a:pt x="387" y="369"/>
                  </a:lnTo>
                  <a:lnTo>
                    <a:pt x="387" y="371"/>
                  </a:lnTo>
                  <a:lnTo>
                    <a:pt x="387" y="371"/>
                  </a:lnTo>
                  <a:lnTo>
                    <a:pt x="389" y="373"/>
                  </a:lnTo>
                  <a:lnTo>
                    <a:pt x="391" y="373"/>
                  </a:lnTo>
                  <a:lnTo>
                    <a:pt x="391" y="373"/>
                  </a:lnTo>
                  <a:lnTo>
                    <a:pt x="393" y="373"/>
                  </a:lnTo>
                  <a:lnTo>
                    <a:pt x="393" y="373"/>
                  </a:lnTo>
                  <a:lnTo>
                    <a:pt x="393" y="373"/>
                  </a:lnTo>
                  <a:lnTo>
                    <a:pt x="393" y="373"/>
                  </a:lnTo>
                  <a:close/>
                  <a:moveTo>
                    <a:pt x="500" y="322"/>
                  </a:moveTo>
                  <a:lnTo>
                    <a:pt x="502" y="322"/>
                  </a:lnTo>
                  <a:lnTo>
                    <a:pt x="502" y="322"/>
                  </a:lnTo>
                  <a:lnTo>
                    <a:pt x="500" y="322"/>
                  </a:lnTo>
                  <a:close/>
                  <a:moveTo>
                    <a:pt x="498" y="320"/>
                  </a:moveTo>
                  <a:lnTo>
                    <a:pt x="498" y="320"/>
                  </a:lnTo>
                  <a:lnTo>
                    <a:pt x="496" y="320"/>
                  </a:lnTo>
                  <a:lnTo>
                    <a:pt x="496" y="322"/>
                  </a:lnTo>
                  <a:lnTo>
                    <a:pt x="496" y="322"/>
                  </a:lnTo>
                  <a:lnTo>
                    <a:pt x="498" y="320"/>
                  </a:lnTo>
                  <a:lnTo>
                    <a:pt x="498" y="320"/>
                  </a:lnTo>
                  <a:close/>
                  <a:moveTo>
                    <a:pt x="498" y="318"/>
                  </a:moveTo>
                  <a:lnTo>
                    <a:pt x="500" y="318"/>
                  </a:lnTo>
                  <a:lnTo>
                    <a:pt x="500" y="318"/>
                  </a:lnTo>
                  <a:lnTo>
                    <a:pt x="498" y="318"/>
                  </a:lnTo>
                  <a:lnTo>
                    <a:pt x="498" y="320"/>
                  </a:lnTo>
                  <a:lnTo>
                    <a:pt x="498" y="320"/>
                  </a:lnTo>
                  <a:lnTo>
                    <a:pt x="498" y="320"/>
                  </a:lnTo>
                  <a:lnTo>
                    <a:pt x="498" y="318"/>
                  </a:lnTo>
                  <a:close/>
                  <a:moveTo>
                    <a:pt x="500" y="318"/>
                  </a:moveTo>
                  <a:lnTo>
                    <a:pt x="500" y="318"/>
                  </a:lnTo>
                  <a:lnTo>
                    <a:pt x="500" y="320"/>
                  </a:lnTo>
                  <a:lnTo>
                    <a:pt x="500" y="320"/>
                  </a:lnTo>
                  <a:lnTo>
                    <a:pt x="500" y="318"/>
                  </a:lnTo>
                  <a:close/>
                  <a:moveTo>
                    <a:pt x="440" y="345"/>
                  </a:moveTo>
                  <a:lnTo>
                    <a:pt x="443" y="345"/>
                  </a:lnTo>
                  <a:lnTo>
                    <a:pt x="443" y="345"/>
                  </a:lnTo>
                  <a:lnTo>
                    <a:pt x="443" y="345"/>
                  </a:lnTo>
                  <a:lnTo>
                    <a:pt x="443" y="345"/>
                  </a:lnTo>
                  <a:lnTo>
                    <a:pt x="443" y="345"/>
                  </a:lnTo>
                  <a:lnTo>
                    <a:pt x="443" y="345"/>
                  </a:lnTo>
                  <a:lnTo>
                    <a:pt x="443" y="345"/>
                  </a:lnTo>
                  <a:lnTo>
                    <a:pt x="440" y="343"/>
                  </a:lnTo>
                  <a:lnTo>
                    <a:pt x="440" y="343"/>
                  </a:lnTo>
                  <a:lnTo>
                    <a:pt x="440" y="343"/>
                  </a:lnTo>
                  <a:lnTo>
                    <a:pt x="440" y="343"/>
                  </a:lnTo>
                  <a:lnTo>
                    <a:pt x="440" y="345"/>
                  </a:lnTo>
                  <a:lnTo>
                    <a:pt x="440" y="345"/>
                  </a:lnTo>
                  <a:lnTo>
                    <a:pt x="440" y="345"/>
                  </a:lnTo>
                  <a:lnTo>
                    <a:pt x="440" y="345"/>
                  </a:lnTo>
                  <a:lnTo>
                    <a:pt x="440" y="345"/>
                  </a:lnTo>
                  <a:lnTo>
                    <a:pt x="440" y="345"/>
                  </a:lnTo>
                  <a:lnTo>
                    <a:pt x="440" y="345"/>
                  </a:lnTo>
                  <a:close/>
                  <a:moveTo>
                    <a:pt x="492" y="328"/>
                  </a:moveTo>
                  <a:lnTo>
                    <a:pt x="492" y="328"/>
                  </a:lnTo>
                  <a:lnTo>
                    <a:pt x="492" y="326"/>
                  </a:lnTo>
                  <a:lnTo>
                    <a:pt x="492" y="326"/>
                  </a:lnTo>
                  <a:lnTo>
                    <a:pt x="492" y="328"/>
                  </a:lnTo>
                  <a:lnTo>
                    <a:pt x="492" y="330"/>
                  </a:lnTo>
                  <a:lnTo>
                    <a:pt x="492" y="330"/>
                  </a:lnTo>
                  <a:lnTo>
                    <a:pt x="492" y="328"/>
                  </a:lnTo>
                  <a:close/>
                  <a:moveTo>
                    <a:pt x="467" y="314"/>
                  </a:moveTo>
                  <a:lnTo>
                    <a:pt x="467" y="312"/>
                  </a:lnTo>
                  <a:lnTo>
                    <a:pt x="465" y="312"/>
                  </a:lnTo>
                  <a:lnTo>
                    <a:pt x="465" y="314"/>
                  </a:lnTo>
                  <a:lnTo>
                    <a:pt x="463" y="316"/>
                  </a:lnTo>
                  <a:lnTo>
                    <a:pt x="463" y="316"/>
                  </a:lnTo>
                  <a:lnTo>
                    <a:pt x="463" y="316"/>
                  </a:lnTo>
                  <a:lnTo>
                    <a:pt x="465" y="316"/>
                  </a:lnTo>
                  <a:lnTo>
                    <a:pt x="465" y="314"/>
                  </a:lnTo>
                  <a:lnTo>
                    <a:pt x="465" y="314"/>
                  </a:lnTo>
                  <a:lnTo>
                    <a:pt x="467" y="314"/>
                  </a:lnTo>
                  <a:close/>
                </a:path>
              </a:pathLst>
            </a:custGeom>
            <a:solidFill>
              <a:schemeClr val="accent1"/>
            </a:solidFill>
            <a:ln w="3175" cap="rnd">
              <a:solidFill>
                <a:schemeClr val="bg1"/>
              </a:solidFill>
              <a:prstDash val="solid"/>
              <a:round/>
              <a:headEnd/>
              <a:tailEnd/>
            </a:ln>
          </p:spPr>
          <p:txBody>
            <a:bodyPr vert="horz" wrap="square" lIns="144000" tIns="0" rIns="0" bIns="240000" numCol="1" anchor="ctr"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LA</a:t>
              </a:r>
            </a:p>
          </p:txBody>
        </p:sp>
        <p:sp>
          <p:nvSpPr>
            <p:cNvPr id="97" name="Freeform 38">
              <a:extLst>
                <a:ext uri="{FF2B5EF4-FFF2-40B4-BE49-F238E27FC236}">
                  <a16:creationId xmlns:a16="http://schemas.microsoft.com/office/drawing/2014/main" id="{78F1FB54-C823-7A06-55EF-EBF455B48A09}"/>
                </a:ext>
              </a:extLst>
            </p:cNvPr>
            <p:cNvSpPr>
              <a:spLocks noEditPoints="1"/>
            </p:cNvSpPr>
            <p:nvPr/>
          </p:nvSpPr>
          <p:spPr bwMode="auto">
            <a:xfrm>
              <a:off x="3639" y="1125"/>
              <a:ext cx="641" cy="330"/>
            </a:xfrm>
            <a:custGeom>
              <a:avLst/>
              <a:gdLst>
                <a:gd name="T0" fmla="*/ 624 w 641"/>
                <a:gd name="T1" fmla="*/ 131 h 330"/>
                <a:gd name="T2" fmla="*/ 616 w 641"/>
                <a:gd name="T3" fmla="*/ 125 h 330"/>
                <a:gd name="T4" fmla="*/ 606 w 641"/>
                <a:gd name="T5" fmla="*/ 117 h 330"/>
                <a:gd name="T6" fmla="*/ 596 w 641"/>
                <a:gd name="T7" fmla="*/ 103 h 330"/>
                <a:gd name="T8" fmla="*/ 590 w 641"/>
                <a:gd name="T9" fmla="*/ 94 h 330"/>
                <a:gd name="T10" fmla="*/ 573 w 641"/>
                <a:gd name="T11" fmla="*/ 76 h 330"/>
                <a:gd name="T12" fmla="*/ 575 w 641"/>
                <a:gd name="T13" fmla="*/ 70 h 330"/>
                <a:gd name="T14" fmla="*/ 577 w 641"/>
                <a:gd name="T15" fmla="*/ 66 h 330"/>
                <a:gd name="T16" fmla="*/ 573 w 641"/>
                <a:gd name="T17" fmla="*/ 51 h 330"/>
                <a:gd name="T18" fmla="*/ 547 w 641"/>
                <a:gd name="T19" fmla="*/ 31 h 330"/>
                <a:gd name="T20" fmla="*/ 530 w 641"/>
                <a:gd name="T21" fmla="*/ 25 h 330"/>
                <a:gd name="T22" fmla="*/ 516 w 641"/>
                <a:gd name="T23" fmla="*/ 35 h 330"/>
                <a:gd name="T24" fmla="*/ 499 w 641"/>
                <a:gd name="T25" fmla="*/ 33 h 330"/>
                <a:gd name="T26" fmla="*/ 481 w 641"/>
                <a:gd name="T27" fmla="*/ 37 h 330"/>
                <a:gd name="T28" fmla="*/ 456 w 641"/>
                <a:gd name="T29" fmla="*/ 29 h 330"/>
                <a:gd name="T30" fmla="*/ 426 w 641"/>
                <a:gd name="T31" fmla="*/ 19 h 330"/>
                <a:gd name="T32" fmla="*/ 413 w 641"/>
                <a:gd name="T33" fmla="*/ 6 h 330"/>
                <a:gd name="T34" fmla="*/ 385 w 641"/>
                <a:gd name="T35" fmla="*/ 2 h 330"/>
                <a:gd name="T36" fmla="*/ 370 w 641"/>
                <a:gd name="T37" fmla="*/ 10 h 330"/>
                <a:gd name="T38" fmla="*/ 379 w 641"/>
                <a:gd name="T39" fmla="*/ 27 h 330"/>
                <a:gd name="T40" fmla="*/ 364 w 641"/>
                <a:gd name="T41" fmla="*/ 41 h 330"/>
                <a:gd name="T42" fmla="*/ 327 w 641"/>
                <a:gd name="T43" fmla="*/ 55 h 330"/>
                <a:gd name="T44" fmla="*/ 321 w 641"/>
                <a:gd name="T45" fmla="*/ 82 h 330"/>
                <a:gd name="T46" fmla="*/ 305 w 641"/>
                <a:gd name="T47" fmla="*/ 103 h 330"/>
                <a:gd name="T48" fmla="*/ 297 w 641"/>
                <a:gd name="T49" fmla="*/ 117 h 330"/>
                <a:gd name="T50" fmla="*/ 286 w 641"/>
                <a:gd name="T51" fmla="*/ 139 h 330"/>
                <a:gd name="T52" fmla="*/ 264 w 641"/>
                <a:gd name="T53" fmla="*/ 127 h 330"/>
                <a:gd name="T54" fmla="*/ 260 w 641"/>
                <a:gd name="T55" fmla="*/ 123 h 330"/>
                <a:gd name="T56" fmla="*/ 250 w 641"/>
                <a:gd name="T57" fmla="*/ 127 h 330"/>
                <a:gd name="T58" fmla="*/ 245 w 641"/>
                <a:gd name="T59" fmla="*/ 148 h 330"/>
                <a:gd name="T60" fmla="*/ 237 w 641"/>
                <a:gd name="T61" fmla="*/ 152 h 330"/>
                <a:gd name="T62" fmla="*/ 213 w 641"/>
                <a:gd name="T63" fmla="*/ 152 h 330"/>
                <a:gd name="T64" fmla="*/ 196 w 641"/>
                <a:gd name="T65" fmla="*/ 168 h 330"/>
                <a:gd name="T66" fmla="*/ 184 w 641"/>
                <a:gd name="T67" fmla="*/ 162 h 330"/>
                <a:gd name="T68" fmla="*/ 155 w 641"/>
                <a:gd name="T69" fmla="*/ 158 h 330"/>
                <a:gd name="T70" fmla="*/ 155 w 641"/>
                <a:gd name="T71" fmla="*/ 164 h 330"/>
                <a:gd name="T72" fmla="*/ 145 w 641"/>
                <a:gd name="T73" fmla="*/ 164 h 330"/>
                <a:gd name="T74" fmla="*/ 129 w 641"/>
                <a:gd name="T75" fmla="*/ 162 h 330"/>
                <a:gd name="T76" fmla="*/ 119 w 641"/>
                <a:gd name="T77" fmla="*/ 176 h 330"/>
                <a:gd name="T78" fmla="*/ 112 w 641"/>
                <a:gd name="T79" fmla="*/ 201 h 330"/>
                <a:gd name="T80" fmla="*/ 88 w 641"/>
                <a:gd name="T81" fmla="*/ 221 h 330"/>
                <a:gd name="T82" fmla="*/ 92 w 641"/>
                <a:gd name="T83" fmla="*/ 252 h 330"/>
                <a:gd name="T84" fmla="*/ 37 w 641"/>
                <a:gd name="T85" fmla="*/ 252 h 330"/>
                <a:gd name="T86" fmla="*/ 37 w 641"/>
                <a:gd name="T87" fmla="*/ 285 h 330"/>
                <a:gd name="T88" fmla="*/ 32 w 641"/>
                <a:gd name="T89" fmla="*/ 310 h 330"/>
                <a:gd name="T90" fmla="*/ 16 w 641"/>
                <a:gd name="T91" fmla="*/ 316 h 330"/>
                <a:gd name="T92" fmla="*/ 104 w 641"/>
                <a:gd name="T93" fmla="*/ 320 h 330"/>
                <a:gd name="T94" fmla="*/ 129 w 641"/>
                <a:gd name="T95" fmla="*/ 295 h 330"/>
                <a:gd name="T96" fmla="*/ 149 w 641"/>
                <a:gd name="T97" fmla="*/ 299 h 330"/>
                <a:gd name="T98" fmla="*/ 215 w 641"/>
                <a:gd name="T99" fmla="*/ 291 h 330"/>
                <a:gd name="T100" fmla="*/ 264 w 641"/>
                <a:gd name="T101" fmla="*/ 283 h 330"/>
                <a:gd name="T102" fmla="*/ 407 w 641"/>
                <a:gd name="T103" fmla="*/ 271 h 330"/>
                <a:gd name="T104" fmla="*/ 510 w 641"/>
                <a:gd name="T105" fmla="*/ 256 h 330"/>
                <a:gd name="T106" fmla="*/ 545 w 641"/>
                <a:gd name="T107" fmla="*/ 236 h 330"/>
                <a:gd name="T108" fmla="*/ 557 w 641"/>
                <a:gd name="T109" fmla="*/ 228 h 330"/>
                <a:gd name="T110" fmla="*/ 575 w 641"/>
                <a:gd name="T111" fmla="*/ 213 h 330"/>
                <a:gd name="T112" fmla="*/ 577 w 641"/>
                <a:gd name="T113" fmla="*/ 203 h 330"/>
                <a:gd name="T114" fmla="*/ 583 w 641"/>
                <a:gd name="T115" fmla="*/ 189 h 330"/>
                <a:gd name="T116" fmla="*/ 631 w 641"/>
                <a:gd name="T117" fmla="*/ 146 h 330"/>
                <a:gd name="T118" fmla="*/ 8 w 641"/>
                <a:gd name="T119" fmla="*/ 328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1" h="330">
                  <a:moveTo>
                    <a:pt x="639" y="133"/>
                  </a:moveTo>
                  <a:lnTo>
                    <a:pt x="639" y="133"/>
                  </a:lnTo>
                  <a:lnTo>
                    <a:pt x="635" y="135"/>
                  </a:lnTo>
                  <a:lnTo>
                    <a:pt x="635" y="135"/>
                  </a:lnTo>
                  <a:lnTo>
                    <a:pt x="626" y="133"/>
                  </a:lnTo>
                  <a:lnTo>
                    <a:pt x="626" y="133"/>
                  </a:lnTo>
                  <a:lnTo>
                    <a:pt x="624" y="133"/>
                  </a:lnTo>
                  <a:lnTo>
                    <a:pt x="624" y="131"/>
                  </a:lnTo>
                  <a:lnTo>
                    <a:pt x="624" y="131"/>
                  </a:lnTo>
                  <a:lnTo>
                    <a:pt x="624" y="131"/>
                  </a:lnTo>
                  <a:lnTo>
                    <a:pt x="624" y="131"/>
                  </a:lnTo>
                  <a:lnTo>
                    <a:pt x="624" y="129"/>
                  </a:lnTo>
                  <a:lnTo>
                    <a:pt x="624" y="129"/>
                  </a:lnTo>
                  <a:lnTo>
                    <a:pt x="620" y="127"/>
                  </a:lnTo>
                  <a:lnTo>
                    <a:pt x="620" y="127"/>
                  </a:lnTo>
                  <a:lnTo>
                    <a:pt x="620" y="127"/>
                  </a:lnTo>
                  <a:lnTo>
                    <a:pt x="618" y="127"/>
                  </a:lnTo>
                  <a:lnTo>
                    <a:pt x="618" y="127"/>
                  </a:lnTo>
                  <a:lnTo>
                    <a:pt x="616" y="125"/>
                  </a:lnTo>
                  <a:lnTo>
                    <a:pt x="616" y="125"/>
                  </a:lnTo>
                  <a:lnTo>
                    <a:pt x="616" y="125"/>
                  </a:lnTo>
                  <a:lnTo>
                    <a:pt x="614" y="125"/>
                  </a:lnTo>
                  <a:lnTo>
                    <a:pt x="610" y="123"/>
                  </a:lnTo>
                  <a:lnTo>
                    <a:pt x="610" y="123"/>
                  </a:lnTo>
                  <a:lnTo>
                    <a:pt x="610" y="123"/>
                  </a:lnTo>
                  <a:lnTo>
                    <a:pt x="610" y="121"/>
                  </a:lnTo>
                  <a:lnTo>
                    <a:pt x="608" y="119"/>
                  </a:lnTo>
                  <a:lnTo>
                    <a:pt x="608" y="117"/>
                  </a:lnTo>
                  <a:lnTo>
                    <a:pt x="608" y="117"/>
                  </a:lnTo>
                  <a:lnTo>
                    <a:pt x="606" y="117"/>
                  </a:lnTo>
                  <a:lnTo>
                    <a:pt x="606" y="115"/>
                  </a:lnTo>
                  <a:lnTo>
                    <a:pt x="598" y="111"/>
                  </a:lnTo>
                  <a:lnTo>
                    <a:pt x="598" y="109"/>
                  </a:lnTo>
                  <a:lnTo>
                    <a:pt x="598" y="109"/>
                  </a:lnTo>
                  <a:lnTo>
                    <a:pt x="598" y="109"/>
                  </a:lnTo>
                  <a:lnTo>
                    <a:pt x="598" y="105"/>
                  </a:lnTo>
                  <a:lnTo>
                    <a:pt x="596" y="105"/>
                  </a:lnTo>
                  <a:lnTo>
                    <a:pt x="596" y="103"/>
                  </a:lnTo>
                  <a:lnTo>
                    <a:pt x="596" y="103"/>
                  </a:lnTo>
                  <a:lnTo>
                    <a:pt x="596" y="103"/>
                  </a:lnTo>
                  <a:lnTo>
                    <a:pt x="594" y="103"/>
                  </a:lnTo>
                  <a:lnTo>
                    <a:pt x="590" y="101"/>
                  </a:lnTo>
                  <a:lnTo>
                    <a:pt x="590" y="99"/>
                  </a:lnTo>
                  <a:lnTo>
                    <a:pt x="590" y="99"/>
                  </a:lnTo>
                  <a:lnTo>
                    <a:pt x="590" y="99"/>
                  </a:lnTo>
                  <a:lnTo>
                    <a:pt x="590" y="96"/>
                  </a:lnTo>
                  <a:lnTo>
                    <a:pt x="592" y="96"/>
                  </a:lnTo>
                  <a:lnTo>
                    <a:pt x="592" y="96"/>
                  </a:lnTo>
                  <a:lnTo>
                    <a:pt x="590" y="94"/>
                  </a:lnTo>
                  <a:lnTo>
                    <a:pt x="590" y="94"/>
                  </a:lnTo>
                  <a:lnTo>
                    <a:pt x="590" y="94"/>
                  </a:lnTo>
                  <a:lnTo>
                    <a:pt x="590" y="94"/>
                  </a:lnTo>
                  <a:lnTo>
                    <a:pt x="583" y="90"/>
                  </a:lnTo>
                  <a:lnTo>
                    <a:pt x="583" y="90"/>
                  </a:lnTo>
                  <a:lnTo>
                    <a:pt x="583" y="88"/>
                  </a:lnTo>
                  <a:lnTo>
                    <a:pt x="581" y="86"/>
                  </a:lnTo>
                  <a:lnTo>
                    <a:pt x="581" y="86"/>
                  </a:lnTo>
                  <a:lnTo>
                    <a:pt x="573" y="78"/>
                  </a:lnTo>
                  <a:lnTo>
                    <a:pt x="573" y="78"/>
                  </a:lnTo>
                  <a:lnTo>
                    <a:pt x="573" y="76"/>
                  </a:lnTo>
                  <a:lnTo>
                    <a:pt x="573" y="76"/>
                  </a:lnTo>
                  <a:lnTo>
                    <a:pt x="573" y="76"/>
                  </a:lnTo>
                  <a:lnTo>
                    <a:pt x="573" y="76"/>
                  </a:lnTo>
                  <a:lnTo>
                    <a:pt x="573" y="76"/>
                  </a:lnTo>
                  <a:lnTo>
                    <a:pt x="575" y="74"/>
                  </a:lnTo>
                  <a:lnTo>
                    <a:pt x="575" y="74"/>
                  </a:lnTo>
                  <a:lnTo>
                    <a:pt x="575" y="72"/>
                  </a:lnTo>
                  <a:lnTo>
                    <a:pt x="575" y="72"/>
                  </a:lnTo>
                  <a:lnTo>
                    <a:pt x="575" y="72"/>
                  </a:lnTo>
                  <a:lnTo>
                    <a:pt x="575" y="70"/>
                  </a:lnTo>
                  <a:lnTo>
                    <a:pt x="575" y="70"/>
                  </a:lnTo>
                  <a:lnTo>
                    <a:pt x="575" y="70"/>
                  </a:lnTo>
                  <a:lnTo>
                    <a:pt x="575" y="68"/>
                  </a:lnTo>
                  <a:lnTo>
                    <a:pt x="575" y="68"/>
                  </a:lnTo>
                  <a:lnTo>
                    <a:pt x="577" y="68"/>
                  </a:lnTo>
                  <a:lnTo>
                    <a:pt x="577" y="68"/>
                  </a:lnTo>
                  <a:lnTo>
                    <a:pt x="577" y="68"/>
                  </a:lnTo>
                  <a:lnTo>
                    <a:pt x="577" y="68"/>
                  </a:lnTo>
                  <a:lnTo>
                    <a:pt x="577" y="66"/>
                  </a:lnTo>
                  <a:lnTo>
                    <a:pt x="577" y="66"/>
                  </a:lnTo>
                  <a:lnTo>
                    <a:pt x="577" y="64"/>
                  </a:lnTo>
                  <a:lnTo>
                    <a:pt x="577" y="62"/>
                  </a:lnTo>
                  <a:lnTo>
                    <a:pt x="577" y="62"/>
                  </a:lnTo>
                  <a:lnTo>
                    <a:pt x="575" y="60"/>
                  </a:lnTo>
                  <a:lnTo>
                    <a:pt x="575" y="60"/>
                  </a:lnTo>
                  <a:lnTo>
                    <a:pt x="573" y="55"/>
                  </a:lnTo>
                  <a:lnTo>
                    <a:pt x="573" y="55"/>
                  </a:lnTo>
                  <a:lnTo>
                    <a:pt x="573" y="55"/>
                  </a:lnTo>
                  <a:lnTo>
                    <a:pt x="573" y="53"/>
                  </a:lnTo>
                  <a:lnTo>
                    <a:pt x="573" y="51"/>
                  </a:lnTo>
                  <a:lnTo>
                    <a:pt x="573" y="49"/>
                  </a:lnTo>
                  <a:lnTo>
                    <a:pt x="573" y="49"/>
                  </a:lnTo>
                  <a:lnTo>
                    <a:pt x="571" y="49"/>
                  </a:lnTo>
                  <a:lnTo>
                    <a:pt x="569" y="45"/>
                  </a:lnTo>
                  <a:lnTo>
                    <a:pt x="569" y="43"/>
                  </a:lnTo>
                  <a:lnTo>
                    <a:pt x="561" y="39"/>
                  </a:lnTo>
                  <a:lnTo>
                    <a:pt x="559" y="37"/>
                  </a:lnTo>
                  <a:lnTo>
                    <a:pt x="555" y="37"/>
                  </a:lnTo>
                  <a:lnTo>
                    <a:pt x="551" y="35"/>
                  </a:lnTo>
                  <a:lnTo>
                    <a:pt x="547" y="31"/>
                  </a:lnTo>
                  <a:lnTo>
                    <a:pt x="545" y="25"/>
                  </a:lnTo>
                  <a:lnTo>
                    <a:pt x="542" y="23"/>
                  </a:lnTo>
                  <a:lnTo>
                    <a:pt x="542" y="21"/>
                  </a:lnTo>
                  <a:lnTo>
                    <a:pt x="542" y="19"/>
                  </a:lnTo>
                  <a:lnTo>
                    <a:pt x="540" y="19"/>
                  </a:lnTo>
                  <a:lnTo>
                    <a:pt x="538" y="19"/>
                  </a:lnTo>
                  <a:lnTo>
                    <a:pt x="534" y="23"/>
                  </a:lnTo>
                  <a:lnTo>
                    <a:pt x="532" y="23"/>
                  </a:lnTo>
                  <a:lnTo>
                    <a:pt x="530" y="25"/>
                  </a:lnTo>
                  <a:lnTo>
                    <a:pt x="530" y="25"/>
                  </a:lnTo>
                  <a:lnTo>
                    <a:pt x="528" y="27"/>
                  </a:lnTo>
                  <a:lnTo>
                    <a:pt x="528" y="29"/>
                  </a:lnTo>
                  <a:lnTo>
                    <a:pt x="526" y="29"/>
                  </a:lnTo>
                  <a:lnTo>
                    <a:pt x="524" y="31"/>
                  </a:lnTo>
                  <a:lnTo>
                    <a:pt x="524" y="31"/>
                  </a:lnTo>
                  <a:lnTo>
                    <a:pt x="524" y="33"/>
                  </a:lnTo>
                  <a:lnTo>
                    <a:pt x="524" y="35"/>
                  </a:lnTo>
                  <a:lnTo>
                    <a:pt x="522" y="35"/>
                  </a:lnTo>
                  <a:lnTo>
                    <a:pt x="520" y="37"/>
                  </a:lnTo>
                  <a:lnTo>
                    <a:pt x="516" y="35"/>
                  </a:lnTo>
                  <a:lnTo>
                    <a:pt x="514" y="37"/>
                  </a:lnTo>
                  <a:lnTo>
                    <a:pt x="514" y="37"/>
                  </a:lnTo>
                  <a:lnTo>
                    <a:pt x="512" y="39"/>
                  </a:lnTo>
                  <a:lnTo>
                    <a:pt x="510" y="39"/>
                  </a:lnTo>
                  <a:lnTo>
                    <a:pt x="508" y="39"/>
                  </a:lnTo>
                  <a:lnTo>
                    <a:pt x="508" y="39"/>
                  </a:lnTo>
                  <a:lnTo>
                    <a:pt x="506" y="35"/>
                  </a:lnTo>
                  <a:lnTo>
                    <a:pt x="504" y="35"/>
                  </a:lnTo>
                  <a:lnTo>
                    <a:pt x="504" y="35"/>
                  </a:lnTo>
                  <a:lnTo>
                    <a:pt x="499" y="33"/>
                  </a:lnTo>
                  <a:lnTo>
                    <a:pt x="499" y="33"/>
                  </a:lnTo>
                  <a:lnTo>
                    <a:pt x="495" y="33"/>
                  </a:lnTo>
                  <a:lnTo>
                    <a:pt x="495" y="33"/>
                  </a:lnTo>
                  <a:lnTo>
                    <a:pt x="493" y="33"/>
                  </a:lnTo>
                  <a:lnTo>
                    <a:pt x="491" y="31"/>
                  </a:lnTo>
                  <a:lnTo>
                    <a:pt x="489" y="31"/>
                  </a:lnTo>
                  <a:lnTo>
                    <a:pt x="489" y="31"/>
                  </a:lnTo>
                  <a:lnTo>
                    <a:pt x="483" y="35"/>
                  </a:lnTo>
                  <a:lnTo>
                    <a:pt x="481" y="35"/>
                  </a:lnTo>
                  <a:lnTo>
                    <a:pt x="481" y="37"/>
                  </a:lnTo>
                  <a:lnTo>
                    <a:pt x="481" y="39"/>
                  </a:lnTo>
                  <a:lnTo>
                    <a:pt x="479" y="41"/>
                  </a:lnTo>
                  <a:lnTo>
                    <a:pt x="479" y="41"/>
                  </a:lnTo>
                  <a:lnTo>
                    <a:pt x="475" y="41"/>
                  </a:lnTo>
                  <a:lnTo>
                    <a:pt x="471" y="39"/>
                  </a:lnTo>
                  <a:lnTo>
                    <a:pt x="465" y="35"/>
                  </a:lnTo>
                  <a:lnTo>
                    <a:pt x="463" y="33"/>
                  </a:lnTo>
                  <a:lnTo>
                    <a:pt x="461" y="31"/>
                  </a:lnTo>
                  <a:lnTo>
                    <a:pt x="461" y="29"/>
                  </a:lnTo>
                  <a:lnTo>
                    <a:pt x="456" y="29"/>
                  </a:lnTo>
                  <a:lnTo>
                    <a:pt x="452" y="29"/>
                  </a:lnTo>
                  <a:lnTo>
                    <a:pt x="450" y="29"/>
                  </a:lnTo>
                  <a:lnTo>
                    <a:pt x="442" y="31"/>
                  </a:lnTo>
                  <a:lnTo>
                    <a:pt x="440" y="31"/>
                  </a:lnTo>
                  <a:lnTo>
                    <a:pt x="432" y="29"/>
                  </a:lnTo>
                  <a:lnTo>
                    <a:pt x="430" y="27"/>
                  </a:lnTo>
                  <a:lnTo>
                    <a:pt x="428" y="25"/>
                  </a:lnTo>
                  <a:lnTo>
                    <a:pt x="428" y="23"/>
                  </a:lnTo>
                  <a:lnTo>
                    <a:pt x="428" y="21"/>
                  </a:lnTo>
                  <a:lnTo>
                    <a:pt x="426" y="19"/>
                  </a:lnTo>
                  <a:lnTo>
                    <a:pt x="426" y="19"/>
                  </a:lnTo>
                  <a:lnTo>
                    <a:pt x="424" y="17"/>
                  </a:lnTo>
                  <a:lnTo>
                    <a:pt x="424" y="17"/>
                  </a:lnTo>
                  <a:lnTo>
                    <a:pt x="422" y="14"/>
                  </a:lnTo>
                  <a:lnTo>
                    <a:pt x="422" y="12"/>
                  </a:lnTo>
                  <a:lnTo>
                    <a:pt x="420" y="12"/>
                  </a:lnTo>
                  <a:lnTo>
                    <a:pt x="420" y="10"/>
                  </a:lnTo>
                  <a:lnTo>
                    <a:pt x="420" y="8"/>
                  </a:lnTo>
                  <a:lnTo>
                    <a:pt x="418" y="6"/>
                  </a:lnTo>
                  <a:lnTo>
                    <a:pt x="413" y="6"/>
                  </a:lnTo>
                  <a:lnTo>
                    <a:pt x="411" y="4"/>
                  </a:lnTo>
                  <a:lnTo>
                    <a:pt x="409" y="4"/>
                  </a:lnTo>
                  <a:lnTo>
                    <a:pt x="409" y="4"/>
                  </a:lnTo>
                  <a:lnTo>
                    <a:pt x="407" y="2"/>
                  </a:lnTo>
                  <a:lnTo>
                    <a:pt x="405" y="0"/>
                  </a:lnTo>
                  <a:lnTo>
                    <a:pt x="403" y="0"/>
                  </a:lnTo>
                  <a:lnTo>
                    <a:pt x="401" y="0"/>
                  </a:lnTo>
                  <a:lnTo>
                    <a:pt x="393" y="6"/>
                  </a:lnTo>
                  <a:lnTo>
                    <a:pt x="391" y="6"/>
                  </a:lnTo>
                  <a:lnTo>
                    <a:pt x="385" y="2"/>
                  </a:lnTo>
                  <a:lnTo>
                    <a:pt x="385" y="2"/>
                  </a:lnTo>
                  <a:lnTo>
                    <a:pt x="383" y="0"/>
                  </a:lnTo>
                  <a:lnTo>
                    <a:pt x="383" y="0"/>
                  </a:lnTo>
                  <a:lnTo>
                    <a:pt x="381" y="0"/>
                  </a:lnTo>
                  <a:lnTo>
                    <a:pt x="381" y="0"/>
                  </a:lnTo>
                  <a:lnTo>
                    <a:pt x="379" y="0"/>
                  </a:lnTo>
                  <a:lnTo>
                    <a:pt x="379" y="2"/>
                  </a:lnTo>
                  <a:lnTo>
                    <a:pt x="375" y="6"/>
                  </a:lnTo>
                  <a:lnTo>
                    <a:pt x="372" y="6"/>
                  </a:lnTo>
                  <a:lnTo>
                    <a:pt x="370" y="10"/>
                  </a:lnTo>
                  <a:lnTo>
                    <a:pt x="370" y="12"/>
                  </a:lnTo>
                  <a:lnTo>
                    <a:pt x="375" y="14"/>
                  </a:lnTo>
                  <a:lnTo>
                    <a:pt x="375" y="17"/>
                  </a:lnTo>
                  <a:lnTo>
                    <a:pt x="377" y="19"/>
                  </a:lnTo>
                  <a:lnTo>
                    <a:pt x="375" y="21"/>
                  </a:lnTo>
                  <a:lnTo>
                    <a:pt x="372" y="25"/>
                  </a:lnTo>
                  <a:lnTo>
                    <a:pt x="372" y="25"/>
                  </a:lnTo>
                  <a:lnTo>
                    <a:pt x="372" y="27"/>
                  </a:lnTo>
                  <a:lnTo>
                    <a:pt x="375" y="27"/>
                  </a:lnTo>
                  <a:lnTo>
                    <a:pt x="379" y="27"/>
                  </a:lnTo>
                  <a:lnTo>
                    <a:pt x="381" y="27"/>
                  </a:lnTo>
                  <a:lnTo>
                    <a:pt x="381" y="29"/>
                  </a:lnTo>
                  <a:lnTo>
                    <a:pt x="379" y="31"/>
                  </a:lnTo>
                  <a:lnTo>
                    <a:pt x="379" y="31"/>
                  </a:lnTo>
                  <a:lnTo>
                    <a:pt x="379" y="35"/>
                  </a:lnTo>
                  <a:lnTo>
                    <a:pt x="381" y="37"/>
                  </a:lnTo>
                  <a:lnTo>
                    <a:pt x="379" y="39"/>
                  </a:lnTo>
                  <a:lnTo>
                    <a:pt x="372" y="39"/>
                  </a:lnTo>
                  <a:lnTo>
                    <a:pt x="368" y="39"/>
                  </a:lnTo>
                  <a:lnTo>
                    <a:pt x="364" y="41"/>
                  </a:lnTo>
                  <a:lnTo>
                    <a:pt x="352" y="51"/>
                  </a:lnTo>
                  <a:lnTo>
                    <a:pt x="350" y="53"/>
                  </a:lnTo>
                  <a:lnTo>
                    <a:pt x="348" y="51"/>
                  </a:lnTo>
                  <a:lnTo>
                    <a:pt x="344" y="49"/>
                  </a:lnTo>
                  <a:lnTo>
                    <a:pt x="342" y="47"/>
                  </a:lnTo>
                  <a:lnTo>
                    <a:pt x="338" y="49"/>
                  </a:lnTo>
                  <a:lnTo>
                    <a:pt x="327" y="51"/>
                  </a:lnTo>
                  <a:lnTo>
                    <a:pt x="325" y="51"/>
                  </a:lnTo>
                  <a:lnTo>
                    <a:pt x="327" y="53"/>
                  </a:lnTo>
                  <a:lnTo>
                    <a:pt x="327" y="55"/>
                  </a:lnTo>
                  <a:lnTo>
                    <a:pt x="327" y="58"/>
                  </a:lnTo>
                  <a:lnTo>
                    <a:pt x="329" y="64"/>
                  </a:lnTo>
                  <a:lnTo>
                    <a:pt x="332" y="68"/>
                  </a:lnTo>
                  <a:lnTo>
                    <a:pt x="332" y="70"/>
                  </a:lnTo>
                  <a:lnTo>
                    <a:pt x="332" y="72"/>
                  </a:lnTo>
                  <a:lnTo>
                    <a:pt x="327" y="76"/>
                  </a:lnTo>
                  <a:lnTo>
                    <a:pt x="325" y="78"/>
                  </a:lnTo>
                  <a:lnTo>
                    <a:pt x="325" y="80"/>
                  </a:lnTo>
                  <a:lnTo>
                    <a:pt x="323" y="80"/>
                  </a:lnTo>
                  <a:lnTo>
                    <a:pt x="321" y="82"/>
                  </a:lnTo>
                  <a:lnTo>
                    <a:pt x="319" y="82"/>
                  </a:lnTo>
                  <a:lnTo>
                    <a:pt x="317" y="84"/>
                  </a:lnTo>
                  <a:lnTo>
                    <a:pt x="315" y="94"/>
                  </a:lnTo>
                  <a:lnTo>
                    <a:pt x="315" y="99"/>
                  </a:lnTo>
                  <a:lnTo>
                    <a:pt x="311" y="101"/>
                  </a:lnTo>
                  <a:lnTo>
                    <a:pt x="311" y="103"/>
                  </a:lnTo>
                  <a:lnTo>
                    <a:pt x="307" y="105"/>
                  </a:lnTo>
                  <a:lnTo>
                    <a:pt x="307" y="105"/>
                  </a:lnTo>
                  <a:lnTo>
                    <a:pt x="305" y="103"/>
                  </a:lnTo>
                  <a:lnTo>
                    <a:pt x="305" y="103"/>
                  </a:lnTo>
                  <a:lnTo>
                    <a:pt x="305" y="103"/>
                  </a:lnTo>
                  <a:lnTo>
                    <a:pt x="303" y="103"/>
                  </a:lnTo>
                  <a:lnTo>
                    <a:pt x="301" y="103"/>
                  </a:lnTo>
                  <a:lnTo>
                    <a:pt x="301" y="105"/>
                  </a:lnTo>
                  <a:lnTo>
                    <a:pt x="299" y="109"/>
                  </a:lnTo>
                  <a:lnTo>
                    <a:pt x="299" y="109"/>
                  </a:lnTo>
                  <a:lnTo>
                    <a:pt x="297" y="111"/>
                  </a:lnTo>
                  <a:lnTo>
                    <a:pt x="297" y="113"/>
                  </a:lnTo>
                  <a:lnTo>
                    <a:pt x="297" y="115"/>
                  </a:lnTo>
                  <a:lnTo>
                    <a:pt x="297" y="117"/>
                  </a:lnTo>
                  <a:lnTo>
                    <a:pt x="297" y="127"/>
                  </a:lnTo>
                  <a:lnTo>
                    <a:pt x="297" y="131"/>
                  </a:lnTo>
                  <a:lnTo>
                    <a:pt x="295" y="131"/>
                  </a:lnTo>
                  <a:lnTo>
                    <a:pt x="295" y="133"/>
                  </a:lnTo>
                  <a:lnTo>
                    <a:pt x="295" y="133"/>
                  </a:lnTo>
                  <a:lnTo>
                    <a:pt x="293" y="133"/>
                  </a:lnTo>
                  <a:lnTo>
                    <a:pt x="289" y="135"/>
                  </a:lnTo>
                  <a:lnTo>
                    <a:pt x="289" y="135"/>
                  </a:lnTo>
                  <a:lnTo>
                    <a:pt x="286" y="137"/>
                  </a:lnTo>
                  <a:lnTo>
                    <a:pt x="286" y="139"/>
                  </a:lnTo>
                  <a:lnTo>
                    <a:pt x="284" y="137"/>
                  </a:lnTo>
                  <a:lnTo>
                    <a:pt x="280" y="135"/>
                  </a:lnTo>
                  <a:lnTo>
                    <a:pt x="278" y="135"/>
                  </a:lnTo>
                  <a:lnTo>
                    <a:pt x="274" y="135"/>
                  </a:lnTo>
                  <a:lnTo>
                    <a:pt x="272" y="133"/>
                  </a:lnTo>
                  <a:lnTo>
                    <a:pt x="270" y="133"/>
                  </a:lnTo>
                  <a:lnTo>
                    <a:pt x="268" y="131"/>
                  </a:lnTo>
                  <a:lnTo>
                    <a:pt x="266" y="131"/>
                  </a:lnTo>
                  <a:lnTo>
                    <a:pt x="264" y="129"/>
                  </a:lnTo>
                  <a:lnTo>
                    <a:pt x="264" y="127"/>
                  </a:lnTo>
                  <a:lnTo>
                    <a:pt x="264" y="123"/>
                  </a:lnTo>
                  <a:lnTo>
                    <a:pt x="264" y="121"/>
                  </a:lnTo>
                  <a:lnTo>
                    <a:pt x="258" y="119"/>
                  </a:lnTo>
                  <a:lnTo>
                    <a:pt x="258" y="119"/>
                  </a:lnTo>
                  <a:lnTo>
                    <a:pt x="256" y="119"/>
                  </a:lnTo>
                  <a:lnTo>
                    <a:pt x="254" y="119"/>
                  </a:lnTo>
                  <a:lnTo>
                    <a:pt x="256" y="121"/>
                  </a:lnTo>
                  <a:lnTo>
                    <a:pt x="258" y="123"/>
                  </a:lnTo>
                  <a:lnTo>
                    <a:pt x="260" y="123"/>
                  </a:lnTo>
                  <a:lnTo>
                    <a:pt x="260" y="123"/>
                  </a:lnTo>
                  <a:lnTo>
                    <a:pt x="258" y="125"/>
                  </a:lnTo>
                  <a:lnTo>
                    <a:pt x="256" y="127"/>
                  </a:lnTo>
                  <a:lnTo>
                    <a:pt x="254" y="127"/>
                  </a:lnTo>
                  <a:lnTo>
                    <a:pt x="252" y="127"/>
                  </a:lnTo>
                  <a:lnTo>
                    <a:pt x="252" y="127"/>
                  </a:lnTo>
                  <a:lnTo>
                    <a:pt x="252" y="125"/>
                  </a:lnTo>
                  <a:lnTo>
                    <a:pt x="250" y="125"/>
                  </a:lnTo>
                  <a:lnTo>
                    <a:pt x="250" y="125"/>
                  </a:lnTo>
                  <a:lnTo>
                    <a:pt x="250" y="127"/>
                  </a:lnTo>
                  <a:lnTo>
                    <a:pt x="250" y="127"/>
                  </a:lnTo>
                  <a:lnTo>
                    <a:pt x="252" y="129"/>
                  </a:lnTo>
                  <a:lnTo>
                    <a:pt x="252" y="131"/>
                  </a:lnTo>
                  <a:lnTo>
                    <a:pt x="252" y="133"/>
                  </a:lnTo>
                  <a:lnTo>
                    <a:pt x="250" y="133"/>
                  </a:lnTo>
                  <a:lnTo>
                    <a:pt x="248" y="135"/>
                  </a:lnTo>
                  <a:lnTo>
                    <a:pt x="245" y="135"/>
                  </a:lnTo>
                  <a:lnTo>
                    <a:pt x="245" y="137"/>
                  </a:lnTo>
                  <a:lnTo>
                    <a:pt x="245" y="139"/>
                  </a:lnTo>
                  <a:lnTo>
                    <a:pt x="245" y="146"/>
                  </a:lnTo>
                  <a:lnTo>
                    <a:pt x="245" y="148"/>
                  </a:lnTo>
                  <a:lnTo>
                    <a:pt x="245" y="148"/>
                  </a:lnTo>
                  <a:lnTo>
                    <a:pt x="241" y="150"/>
                  </a:lnTo>
                  <a:lnTo>
                    <a:pt x="241" y="152"/>
                  </a:lnTo>
                  <a:lnTo>
                    <a:pt x="241" y="154"/>
                  </a:lnTo>
                  <a:lnTo>
                    <a:pt x="241" y="156"/>
                  </a:lnTo>
                  <a:lnTo>
                    <a:pt x="239" y="158"/>
                  </a:lnTo>
                  <a:lnTo>
                    <a:pt x="237" y="158"/>
                  </a:lnTo>
                  <a:lnTo>
                    <a:pt x="235" y="156"/>
                  </a:lnTo>
                  <a:lnTo>
                    <a:pt x="235" y="156"/>
                  </a:lnTo>
                  <a:lnTo>
                    <a:pt x="237" y="152"/>
                  </a:lnTo>
                  <a:lnTo>
                    <a:pt x="235" y="152"/>
                  </a:lnTo>
                  <a:lnTo>
                    <a:pt x="231" y="154"/>
                  </a:lnTo>
                  <a:lnTo>
                    <a:pt x="229" y="154"/>
                  </a:lnTo>
                  <a:lnTo>
                    <a:pt x="225" y="152"/>
                  </a:lnTo>
                  <a:lnTo>
                    <a:pt x="223" y="150"/>
                  </a:lnTo>
                  <a:lnTo>
                    <a:pt x="223" y="146"/>
                  </a:lnTo>
                  <a:lnTo>
                    <a:pt x="221" y="144"/>
                  </a:lnTo>
                  <a:lnTo>
                    <a:pt x="217" y="146"/>
                  </a:lnTo>
                  <a:lnTo>
                    <a:pt x="215" y="150"/>
                  </a:lnTo>
                  <a:lnTo>
                    <a:pt x="213" y="152"/>
                  </a:lnTo>
                  <a:lnTo>
                    <a:pt x="213" y="152"/>
                  </a:lnTo>
                  <a:lnTo>
                    <a:pt x="207" y="152"/>
                  </a:lnTo>
                  <a:lnTo>
                    <a:pt x="205" y="154"/>
                  </a:lnTo>
                  <a:lnTo>
                    <a:pt x="205" y="154"/>
                  </a:lnTo>
                  <a:lnTo>
                    <a:pt x="205" y="156"/>
                  </a:lnTo>
                  <a:lnTo>
                    <a:pt x="202" y="158"/>
                  </a:lnTo>
                  <a:lnTo>
                    <a:pt x="200" y="164"/>
                  </a:lnTo>
                  <a:lnTo>
                    <a:pt x="200" y="168"/>
                  </a:lnTo>
                  <a:lnTo>
                    <a:pt x="198" y="170"/>
                  </a:lnTo>
                  <a:lnTo>
                    <a:pt x="196" y="168"/>
                  </a:lnTo>
                  <a:lnTo>
                    <a:pt x="196" y="168"/>
                  </a:lnTo>
                  <a:lnTo>
                    <a:pt x="194" y="166"/>
                  </a:lnTo>
                  <a:lnTo>
                    <a:pt x="194" y="166"/>
                  </a:lnTo>
                  <a:lnTo>
                    <a:pt x="194" y="164"/>
                  </a:lnTo>
                  <a:lnTo>
                    <a:pt x="192" y="164"/>
                  </a:lnTo>
                  <a:lnTo>
                    <a:pt x="192" y="164"/>
                  </a:lnTo>
                  <a:lnTo>
                    <a:pt x="190" y="164"/>
                  </a:lnTo>
                  <a:lnTo>
                    <a:pt x="188" y="164"/>
                  </a:lnTo>
                  <a:lnTo>
                    <a:pt x="188" y="162"/>
                  </a:lnTo>
                  <a:lnTo>
                    <a:pt x="184" y="162"/>
                  </a:lnTo>
                  <a:lnTo>
                    <a:pt x="178" y="160"/>
                  </a:lnTo>
                  <a:lnTo>
                    <a:pt x="178" y="158"/>
                  </a:lnTo>
                  <a:lnTo>
                    <a:pt x="176" y="158"/>
                  </a:lnTo>
                  <a:lnTo>
                    <a:pt x="174" y="156"/>
                  </a:lnTo>
                  <a:lnTo>
                    <a:pt x="172" y="156"/>
                  </a:lnTo>
                  <a:lnTo>
                    <a:pt x="170" y="156"/>
                  </a:lnTo>
                  <a:lnTo>
                    <a:pt x="166" y="158"/>
                  </a:lnTo>
                  <a:lnTo>
                    <a:pt x="164" y="160"/>
                  </a:lnTo>
                  <a:lnTo>
                    <a:pt x="159" y="160"/>
                  </a:lnTo>
                  <a:lnTo>
                    <a:pt x="155" y="158"/>
                  </a:lnTo>
                  <a:lnTo>
                    <a:pt x="155" y="156"/>
                  </a:lnTo>
                  <a:lnTo>
                    <a:pt x="155" y="156"/>
                  </a:lnTo>
                  <a:lnTo>
                    <a:pt x="155" y="154"/>
                  </a:lnTo>
                  <a:lnTo>
                    <a:pt x="153" y="154"/>
                  </a:lnTo>
                  <a:lnTo>
                    <a:pt x="153" y="154"/>
                  </a:lnTo>
                  <a:lnTo>
                    <a:pt x="153" y="156"/>
                  </a:lnTo>
                  <a:lnTo>
                    <a:pt x="153" y="156"/>
                  </a:lnTo>
                  <a:lnTo>
                    <a:pt x="153" y="158"/>
                  </a:lnTo>
                  <a:lnTo>
                    <a:pt x="155" y="162"/>
                  </a:lnTo>
                  <a:lnTo>
                    <a:pt x="155" y="164"/>
                  </a:lnTo>
                  <a:lnTo>
                    <a:pt x="155" y="166"/>
                  </a:lnTo>
                  <a:lnTo>
                    <a:pt x="153" y="170"/>
                  </a:lnTo>
                  <a:lnTo>
                    <a:pt x="151" y="170"/>
                  </a:lnTo>
                  <a:lnTo>
                    <a:pt x="149" y="170"/>
                  </a:lnTo>
                  <a:lnTo>
                    <a:pt x="149" y="168"/>
                  </a:lnTo>
                  <a:lnTo>
                    <a:pt x="149" y="164"/>
                  </a:lnTo>
                  <a:lnTo>
                    <a:pt x="149" y="164"/>
                  </a:lnTo>
                  <a:lnTo>
                    <a:pt x="147" y="162"/>
                  </a:lnTo>
                  <a:lnTo>
                    <a:pt x="147" y="162"/>
                  </a:lnTo>
                  <a:lnTo>
                    <a:pt x="145" y="164"/>
                  </a:lnTo>
                  <a:lnTo>
                    <a:pt x="145" y="164"/>
                  </a:lnTo>
                  <a:lnTo>
                    <a:pt x="143" y="164"/>
                  </a:lnTo>
                  <a:lnTo>
                    <a:pt x="141" y="166"/>
                  </a:lnTo>
                  <a:lnTo>
                    <a:pt x="139" y="166"/>
                  </a:lnTo>
                  <a:lnTo>
                    <a:pt x="137" y="166"/>
                  </a:lnTo>
                  <a:lnTo>
                    <a:pt x="135" y="166"/>
                  </a:lnTo>
                  <a:lnTo>
                    <a:pt x="133" y="164"/>
                  </a:lnTo>
                  <a:lnTo>
                    <a:pt x="133" y="164"/>
                  </a:lnTo>
                  <a:lnTo>
                    <a:pt x="131" y="162"/>
                  </a:lnTo>
                  <a:lnTo>
                    <a:pt x="129" y="162"/>
                  </a:lnTo>
                  <a:lnTo>
                    <a:pt x="127" y="162"/>
                  </a:lnTo>
                  <a:lnTo>
                    <a:pt x="127" y="166"/>
                  </a:lnTo>
                  <a:lnTo>
                    <a:pt x="127" y="166"/>
                  </a:lnTo>
                  <a:lnTo>
                    <a:pt x="131" y="172"/>
                  </a:lnTo>
                  <a:lnTo>
                    <a:pt x="127" y="178"/>
                  </a:lnTo>
                  <a:lnTo>
                    <a:pt x="127" y="178"/>
                  </a:lnTo>
                  <a:lnTo>
                    <a:pt x="125" y="178"/>
                  </a:lnTo>
                  <a:lnTo>
                    <a:pt x="123" y="176"/>
                  </a:lnTo>
                  <a:lnTo>
                    <a:pt x="121" y="176"/>
                  </a:lnTo>
                  <a:lnTo>
                    <a:pt x="119" y="176"/>
                  </a:lnTo>
                  <a:lnTo>
                    <a:pt x="119" y="178"/>
                  </a:lnTo>
                  <a:lnTo>
                    <a:pt x="119" y="180"/>
                  </a:lnTo>
                  <a:lnTo>
                    <a:pt x="119" y="183"/>
                  </a:lnTo>
                  <a:lnTo>
                    <a:pt x="116" y="185"/>
                  </a:lnTo>
                  <a:lnTo>
                    <a:pt x="112" y="189"/>
                  </a:lnTo>
                  <a:lnTo>
                    <a:pt x="110" y="191"/>
                  </a:lnTo>
                  <a:lnTo>
                    <a:pt x="110" y="193"/>
                  </a:lnTo>
                  <a:lnTo>
                    <a:pt x="110" y="195"/>
                  </a:lnTo>
                  <a:lnTo>
                    <a:pt x="110" y="197"/>
                  </a:lnTo>
                  <a:lnTo>
                    <a:pt x="112" y="201"/>
                  </a:lnTo>
                  <a:lnTo>
                    <a:pt x="112" y="201"/>
                  </a:lnTo>
                  <a:lnTo>
                    <a:pt x="116" y="203"/>
                  </a:lnTo>
                  <a:lnTo>
                    <a:pt x="119" y="207"/>
                  </a:lnTo>
                  <a:lnTo>
                    <a:pt x="119" y="211"/>
                  </a:lnTo>
                  <a:lnTo>
                    <a:pt x="114" y="213"/>
                  </a:lnTo>
                  <a:lnTo>
                    <a:pt x="100" y="217"/>
                  </a:lnTo>
                  <a:lnTo>
                    <a:pt x="96" y="221"/>
                  </a:lnTo>
                  <a:lnTo>
                    <a:pt x="94" y="221"/>
                  </a:lnTo>
                  <a:lnTo>
                    <a:pt x="90" y="221"/>
                  </a:lnTo>
                  <a:lnTo>
                    <a:pt x="88" y="221"/>
                  </a:lnTo>
                  <a:lnTo>
                    <a:pt x="86" y="224"/>
                  </a:lnTo>
                  <a:lnTo>
                    <a:pt x="86" y="224"/>
                  </a:lnTo>
                  <a:lnTo>
                    <a:pt x="86" y="226"/>
                  </a:lnTo>
                  <a:lnTo>
                    <a:pt x="84" y="230"/>
                  </a:lnTo>
                  <a:lnTo>
                    <a:pt x="84" y="234"/>
                  </a:lnTo>
                  <a:lnTo>
                    <a:pt x="86" y="238"/>
                  </a:lnTo>
                  <a:lnTo>
                    <a:pt x="88" y="242"/>
                  </a:lnTo>
                  <a:lnTo>
                    <a:pt x="90" y="246"/>
                  </a:lnTo>
                  <a:lnTo>
                    <a:pt x="92" y="248"/>
                  </a:lnTo>
                  <a:lnTo>
                    <a:pt x="92" y="252"/>
                  </a:lnTo>
                  <a:lnTo>
                    <a:pt x="92" y="256"/>
                  </a:lnTo>
                  <a:lnTo>
                    <a:pt x="90" y="258"/>
                  </a:lnTo>
                  <a:lnTo>
                    <a:pt x="86" y="260"/>
                  </a:lnTo>
                  <a:lnTo>
                    <a:pt x="82" y="258"/>
                  </a:lnTo>
                  <a:lnTo>
                    <a:pt x="76" y="256"/>
                  </a:lnTo>
                  <a:lnTo>
                    <a:pt x="51" y="246"/>
                  </a:lnTo>
                  <a:lnTo>
                    <a:pt x="47" y="246"/>
                  </a:lnTo>
                  <a:lnTo>
                    <a:pt x="43" y="248"/>
                  </a:lnTo>
                  <a:lnTo>
                    <a:pt x="39" y="250"/>
                  </a:lnTo>
                  <a:lnTo>
                    <a:pt x="37" y="252"/>
                  </a:lnTo>
                  <a:lnTo>
                    <a:pt x="37" y="254"/>
                  </a:lnTo>
                  <a:lnTo>
                    <a:pt x="32" y="258"/>
                  </a:lnTo>
                  <a:lnTo>
                    <a:pt x="30" y="262"/>
                  </a:lnTo>
                  <a:lnTo>
                    <a:pt x="28" y="267"/>
                  </a:lnTo>
                  <a:lnTo>
                    <a:pt x="30" y="269"/>
                  </a:lnTo>
                  <a:lnTo>
                    <a:pt x="30" y="271"/>
                  </a:lnTo>
                  <a:lnTo>
                    <a:pt x="35" y="275"/>
                  </a:lnTo>
                  <a:lnTo>
                    <a:pt x="35" y="277"/>
                  </a:lnTo>
                  <a:lnTo>
                    <a:pt x="35" y="281"/>
                  </a:lnTo>
                  <a:lnTo>
                    <a:pt x="37" y="285"/>
                  </a:lnTo>
                  <a:lnTo>
                    <a:pt x="37" y="285"/>
                  </a:lnTo>
                  <a:lnTo>
                    <a:pt x="35" y="287"/>
                  </a:lnTo>
                  <a:lnTo>
                    <a:pt x="35" y="287"/>
                  </a:lnTo>
                  <a:lnTo>
                    <a:pt x="35" y="289"/>
                  </a:lnTo>
                  <a:lnTo>
                    <a:pt x="35" y="289"/>
                  </a:lnTo>
                  <a:lnTo>
                    <a:pt x="35" y="291"/>
                  </a:lnTo>
                  <a:lnTo>
                    <a:pt x="37" y="295"/>
                  </a:lnTo>
                  <a:lnTo>
                    <a:pt x="37" y="297"/>
                  </a:lnTo>
                  <a:lnTo>
                    <a:pt x="37" y="301"/>
                  </a:lnTo>
                  <a:lnTo>
                    <a:pt x="32" y="310"/>
                  </a:lnTo>
                  <a:lnTo>
                    <a:pt x="32" y="316"/>
                  </a:lnTo>
                  <a:lnTo>
                    <a:pt x="30" y="318"/>
                  </a:lnTo>
                  <a:lnTo>
                    <a:pt x="28" y="320"/>
                  </a:lnTo>
                  <a:lnTo>
                    <a:pt x="24" y="318"/>
                  </a:lnTo>
                  <a:lnTo>
                    <a:pt x="22" y="318"/>
                  </a:lnTo>
                  <a:lnTo>
                    <a:pt x="20" y="314"/>
                  </a:lnTo>
                  <a:lnTo>
                    <a:pt x="18" y="314"/>
                  </a:lnTo>
                  <a:lnTo>
                    <a:pt x="16" y="314"/>
                  </a:lnTo>
                  <a:lnTo>
                    <a:pt x="16" y="314"/>
                  </a:lnTo>
                  <a:lnTo>
                    <a:pt x="16" y="316"/>
                  </a:lnTo>
                  <a:lnTo>
                    <a:pt x="14" y="320"/>
                  </a:lnTo>
                  <a:lnTo>
                    <a:pt x="14" y="322"/>
                  </a:lnTo>
                  <a:lnTo>
                    <a:pt x="14" y="328"/>
                  </a:lnTo>
                  <a:lnTo>
                    <a:pt x="14" y="328"/>
                  </a:lnTo>
                  <a:lnTo>
                    <a:pt x="28" y="326"/>
                  </a:lnTo>
                  <a:lnTo>
                    <a:pt x="43" y="326"/>
                  </a:lnTo>
                  <a:lnTo>
                    <a:pt x="59" y="324"/>
                  </a:lnTo>
                  <a:lnTo>
                    <a:pt x="73" y="322"/>
                  </a:lnTo>
                  <a:lnTo>
                    <a:pt x="88" y="322"/>
                  </a:lnTo>
                  <a:lnTo>
                    <a:pt x="104" y="320"/>
                  </a:lnTo>
                  <a:lnTo>
                    <a:pt x="119" y="318"/>
                  </a:lnTo>
                  <a:lnTo>
                    <a:pt x="133" y="316"/>
                  </a:lnTo>
                  <a:lnTo>
                    <a:pt x="133" y="314"/>
                  </a:lnTo>
                  <a:lnTo>
                    <a:pt x="133" y="310"/>
                  </a:lnTo>
                  <a:lnTo>
                    <a:pt x="133" y="308"/>
                  </a:lnTo>
                  <a:lnTo>
                    <a:pt x="131" y="303"/>
                  </a:lnTo>
                  <a:lnTo>
                    <a:pt x="129" y="297"/>
                  </a:lnTo>
                  <a:lnTo>
                    <a:pt x="129" y="297"/>
                  </a:lnTo>
                  <a:lnTo>
                    <a:pt x="129" y="295"/>
                  </a:lnTo>
                  <a:lnTo>
                    <a:pt x="129" y="295"/>
                  </a:lnTo>
                  <a:lnTo>
                    <a:pt x="129" y="295"/>
                  </a:lnTo>
                  <a:lnTo>
                    <a:pt x="135" y="295"/>
                  </a:lnTo>
                  <a:lnTo>
                    <a:pt x="141" y="295"/>
                  </a:lnTo>
                  <a:lnTo>
                    <a:pt x="147" y="295"/>
                  </a:lnTo>
                  <a:lnTo>
                    <a:pt x="147" y="295"/>
                  </a:lnTo>
                  <a:lnTo>
                    <a:pt x="147" y="297"/>
                  </a:lnTo>
                  <a:lnTo>
                    <a:pt x="149" y="297"/>
                  </a:lnTo>
                  <a:lnTo>
                    <a:pt x="149" y="299"/>
                  </a:lnTo>
                  <a:lnTo>
                    <a:pt x="149" y="299"/>
                  </a:lnTo>
                  <a:lnTo>
                    <a:pt x="149" y="299"/>
                  </a:lnTo>
                  <a:lnTo>
                    <a:pt x="153" y="297"/>
                  </a:lnTo>
                  <a:lnTo>
                    <a:pt x="155" y="297"/>
                  </a:lnTo>
                  <a:lnTo>
                    <a:pt x="157" y="297"/>
                  </a:lnTo>
                  <a:lnTo>
                    <a:pt x="164" y="297"/>
                  </a:lnTo>
                  <a:lnTo>
                    <a:pt x="170" y="295"/>
                  </a:lnTo>
                  <a:lnTo>
                    <a:pt x="178" y="295"/>
                  </a:lnTo>
                  <a:lnTo>
                    <a:pt x="186" y="293"/>
                  </a:lnTo>
                  <a:lnTo>
                    <a:pt x="196" y="293"/>
                  </a:lnTo>
                  <a:lnTo>
                    <a:pt x="205" y="291"/>
                  </a:lnTo>
                  <a:lnTo>
                    <a:pt x="215" y="291"/>
                  </a:lnTo>
                  <a:lnTo>
                    <a:pt x="225" y="289"/>
                  </a:lnTo>
                  <a:lnTo>
                    <a:pt x="233" y="289"/>
                  </a:lnTo>
                  <a:lnTo>
                    <a:pt x="241" y="287"/>
                  </a:lnTo>
                  <a:lnTo>
                    <a:pt x="248" y="287"/>
                  </a:lnTo>
                  <a:lnTo>
                    <a:pt x="252" y="285"/>
                  </a:lnTo>
                  <a:lnTo>
                    <a:pt x="256" y="285"/>
                  </a:lnTo>
                  <a:lnTo>
                    <a:pt x="258" y="285"/>
                  </a:lnTo>
                  <a:lnTo>
                    <a:pt x="260" y="285"/>
                  </a:lnTo>
                  <a:lnTo>
                    <a:pt x="264" y="283"/>
                  </a:lnTo>
                  <a:lnTo>
                    <a:pt x="264" y="283"/>
                  </a:lnTo>
                  <a:lnTo>
                    <a:pt x="268" y="283"/>
                  </a:lnTo>
                  <a:lnTo>
                    <a:pt x="270" y="283"/>
                  </a:lnTo>
                  <a:lnTo>
                    <a:pt x="278" y="283"/>
                  </a:lnTo>
                  <a:lnTo>
                    <a:pt x="291" y="281"/>
                  </a:lnTo>
                  <a:lnTo>
                    <a:pt x="305" y="279"/>
                  </a:lnTo>
                  <a:lnTo>
                    <a:pt x="321" y="279"/>
                  </a:lnTo>
                  <a:lnTo>
                    <a:pt x="342" y="277"/>
                  </a:lnTo>
                  <a:lnTo>
                    <a:pt x="362" y="275"/>
                  </a:lnTo>
                  <a:lnTo>
                    <a:pt x="385" y="273"/>
                  </a:lnTo>
                  <a:lnTo>
                    <a:pt x="407" y="271"/>
                  </a:lnTo>
                  <a:lnTo>
                    <a:pt x="428" y="267"/>
                  </a:lnTo>
                  <a:lnTo>
                    <a:pt x="446" y="265"/>
                  </a:lnTo>
                  <a:lnTo>
                    <a:pt x="465" y="265"/>
                  </a:lnTo>
                  <a:lnTo>
                    <a:pt x="479" y="262"/>
                  </a:lnTo>
                  <a:lnTo>
                    <a:pt x="491" y="260"/>
                  </a:lnTo>
                  <a:lnTo>
                    <a:pt x="497" y="260"/>
                  </a:lnTo>
                  <a:lnTo>
                    <a:pt x="502" y="260"/>
                  </a:lnTo>
                  <a:lnTo>
                    <a:pt x="506" y="258"/>
                  </a:lnTo>
                  <a:lnTo>
                    <a:pt x="508" y="258"/>
                  </a:lnTo>
                  <a:lnTo>
                    <a:pt x="510" y="256"/>
                  </a:lnTo>
                  <a:lnTo>
                    <a:pt x="514" y="252"/>
                  </a:lnTo>
                  <a:lnTo>
                    <a:pt x="516" y="252"/>
                  </a:lnTo>
                  <a:lnTo>
                    <a:pt x="516" y="252"/>
                  </a:lnTo>
                  <a:lnTo>
                    <a:pt x="522" y="248"/>
                  </a:lnTo>
                  <a:lnTo>
                    <a:pt x="530" y="246"/>
                  </a:lnTo>
                  <a:lnTo>
                    <a:pt x="532" y="244"/>
                  </a:lnTo>
                  <a:lnTo>
                    <a:pt x="532" y="244"/>
                  </a:lnTo>
                  <a:lnTo>
                    <a:pt x="534" y="244"/>
                  </a:lnTo>
                  <a:lnTo>
                    <a:pt x="536" y="240"/>
                  </a:lnTo>
                  <a:lnTo>
                    <a:pt x="545" y="236"/>
                  </a:lnTo>
                  <a:lnTo>
                    <a:pt x="553" y="234"/>
                  </a:lnTo>
                  <a:lnTo>
                    <a:pt x="555" y="234"/>
                  </a:lnTo>
                  <a:lnTo>
                    <a:pt x="555" y="234"/>
                  </a:lnTo>
                  <a:lnTo>
                    <a:pt x="555" y="232"/>
                  </a:lnTo>
                  <a:lnTo>
                    <a:pt x="555" y="232"/>
                  </a:lnTo>
                  <a:lnTo>
                    <a:pt x="555" y="232"/>
                  </a:lnTo>
                  <a:lnTo>
                    <a:pt x="555" y="230"/>
                  </a:lnTo>
                  <a:lnTo>
                    <a:pt x="555" y="230"/>
                  </a:lnTo>
                  <a:lnTo>
                    <a:pt x="555" y="230"/>
                  </a:lnTo>
                  <a:lnTo>
                    <a:pt x="557" y="228"/>
                  </a:lnTo>
                  <a:lnTo>
                    <a:pt x="557" y="224"/>
                  </a:lnTo>
                  <a:lnTo>
                    <a:pt x="559" y="221"/>
                  </a:lnTo>
                  <a:lnTo>
                    <a:pt x="559" y="221"/>
                  </a:lnTo>
                  <a:lnTo>
                    <a:pt x="559" y="221"/>
                  </a:lnTo>
                  <a:lnTo>
                    <a:pt x="563" y="221"/>
                  </a:lnTo>
                  <a:lnTo>
                    <a:pt x="567" y="217"/>
                  </a:lnTo>
                  <a:lnTo>
                    <a:pt x="573" y="215"/>
                  </a:lnTo>
                  <a:lnTo>
                    <a:pt x="573" y="215"/>
                  </a:lnTo>
                  <a:lnTo>
                    <a:pt x="575" y="213"/>
                  </a:lnTo>
                  <a:lnTo>
                    <a:pt x="575" y="213"/>
                  </a:lnTo>
                  <a:lnTo>
                    <a:pt x="575" y="213"/>
                  </a:lnTo>
                  <a:lnTo>
                    <a:pt x="575" y="211"/>
                  </a:lnTo>
                  <a:lnTo>
                    <a:pt x="575" y="211"/>
                  </a:lnTo>
                  <a:lnTo>
                    <a:pt x="575" y="209"/>
                  </a:lnTo>
                  <a:lnTo>
                    <a:pt x="575" y="209"/>
                  </a:lnTo>
                  <a:lnTo>
                    <a:pt x="575" y="209"/>
                  </a:lnTo>
                  <a:lnTo>
                    <a:pt x="573" y="207"/>
                  </a:lnTo>
                  <a:lnTo>
                    <a:pt x="575" y="205"/>
                  </a:lnTo>
                  <a:lnTo>
                    <a:pt x="575" y="205"/>
                  </a:lnTo>
                  <a:lnTo>
                    <a:pt x="577" y="203"/>
                  </a:lnTo>
                  <a:lnTo>
                    <a:pt x="583" y="197"/>
                  </a:lnTo>
                  <a:lnTo>
                    <a:pt x="585" y="197"/>
                  </a:lnTo>
                  <a:lnTo>
                    <a:pt x="585" y="197"/>
                  </a:lnTo>
                  <a:lnTo>
                    <a:pt x="585" y="197"/>
                  </a:lnTo>
                  <a:lnTo>
                    <a:pt x="585" y="195"/>
                  </a:lnTo>
                  <a:lnTo>
                    <a:pt x="585" y="195"/>
                  </a:lnTo>
                  <a:lnTo>
                    <a:pt x="585" y="195"/>
                  </a:lnTo>
                  <a:lnTo>
                    <a:pt x="585" y="193"/>
                  </a:lnTo>
                  <a:lnTo>
                    <a:pt x="585" y="191"/>
                  </a:lnTo>
                  <a:lnTo>
                    <a:pt x="583" y="189"/>
                  </a:lnTo>
                  <a:lnTo>
                    <a:pt x="585" y="189"/>
                  </a:lnTo>
                  <a:lnTo>
                    <a:pt x="585" y="187"/>
                  </a:lnTo>
                  <a:lnTo>
                    <a:pt x="590" y="183"/>
                  </a:lnTo>
                  <a:lnTo>
                    <a:pt x="598" y="176"/>
                  </a:lnTo>
                  <a:lnTo>
                    <a:pt x="604" y="172"/>
                  </a:lnTo>
                  <a:lnTo>
                    <a:pt x="610" y="168"/>
                  </a:lnTo>
                  <a:lnTo>
                    <a:pt x="612" y="168"/>
                  </a:lnTo>
                  <a:lnTo>
                    <a:pt x="618" y="160"/>
                  </a:lnTo>
                  <a:lnTo>
                    <a:pt x="626" y="152"/>
                  </a:lnTo>
                  <a:lnTo>
                    <a:pt x="631" y="146"/>
                  </a:lnTo>
                  <a:lnTo>
                    <a:pt x="637" y="139"/>
                  </a:lnTo>
                  <a:lnTo>
                    <a:pt x="641" y="133"/>
                  </a:lnTo>
                  <a:lnTo>
                    <a:pt x="639" y="133"/>
                  </a:lnTo>
                  <a:close/>
                  <a:moveTo>
                    <a:pt x="4" y="322"/>
                  </a:moveTo>
                  <a:lnTo>
                    <a:pt x="0" y="324"/>
                  </a:lnTo>
                  <a:lnTo>
                    <a:pt x="0" y="328"/>
                  </a:lnTo>
                  <a:lnTo>
                    <a:pt x="2" y="328"/>
                  </a:lnTo>
                  <a:lnTo>
                    <a:pt x="2" y="330"/>
                  </a:lnTo>
                  <a:lnTo>
                    <a:pt x="8" y="328"/>
                  </a:lnTo>
                  <a:lnTo>
                    <a:pt x="8" y="328"/>
                  </a:lnTo>
                  <a:lnTo>
                    <a:pt x="6" y="324"/>
                  </a:lnTo>
                  <a:lnTo>
                    <a:pt x="4" y="322"/>
                  </a:lnTo>
                  <a:close/>
                </a:path>
              </a:pathLst>
            </a:custGeom>
            <a:solidFill>
              <a:schemeClr val="accent1">
                <a:lumMod val="60000"/>
                <a:lumOff val="40000"/>
              </a:schemeClr>
            </a:solidFill>
            <a:ln w="3175" cap="rnd">
              <a:solidFill>
                <a:schemeClr val="bg1"/>
              </a:solidFill>
              <a:prstDash val="solid"/>
              <a:round/>
              <a:headEnd/>
              <a:tailEnd/>
            </a:ln>
          </p:spPr>
          <p:txBody>
            <a:bodyPr vert="horz" wrap="square" lIns="144000" tIns="9600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KY</a:t>
              </a:r>
            </a:p>
          </p:txBody>
        </p:sp>
        <p:sp>
          <p:nvSpPr>
            <p:cNvPr id="98" name="Freeform 39">
              <a:extLst>
                <a:ext uri="{FF2B5EF4-FFF2-40B4-BE49-F238E27FC236}">
                  <a16:creationId xmlns:a16="http://schemas.microsoft.com/office/drawing/2014/main" id="{4506A7D2-B8E7-6BAB-DF97-2466EAA83347}"/>
                </a:ext>
              </a:extLst>
            </p:cNvPr>
            <p:cNvSpPr>
              <a:spLocks/>
            </p:cNvSpPr>
            <p:nvPr/>
          </p:nvSpPr>
          <p:spPr bwMode="auto">
            <a:xfrm>
              <a:off x="2551" y="1113"/>
              <a:ext cx="641" cy="330"/>
            </a:xfrm>
            <a:custGeom>
              <a:avLst/>
              <a:gdLst>
                <a:gd name="T0" fmla="*/ 582 w 641"/>
                <a:gd name="T1" fmla="*/ 322 h 330"/>
                <a:gd name="T2" fmla="*/ 502 w 641"/>
                <a:gd name="T3" fmla="*/ 326 h 330"/>
                <a:gd name="T4" fmla="*/ 420 w 641"/>
                <a:gd name="T5" fmla="*/ 328 h 330"/>
                <a:gd name="T6" fmla="*/ 340 w 641"/>
                <a:gd name="T7" fmla="*/ 330 h 330"/>
                <a:gd name="T8" fmla="*/ 260 w 641"/>
                <a:gd name="T9" fmla="*/ 330 h 330"/>
                <a:gd name="T10" fmla="*/ 181 w 641"/>
                <a:gd name="T11" fmla="*/ 330 h 330"/>
                <a:gd name="T12" fmla="*/ 101 w 641"/>
                <a:gd name="T13" fmla="*/ 330 h 330"/>
                <a:gd name="T14" fmla="*/ 21 w 641"/>
                <a:gd name="T15" fmla="*/ 330 h 330"/>
                <a:gd name="T16" fmla="*/ 0 w 641"/>
                <a:gd name="T17" fmla="*/ 299 h 330"/>
                <a:gd name="T18" fmla="*/ 2 w 641"/>
                <a:gd name="T19" fmla="*/ 258 h 330"/>
                <a:gd name="T20" fmla="*/ 2 w 641"/>
                <a:gd name="T21" fmla="*/ 219 h 330"/>
                <a:gd name="T22" fmla="*/ 2 w 641"/>
                <a:gd name="T23" fmla="*/ 178 h 330"/>
                <a:gd name="T24" fmla="*/ 2 w 641"/>
                <a:gd name="T25" fmla="*/ 137 h 330"/>
                <a:gd name="T26" fmla="*/ 4 w 641"/>
                <a:gd name="T27" fmla="*/ 98 h 330"/>
                <a:gd name="T28" fmla="*/ 4 w 641"/>
                <a:gd name="T29" fmla="*/ 57 h 330"/>
                <a:gd name="T30" fmla="*/ 4 w 641"/>
                <a:gd name="T31" fmla="*/ 18 h 330"/>
                <a:gd name="T32" fmla="*/ 58 w 641"/>
                <a:gd name="T33" fmla="*/ 8 h 330"/>
                <a:gd name="T34" fmla="*/ 127 w 641"/>
                <a:gd name="T35" fmla="*/ 8 h 330"/>
                <a:gd name="T36" fmla="*/ 199 w 641"/>
                <a:gd name="T37" fmla="*/ 8 h 330"/>
                <a:gd name="T38" fmla="*/ 269 w 641"/>
                <a:gd name="T39" fmla="*/ 8 h 330"/>
                <a:gd name="T40" fmla="*/ 338 w 641"/>
                <a:gd name="T41" fmla="*/ 8 h 330"/>
                <a:gd name="T42" fmla="*/ 410 w 641"/>
                <a:gd name="T43" fmla="*/ 6 h 330"/>
                <a:gd name="T44" fmla="*/ 480 w 641"/>
                <a:gd name="T45" fmla="*/ 4 h 330"/>
                <a:gd name="T46" fmla="*/ 549 w 641"/>
                <a:gd name="T47" fmla="*/ 2 h 330"/>
                <a:gd name="T48" fmla="*/ 574 w 641"/>
                <a:gd name="T49" fmla="*/ 6 h 330"/>
                <a:gd name="T50" fmla="*/ 578 w 641"/>
                <a:gd name="T51" fmla="*/ 8 h 330"/>
                <a:gd name="T52" fmla="*/ 580 w 641"/>
                <a:gd name="T53" fmla="*/ 10 h 330"/>
                <a:gd name="T54" fmla="*/ 586 w 641"/>
                <a:gd name="T55" fmla="*/ 14 h 330"/>
                <a:gd name="T56" fmla="*/ 594 w 641"/>
                <a:gd name="T57" fmla="*/ 10 h 330"/>
                <a:gd name="T58" fmla="*/ 598 w 641"/>
                <a:gd name="T59" fmla="*/ 12 h 330"/>
                <a:gd name="T60" fmla="*/ 605 w 641"/>
                <a:gd name="T61" fmla="*/ 16 h 330"/>
                <a:gd name="T62" fmla="*/ 605 w 641"/>
                <a:gd name="T63" fmla="*/ 22 h 330"/>
                <a:gd name="T64" fmla="*/ 607 w 641"/>
                <a:gd name="T65" fmla="*/ 26 h 330"/>
                <a:gd name="T66" fmla="*/ 598 w 641"/>
                <a:gd name="T67" fmla="*/ 26 h 330"/>
                <a:gd name="T68" fmla="*/ 596 w 641"/>
                <a:gd name="T69" fmla="*/ 33 h 330"/>
                <a:gd name="T70" fmla="*/ 590 w 641"/>
                <a:gd name="T71" fmla="*/ 39 h 330"/>
                <a:gd name="T72" fmla="*/ 590 w 641"/>
                <a:gd name="T73" fmla="*/ 45 h 330"/>
                <a:gd name="T74" fmla="*/ 586 w 641"/>
                <a:gd name="T75" fmla="*/ 49 h 330"/>
                <a:gd name="T76" fmla="*/ 592 w 641"/>
                <a:gd name="T77" fmla="*/ 53 h 330"/>
                <a:gd name="T78" fmla="*/ 596 w 641"/>
                <a:gd name="T79" fmla="*/ 59 h 330"/>
                <a:gd name="T80" fmla="*/ 602 w 641"/>
                <a:gd name="T81" fmla="*/ 63 h 330"/>
                <a:gd name="T82" fmla="*/ 607 w 641"/>
                <a:gd name="T83" fmla="*/ 76 h 330"/>
                <a:gd name="T84" fmla="*/ 613 w 641"/>
                <a:gd name="T85" fmla="*/ 82 h 330"/>
                <a:gd name="T86" fmla="*/ 621 w 641"/>
                <a:gd name="T87" fmla="*/ 86 h 330"/>
                <a:gd name="T88" fmla="*/ 627 w 641"/>
                <a:gd name="T89" fmla="*/ 86 h 330"/>
                <a:gd name="T90" fmla="*/ 629 w 641"/>
                <a:gd name="T91" fmla="*/ 88 h 330"/>
                <a:gd name="T92" fmla="*/ 629 w 641"/>
                <a:gd name="T93" fmla="*/ 90 h 330"/>
                <a:gd name="T94" fmla="*/ 631 w 641"/>
                <a:gd name="T95" fmla="*/ 92 h 330"/>
                <a:gd name="T96" fmla="*/ 633 w 641"/>
                <a:gd name="T97" fmla="*/ 141 h 330"/>
                <a:gd name="T98" fmla="*/ 635 w 641"/>
                <a:gd name="T99" fmla="*/ 197 h 330"/>
                <a:gd name="T100" fmla="*/ 637 w 641"/>
                <a:gd name="T101" fmla="*/ 250 h 330"/>
                <a:gd name="T102" fmla="*/ 641 w 641"/>
                <a:gd name="T103" fmla="*/ 30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1" h="330">
                  <a:moveTo>
                    <a:pt x="641" y="320"/>
                  </a:moveTo>
                  <a:lnTo>
                    <a:pt x="621" y="320"/>
                  </a:lnTo>
                  <a:lnTo>
                    <a:pt x="600" y="322"/>
                  </a:lnTo>
                  <a:lnTo>
                    <a:pt x="582" y="322"/>
                  </a:lnTo>
                  <a:lnTo>
                    <a:pt x="562" y="324"/>
                  </a:lnTo>
                  <a:lnTo>
                    <a:pt x="541" y="324"/>
                  </a:lnTo>
                  <a:lnTo>
                    <a:pt x="521" y="324"/>
                  </a:lnTo>
                  <a:lnTo>
                    <a:pt x="502" y="326"/>
                  </a:lnTo>
                  <a:lnTo>
                    <a:pt x="482" y="326"/>
                  </a:lnTo>
                  <a:lnTo>
                    <a:pt x="461" y="326"/>
                  </a:lnTo>
                  <a:lnTo>
                    <a:pt x="441" y="328"/>
                  </a:lnTo>
                  <a:lnTo>
                    <a:pt x="420" y="328"/>
                  </a:lnTo>
                  <a:lnTo>
                    <a:pt x="402" y="328"/>
                  </a:lnTo>
                  <a:lnTo>
                    <a:pt x="381" y="328"/>
                  </a:lnTo>
                  <a:lnTo>
                    <a:pt x="361" y="330"/>
                  </a:lnTo>
                  <a:lnTo>
                    <a:pt x="340" y="330"/>
                  </a:lnTo>
                  <a:lnTo>
                    <a:pt x="322" y="330"/>
                  </a:lnTo>
                  <a:lnTo>
                    <a:pt x="301" y="330"/>
                  </a:lnTo>
                  <a:lnTo>
                    <a:pt x="281" y="330"/>
                  </a:lnTo>
                  <a:lnTo>
                    <a:pt x="260" y="330"/>
                  </a:lnTo>
                  <a:lnTo>
                    <a:pt x="240" y="330"/>
                  </a:lnTo>
                  <a:lnTo>
                    <a:pt x="222" y="330"/>
                  </a:lnTo>
                  <a:lnTo>
                    <a:pt x="201" y="330"/>
                  </a:lnTo>
                  <a:lnTo>
                    <a:pt x="181" y="330"/>
                  </a:lnTo>
                  <a:lnTo>
                    <a:pt x="160" y="330"/>
                  </a:lnTo>
                  <a:lnTo>
                    <a:pt x="140" y="330"/>
                  </a:lnTo>
                  <a:lnTo>
                    <a:pt x="121" y="330"/>
                  </a:lnTo>
                  <a:lnTo>
                    <a:pt x="101" y="330"/>
                  </a:lnTo>
                  <a:lnTo>
                    <a:pt x="80" y="330"/>
                  </a:lnTo>
                  <a:lnTo>
                    <a:pt x="60" y="330"/>
                  </a:lnTo>
                  <a:lnTo>
                    <a:pt x="41" y="330"/>
                  </a:lnTo>
                  <a:lnTo>
                    <a:pt x="21" y="330"/>
                  </a:lnTo>
                  <a:lnTo>
                    <a:pt x="0" y="330"/>
                  </a:lnTo>
                  <a:lnTo>
                    <a:pt x="0" y="320"/>
                  </a:lnTo>
                  <a:lnTo>
                    <a:pt x="0" y="309"/>
                  </a:lnTo>
                  <a:lnTo>
                    <a:pt x="0" y="299"/>
                  </a:lnTo>
                  <a:lnTo>
                    <a:pt x="0" y="289"/>
                  </a:lnTo>
                  <a:lnTo>
                    <a:pt x="0" y="279"/>
                  </a:lnTo>
                  <a:lnTo>
                    <a:pt x="0" y="268"/>
                  </a:lnTo>
                  <a:lnTo>
                    <a:pt x="2" y="258"/>
                  </a:lnTo>
                  <a:lnTo>
                    <a:pt x="2" y="248"/>
                  </a:lnTo>
                  <a:lnTo>
                    <a:pt x="2" y="238"/>
                  </a:lnTo>
                  <a:lnTo>
                    <a:pt x="2" y="227"/>
                  </a:lnTo>
                  <a:lnTo>
                    <a:pt x="2" y="219"/>
                  </a:lnTo>
                  <a:lnTo>
                    <a:pt x="2" y="209"/>
                  </a:lnTo>
                  <a:lnTo>
                    <a:pt x="2" y="199"/>
                  </a:lnTo>
                  <a:lnTo>
                    <a:pt x="2" y="188"/>
                  </a:lnTo>
                  <a:lnTo>
                    <a:pt x="2" y="178"/>
                  </a:lnTo>
                  <a:lnTo>
                    <a:pt x="2" y="168"/>
                  </a:lnTo>
                  <a:lnTo>
                    <a:pt x="2" y="158"/>
                  </a:lnTo>
                  <a:lnTo>
                    <a:pt x="2" y="147"/>
                  </a:lnTo>
                  <a:lnTo>
                    <a:pt x="2" y="137"/>
                  </a:lnTo>
                  <a:lnTo>
                    <a:pt x="2" y="127"/>
                  </a:lnTo>
                  <a:lnTo>
                    <a:pt x="4" y="119"/>
                  </a:lnTo>
                  <a:lnTo>
                    <a:pt x="4" y="108"/>
                  </a:lnTo>
                  <a:lnTo>
                    <a:pt x="4" y="98"/>
                  </a:lnTo>
                  <a:lnTo>
                    <a:pt x="4" y="88"/>
                  </a:lnTo>
                  <a:lnTo>
                    <a:pt x="4" y="78"/>
                  </a:lnTo>
                  <a:lnTo>
                    <a:pt x="4" y="67"/>
                  </a:lnTo>
                  <a:lnTo>
                    <a:pt x="4" y="57"/>
                  </a:lnTo>
                  <a:lnTo>
                    <a:pt x="4" y="47"/>
                  </a:lnTo>
                  <a:lnTo>
                    <a:pt x="4" y="37"/>
                  </a:lnTo>
                  <a:lnTo>
                    <a:pt x="4" y="26"/>
                  </a:lnTo>
                  <a:lnTo>
                    <a:pt x="4" y="18"/>
                  </a:lnTo>
                  <a:lnTo>
                    <a:pt x="4" y="8"/>
                  </a:lnTo>
                  <a:lnTo>
                    <a:pt x="23" y="8"/>
                  </a:lnTo>
                  <a:lnTo>
                    <a:pt x="41" y="8"/>
                  </a:lnTo>
                  <a:lnTo>
                    <a:pt x="58" y="8"/>
                  </a:lnTo>
                  <a:lnTo>
                    <a:pt x="76" y="8"/>
                  </a:lnTo>
                  <a:lnTo>
                    <a:pt x="93" y="8"/>
                  </a:lnTo>
                  <a:lnTo>
                    <a:pt x="111" y="8"/>
                  </a:lnTo>
                  <a:lnTo>
                    <a:pt x="127" y="8"/>
                  </a:lnTo>
                  <a:lnTo>
                    <a:pt x="146" y="8"/>
                  </a:lnTo>
                  <a:lnTo>
                    <a:pt x="164" y="8"/>
                  </a:lnTo>
                  <a:lnTo>
                    <a:pt x="181" y="8"/>
                  </a:lnTo>
                  <a:lnTo>
                    <a:pt x="199" y="8"/>
                  </a:lnTo>
                  <a:lnTo>
                    <a:pt x="215" y="8"/>
                  </a:lnTo>
                  <a:lnTo>
                    <a:pt x="234" y="8"/>
                  </a:lnTo>
                  <a:lnTo>
                    <a:pt x="250" y="8"/>
                  </a:lnTo>
                  <a:lnTo>
                    <a:pt x="269" y="8"/>
                  </a:lnTo>
                  <a:lnTo>
                    <a:pt x="287" y="8"/>
                  </a:lnTo>
                  <a:lnTo>
                    <a:pt x="303" y="8"/>
                  </a:lnTo>
                  <a:lnTo>
                    <a:pt x="322" y="8"/>
                  </a:lnTo>
                  <a:lnTo>
                    <a:pt x="338" y="8"/>
                  </a:lnTo>
                  <a:lnTo>
                    <a:pt x="357" y="8"/>
                  </a:lnTo>
                  <a:lnTo>
                    <a:pt x="373" y="6"/>
                  </a:lnTo>
                  <a:lnTo>
                    <a:pt x="392" y="6"/>
                  </a:lnTo>
                  <a:lnTo>
                    <a:pt x="410" y="6"/>
                  </a:lnTo>
                  <a:lnTo>
                    <a:pt x="426" y="6"/>
                  </a:lnTo>
                  <a:lnTo>
                    <a:pt x="445" y="6"/>
                  </a:lnTo>
                  <a:lnTo>
                    <a:pt x="461" y="4"/>
                  </a:lnTo>
                  <a:lnTo>
                    <a:pt x="480" y="4"/>
                  </a:lnTo>
                  <a:lnTo>
                    <a:pt x="498" y="4"/>
                  </a:lnTo>
                  <a:lnTo>
                    <a:pt x="514" y="2"/>
                  </a:lnTo>
                  <a:lnTo>
                    <a:pt x="533" y="2"/>
                  </a:lnTo>
                  <a:lnTo>
                    <a:pt x="549" y="2"/>
                  </a:lnTo>
                  <a:lnTo>
                    <a:pt x="568" y="0"/>
                  </a:lnTo>
                  <a:lnTo>
                    <a:pt x="572" y="4"/>
                  </a:lnTo>
                  <a:lnTo>
                    <a:pt x="574" y="6"/>
                  </a:lnTo>
                  <a:lnTo>
                    <a:pt x="574" y="6"/>
                  </a:lnTo>
                  <a:lnTo>
                    <a:pt x="576" y="6"/>
                  </a:lnTo>
                  <a:lnTo>
                    <a:pt x="576" y="8"/>
                  </a:lnTo>
                  <a:lnTo>
                    <a:pt x="576" y="8"/>
                  </a:lnTo>
                  <a:lnTo>
                    <a:pt x="578" y="8"/>
                  </a:lnTo>
                  <a:lnTo>
                    <a:pt x="578" y="10"/>
                  </a:lnTo>
                  <a:lnTo>
                    <a:pt x="578" y="10"/>
                  </a:lnTo>
                  <a:lnTo>
                    <a:pt x="580" y="10"/>
                  </a:lnTo>
                  <a:lnTo>
                    <a:pt x="580" y="10"/>
                  </a:lnTo>
                  <a:lnTo>
                    <a:pt x="582" y="10"/>
                  </a:lnTo>
                  <a:lnTo>
                    <a:pt x="582" y="12"/>
                  </a:lnTo>
                  <a:lnTo>
                    <a:pt x="584" y="14"/>
                  </a:lnTo>
                  <a:lnTo>
                    <a:pt x="586" y="14"/>
                  </a:lnTo>
                  <a:lnTo>
                    <a:pt x="588" y="14"/>
                  </a:lnTo>
                  <a:lnTo>
                    <a:pt x="590" y="12"/>
                  </a:lnTo>
                  <a:lnTo>
                    <a:pt x="592" y="10"/>
                  </a:lnTo>
                  <a:lnTo>
                    <a:pt x="594" y="10"/>
                  </a:lnTo>
                  <a:lnTo>
                    <a:pt x="596" y="10"/>
                  </a:lnTo>
                  <a:lnTo>
                    <a:pt x="598" y="10"/>
                  </a:lnTo>
                  <a:lnTo>
                    <a:pt x="598" y="10"/>
                  </a:lnTo>
                  <a:lnTo>
                    <a:pt x="598" y="12"/>
                  </a:lnTo>
                  <a:lnTo>
                    <a:pt x="598" y="12"/>
                  </a:lnTo>
                  <a:lnTo>
                    <a:pt x="598" y="14"/>
                  </a:lnTo>
                  <a:lnTo>
                    <a:pt x="600" y="14"/>
                  </a:lnTo>
                  <a:lnTo>
                    <a:pt x="605" y="16"/>
                  </a:lnTo>
                  <a:lnTo>
                    <a:pt x="605" y="18"/>
                  </a:lnTo>
                  <a:lnTo>
                    <a:pt x="605" y="18"/>
                  </a:lnTo>
                  <a:lnTo>
                    <a:pt x="605" y="22"/>
                  </a:lnTo>
                  <a:lnTo>
                    <a:pt x="605" y="22"/>
                  </a:lnTo>
                  <a:lnTo>
                    <a:pt x="605" y="24"/>
                  </a:lnTo>
                  <a:lnTo>
                    <a:pt x="605" y="24"/>
                  </a:lnTo>
                  <a:lnTo>
                    <a:pt x="607" y="24"/>
                  </a:lnTo>
                  <a:lnTo>
                    <a:pt x="607" y="26"/>
                  </a:lnTo>
                  <a:lnTo>
                    <a:pt x="605" y="29"/>
                  </a:lnTo>
                  <a:lnTo>
                    <a:pt x="602" y="29"/>
                  </a:lnTo>
                  <a:lnTo>
                    <a:pt x="598" y="26"/>
                  </a:lnTo>
                  <a:lnTo>
                    <a:pt x="598" y="26"/>
                  </a:lnTo>
                  <a:lnTo>
                    <a:pt x="596" y="29"/>
                  </a:lnTo>
                  <a:lnTo>
                    <a:pt x="596" y="29"/>
                  </a:lnTo>
                  <a:lnTo>
                    <a:pt x="596" y="33"/>
                  </a:lnTo>
                  <a:lnTo>
                    <a:pt x="596" y="33"/>
                  </a:lnTo>
                  <a:lnTo>
                    <a:pt x="596" y="33"/>
                  </a:lnTo>
                  <a:lnTo>
                    <a:pt x="594" y="35"/>
                  </a:lnTo>
                  <a:lnTo>
                    <a:pt x="592" y="37"/>
                  </a:lnTo>
                  <a:lnTo>
                    <a:pt x="590" y="39"/>
                  </a:lnTo>
                  <a:lnTo>
                    <a:pt x="590" y="41"/>
                  </a:lnTo>
                  <a:lnTo>
                    <a:pt x="590" y="43"/>
                  </a:lnTo>
                  <a:lnTo>
                    <a:pt x="590" y="43"/>
                  </a:lnTo>
                  <a:lnTo>
                    <a:pt x="590" y="45"/>
                  </a:lnTo>
                  <a:lnTo>
                    <a:pt x="590" y="45"/>
                  </a:lnTo>
                  <a:lnTo>
                    <a:pt x="588" y="45"/>
                  </a:lnTo>
                  <a:lnTo>
                    <a:pt x="586" y="45"/>
                  </a:lnTo>
                  <a:lnTo>
                    <a:pt x="586" y="49"/>
                  </a:lnTo>
                  <a:lnTo>
                    <a:pt x="588" y="51"/>
                  </a:lnTo>
                  <a:lnTo>
                    <a:pt x="590" y="51"/>
                  </a:lnTo>
                  <a:lnTo>
                    <a:pt x="590" y="53"/>
                  </a:lnTo>
                  <a:lnTo>
                    <a:pt x="592" y="53"/>
                  </a:lnTo>
                  <a:lnTo>
                    <a:pt x="594" y="57"/>
                  </a:lnTo>
                  <a:lnTo>
                    <a:pt x="594" y="57"/>
                  </a:lnTo>
                  <a:lnTo>
                    <a:pt x="594" y="59"/>
                  </a:lnTo>
                  <a:lnTo>
                    <a:pt x="596" y="59"/>
                  </a:lnTo>
                  <a:lnTo>
                    <a:pt x="600" y="61"/>
                  </a:lnTo>
                  <a:lnTo>
                    <a:pt x="600" y="61"/>
                  </a:lnTo>
                  <a:lnTo>
                    <a:pt x="600" y="63"/>
                  </a:lnTo>
                  <a:lnTo>
                    <a:pt x="602" y="63"/>
                  </a:lnTo>
                  <a:lnTo>
                    <a:pt x="605" y="65"/>
                  </a:lnTo>
                  <a:lnTo>
                    <a:pt x="605" y="67"/>
                  </a:lnTo>
                  <a:lnTo>
                    <a:pt x="605" y="72"/>
                  </a:lnTo>
                  <a:lnTo>
                    <a:pt x="607" y="76"/>
                  </a:lnTo>
                  <a:lnTo>
                    <a:pt x="611" y="78"/>
                  </a:lnTo>
                  <a:lnTo>
                    <a:pt x="611" y="78"/>
                  </a:lnTo>
                  <a:lnTo>
                    <a:pt x="611" y="80"/>
                  </a:lnTo>
                  <a:lnTo>
                    <a:pt x="613" y="82"/>
                  </a:lnTo>
                  <a:lnTo>
                    <a:pt x="613" y="84"/>
                  </a:lnTo>
                  <a:lnTo>
                    <a:pt x="615" y="84"/>
                  </a:lnTo>
                  <a:lnTo>
                    <a:pt x="619" y="86"/>
                  </a:lnTo>
                  <a:lnTo>
                    <a:pt x="621" y="86"/>
                  </a:lnTo>
                  <a:lnTo>
                    <a:pt x="623" y="86"/>
                  </a:lnTo>
                  <a:lnTo>
                    <a:pt x="625" y="86"/>
                  </a:lnTo>
                  <a:lnTo>
                    <a:pt x="625" y="86"/>
                  </a:lnTo>
                  <a:lnTo>
                    <a:pt x="627" y="86"/>
                  </a:lnTo>
                  <a:lnTo>
                    <a:pt x="627" y="86"/>
                  </a:lnTo>
                  <a:lnTo>
                    <a:pt x="627" y="88"/>
                  </a:lnTo>
                  <a:lnTo>
                    <a:pt x="627" y="88"/>
                  </a:lnTo>
                  <a:lnTo>
                    <a:pt x="629" y="88"/>
                  </a:lnTo>
                  <a:lnTo>
                    <a:pt x="631" y="88"/>
                  </a:lnTo>
                  <a:lnTo>
                    <a:pt x="631" y="90"/>
                  </a:lnTo>
                  <a:lnTo>
                    <a:pt x="629" y="90"/>
                  </a:lnTo>
                  <a:lnTo>
                    <a:pt x="629" y="90"/>
                  </a:lnTo>
                  <a:lnTo>
                    <a:pt x="629" y="92"/>
                  </a:lnTo>
                  <a:lnTo>
                    <a:pt x="629" y="92"/>
                  </a:lnTo>
                  <a:lnTo>
                    <a:pt x="631" y="92"/>
                  </a:lnTo>
                  <a:lnTo>
                    <a:pt x="631" y="92"/>
                  </a:lnTo>
                  <a:lnTo>
                    <a:pt x="631" y="100"/>
                  </a:lnTo>
                  <a:lnTo>
                    <a:pt x="631" y="115"/>
                  </a:lnTo>
                  <a:lnTo>
                    <a:pt x="631" y="127"/>
                  </a:lnTo>
                  <a:lnTo>
                    <a:pt x="633" y="141"/>
                  </a:lnTo>
                  <a:lnTo>
                    <a:pt x="633" y="156"/>
                  </a:lnTo>
                  <a:lnTo>
                    <a:pt x="633" y="168"/>
                  </a:lnTo>
                  <a:lnTo>
                    <a:pt x="635" y="182"/>
                  </a:lnTo>
                  <a:lnTo>
                    <a:pt x="635" y="197"/>
                  </a:lnTo>
                  <a:lnTo>
                    <a:pt x="635" y="209"/>
                  </a:lnTo>
                  <a:lnTo>
                    <a:pt x="637" y="223"/>
                  </a:lnTo>
                  <a:lnTo>
                    <a:pt x="637" y="238"/>
                  </a:lnTo>
                  <a:lnTo>
                    <a:pt x="637" y="250"/>
                  </a:lnTo>
                  <a:lnTo>
                    <a:pt x="639" y="264"/>
                  </a:lnTo>
                  <a:lnTo>
                    <a:pt x="639" y="279"/>
                  </a:lnTo>
                  <a:lnTo>
                    <a:pt x="639" y="291"/>
                  </a:lnTo>
                  <a:lnTo>
                    <a:pt x="641" y="305"/>
                  </a:lnTo>
                  <a:lnTo>
                    <a:pt x="641" y="320"/>
                  </a:lnTo>
                  <a:lnTo>
                    <a:pt x="641" y="320"/>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KS</a:t>
              </a:r>
            </a:p>
          </p:txBody>
        </p:sp>
        <p:sp>
          <p:nvSpPr>
            <p:cNvPr id="99" name="Freeform 40">
              <a:extLst>
                <a:ext uri="{FF2B5EF4-FFF2-40B4-BE49-F238E27FC236}">
                  <a16:creationId xmlns:a16="http://schemas.microsoft.com/office/drawing/2014/main" id="{0DDB0C2A-BE2D-7C6F-D599-A4039422726D}"/>
                </a:ext>
              </a:extLst>
            </p:cNvPr>
            <p:cNvSpPr>
              <a:spLocks/>
            </p:cNvSpPr>
            <p:nvPr/>
          </p:nvSpPr>
          <p:spPr bwMode="auto">
            <a:xfrm>
              <a:off x="3748" y="848"/>
              <a:ext cx="269" cy="455"/>
            </a:xfrm>
            <a:custGeom>
              <a:avLst/>
              <a:gdLst>
                <a:gd name="T0" fmla="*/ 260 w 269"/>
                <a:gd name="T1" fmla="*/ 302 h 455"/>
                <a:gd name="T2" fmla="*/ 258 w 269"/>
                <a:gd name="T3" fmla="*/ 287 h 455"/>
                <a:gd name="T4" fmla="*/ 256 w 269"/>
                <a:gd name="T5" fmla="*/ 240 h 455"/>
                <a:gd name="T6" fmla="*/ 248 w 269"/>
                <a:gd name="T7" fmla="*/ 179 h 455"/>
                <a:gd name="T8" fmla="*/ 240 w 269"/>
                <a:gd name="T9" fmla="*/ 119 h 455"/>
                <a:gd name="T10" fmla="*/ 234 w 269"/>
                <a:gd name="T11" fmla="*/ 58 h 455"/>
                <a:gd name="T12" fmla="*/ 220 w 269"/>
                <a:gd name="T13" fmla="*/ 3 h 455"/>
                <a:gd name="T14" fmla="*/ 174 w 269"/>
                <a:gd name="T15" fmla="*/ 9 h 455"/>
                <a:gd name="T16" fmla="*/ 125 w 269"/>
                <a:gd name="T17" fmla="*/ 15 h 455"/>
                <a:gd name="T18" fmla="*/ 74 w 269"/>
                <a:gd name="T19" fmla="*/ 21 h 455"/>
                <a:gd name="T20" fmla="*/ 17 w 269"/>
                <a:gd name="T21" fmla="*/ 39 h 455"/>
                <a:gd name="T22" fmla="*/ 4 w 269"/>
                <a:gd name="T23" fmla="*/ 33 h 455"/>
                <a:gd name="T24" fmla="*/ 15 w 269"/>
                <a:gd name="T25" fmla="*/ 125 h 455"/>
                <a:gd name="T26" fmla="*/ 27 w 269"/>
                <a:gd name="T27" fmla="*/ 248 h 455"/>
                <a:gd name="T28" fmla="*/ 25 w 269"/>
                <a:gd name="T29" fmla="*/ 291 h 455"/>
                <a:gd name="T30" fmla="*/ 25 w 269"/>
                <a:gd name="T31" fmla="*/ 312 h 455"/>
                <a:gd name="T32" fmla="*/ 35 w 269"/>
                <a:gd name="T33" fmla="*/ 324 h 455"/>
                <a:gd name="T34" fmla="*/ 39 w 269"/>
                <a:gd name="T35" fmla="*/ 343 h 455"/>
                <a:gd name="T36" fmla="*/ 33 w 269"/>
                <a:gd name="T37" fmla="*/ 357 h 455"/>
                <a:gd name="T38" fmla="*/ 31 w 269"/>
                <a:gd name="T39" fmla="*/ 365 h 455"/>
                <a:gd name="T40" fmla="*/ 31 w 269"/>
                <a:gd name="T41" fmla="*/ 373 h 455"/>
                <a:gd name="T42" fmla="*/ 29 w 269"/>
                <a:gd name="T43" fmla="*/ 378 h 455"/>
                <a:gd name="T44" fmla="*/ 23 w 269"/>
                <a:gd name="T45" fmla="*/ 388 h 455"/>
                <a:gd name="T46" fmla="*/ 17 w 269"/>
                <a:gd name="T47" fmla="*/ 396 h 455"/>
                <a:gd name="T48" fmla="*/ 15 w 269"/>
                <a:gd name="T49" fmla="*/ 398 h 455"/>
                <a:gd name="T50" fmla="*/ 11 w 269"/>
                <a:gd name="T51" fmla="*/ 400 h 455"/>
                <a:gd name="T52" fmla="*/ 7 w 269"/>
                <a:gd name="T53" fmla="*/ 406 h 455"/>
                <a:gd name="T54" fmla="*/ 9 w 269"/>
                <a:gd name="T55" fmla="*/ 412 h 455"/>
                <a:gd name="T56" fmla="*/ 7 w 269"/>
                <a:gd name="T57" fmla="*/ 421 h 455"/>
                <a:gd name="T58" fmla="*/ 7 w 269"/>
                <a:gd name="T59" fmla="*/ 427 h 455"/>
                <a:gd name="T60" fmla="*/ 4 w 269"/>
                <a:gd name="T61" fmla="*/ 435 h 455"/>
                <a:gd name="T62" fmla="*/ 4 w 269"/>
                <a:gd name="T63" fmla="*/ 443 h 455"/>
                <a:gd name="T64" fmla="*/ 7 w 269"/>
                <a:gd name="T65" fmla="*/ 451 h 455"/>
                <a:gd name="T66" fmla="*/ 4 w 269"/>
                <a:gd name="T67" fmla="*/ 453 h 455"/>
                <a:gd name="T68" fmla="*/ 19 w 269"/>
                <a:gd name="T69" fmla="*/ 449 h 455"/>
                <a:gd name="T70" fmla="*/ 21 w 269"/>
                <a:gd name="T71" fmla="*/ 441 h 455"/>
                <a:gd name="T72" fmla="*/ 33 w 269"/>
                <a:gd name="T73" fmla="*/ 441 h 455"/>
                <a:gd name="T74" fmla="*/ 39 w 269"/>
                <a:gd name="T75" fmla="*/ 447 h 455"/>
                <a:gd name="T76" fmla="*/ 41 w 269"/>
                <a:gd name="T77" fmla="*/ 433 h 455"/>
                <a:gd name="T78" fmla="*/ 47 w 269"/>
                <a:gd name="T79" fmla="*/ 437 h 455"/>
                <a:gd name="T80" fmla="*/ 66 w 269"/>
                <a:gd name="T81" fmla="*/ 435 h 455"/>
                <a:gd name="T82" fmla="*/ 80 w 269"/>
                <a:gd name="T83" fmla="*/ 441 h 455"/>
                <a:gd name="T84" fmla="*/ 88 w 269"/>
                <a:gd name="T85" fmla="*/ 445 h 455"/>
                <a:gd name="T86" fmla="*/ 101 w 269"/>
                <a:gd name="T87" fmla="*/ 429 h 455"/>
                <a:gd name="T88" fmla="*/ 113 w 269"/>
                <a:gd name="T89" fmla="*/ 429 h 455"/>
                <a:gd name="T90" fmla="*/ 125 w 269"/>
                <a:gd name="T91" fmla="*/ 435 h 455"/>
                <a:gd name="T92" fmla="*/ 133 w 269"/>
                <a:gd name="T93" fmla="*/ 425 h 455"/>
                <a:gd name="T94" fmla="*/ 140 w 269"/>
                <a:gd name="T95" fmla="*/ 410 h 455"/>
                <a:gd name="T96" fmla="*/ 140 w 269"/>
                <a:gd name="T97" fmla="*/ 402 h 455"/>
                <a:gd name="T98" fmla="*/ 148 w 269"/>
                <a:gd name="T99" fmla="*/ 400 h 455"/>
                <a:gd name="T100" fmla="*/ 152 w 269"/>
                <a:gd name="T101" fmla="*/ 398 h 455"/>
                <a:gd name="T102" fmla="*/ 160 w 269"/>
                <a:gd name="T103" fmla="*/ 410 h 455"/>
                <a:gd name="T104" fmla="*/ 177 w 269"/>
                <a:gd name="T105" fmla="*/ 412 h 455"/>
                <a:gd name="T106" fmla="*/ 185 w 269"/>
                <a:gd name="T107" fmla="*/ 404 h 455"/>
                <a:gd name="T108" fmla="*/ 189 w 269"/>
                <a:gd name="T109" fmla="*/ 382 h 455"/>
                <a:gd name="T110" fmla="*/ 195 w 269"/>
                <a:gd name="T111" fmla="*/ 382 h 455"/>
                <a:gd name="T112" fmla="*/ 209 w 269"/>
                <a:gd name="T113" fmla="*/ 359 h 455"/>
                <a:gd name="T114" fmla="*/ 220 w 269"/>
                <a:gd name="T115" fmla="*/ 345 h 455"/>
                <a:gd name="T116" fmla="*/ 226 w 269"/>
                <a:gd name="T117" fmla="*/ 326 h 455"/>
                <a:gd name="T118" fmla="*/ 256 w 269"/>
                <a:gd name="T119" fmla="*/ 316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455">
                  <a:moveTo>
                    <a:pt x="267" y="308"/>
                  </a:moveTo>
                  <a:lnTo>
                    <a:pt x="269" y="306"/>
                  </a:lnTo>
                  <a:lnTo>
                    <a:pt x="269" y="304"/>
                  </a:lnTo>
                  <a:lnTo>
                    <a:pt x="267" y="304"/>
                  </a:lnTo>
                  <a:lnTo>
                    <a:pt x="263" y="304"/>
                  </a:lnTo>
                  <a:lnTo>
                    <a:pt x="260" y="304"/>
                  </a:lnTo>
                  <a:lnTo>
                    <a:pt x="260" y="302"/>
                  </a:lnTo>
                  <a:lnTo>
                    <a:pt x="260" y="302"/>
                  </a:lnTo>
                  <a:lnTo>
                    <a:pt x="263" y="298"/>
                  </a:lnTo>
                  <a:lnTo>
                    <a:pt x="265" y="296"/>
                  </a:lnTo>
                  <a:lnTo>
                    <a:pt x="263" y="294"/>
                  </a:lnTo>
                  <a:lnTo>
                    <a:pt x="263" y="291"/>
                  </a:lnTo>
                  <a:lnTo>
                    <a:pt x="258" y="289"/>
                  </a:lnTo>
                  <a:lnTo>
                    <a:pt x="258" y="287"/>
                  </a:lnTo>
                  <a:lnTo>
                    <a:pt x="260" y="283"/>
                  </a:lnTo>
                  <a:lnTo>
                    <a:pt x="263" y="283"/>
                  </a:lnTo>
                  <a:lnTo>
                    <a:pt x="260" y="273"/>
                  </a:lnTo>
                  <a:lnTo>
                    <a:pt x="260" y="265"/>
                  </a:lnTo>
                  <a:lnTo>
                    <a:pt x="258" y="257"/>
                  </a:lnTo>
                  <a:lnTo>
                    <a:pt x="258" y="248"/>
                  </a:lnTo>
                  <a:lnTo>
                    <a:pt x="256" y="240"/>
                  </a:lnTo>
                  <a:lnTo>
                    <a:pt x="254" y="230"/>
                  </a:lnTo>
                  <a:lnTo>
                    <a:pt x="254" y="222"/>
                  </a:lnTo>
                  <a:lnTo>
                    <a:pt x="252" y="214"/>
                  </a:lnTo>
                  <a:lnTo>
                    <a:pt x="252" y="205"/>
                  </a:lnTo>
                  <a:lnTo>
                    <a:pt x="250" y="197"/>
                  </a:lnTo>
                  <a:lnTo>
                    <a:pt x="250" y="187"/>
                  </a:lnTo>
                  <a:lnTo>
                    <a:pt x="248" y="179"/>
                  </a:lnTo>
                  <a:lnTo>
                    <a:pt x="248" y="171"/>
                  </a:lnTo>
                  <a:lnTo>
                    <a:pt x="246" y="162"/>
                  </a:lnTo>
                  <a:lnTo>
                    <a:pt x="246" y="154"/>
                  </a:lnTo>
                  <a:lnTo>
                    <a:pt x="244" y="144"/>
                  </a:lnTo>
                  <a:lnTo>
                    <a:pt x="244" y="136"/>
                  </a:lnTo>
                  <a:lnTo>
                    <a:pt x="242" y="128"/>
                  </a:lnTo>
                  <a:lnTo>
                    <a:pt x="240" y="119"/>
                  </a:lnTo>
                  <a:lnTo>
                    <a:pt x="240" y="111"/>
                  </a:lnTo>
                  <a:lnTo>
                    <a:pt x="238" y="101"/>
                  </a:lnTo>
                  <a:lnTo>
                    <a:pt x="238" y="93"/>
                  </a:lnTo>
                  <a:lnTo>
                    <a:pt x="236" y="85"/>
                  </a:lnTo>
                  <a:lnTo>
                    <a:pt x="236" y="76"/>
                  </a:lnTo>
                  <a:lnTo>
                    <a:pt x="234" y="68"/>
                  </a:lnTo>
                  <a:lnTo>
                    <a:pt x="234" y="58"/>
                  </a:lnTo>
                  <a:lnTo>
                    <a:pt x="232" y="50"/>
                  </a:lnTo>
                  <a:lnTo>
                    <a:pt x="232" y="41"/>
                  </a:lnTo>
                  <a:lnTo>
                    <a:pt x="228" y="25"/>
                  </a:lnTo>
                  <a:lnTo>
                    <a:pt x="228" y="15"/>
                  </a:lnTo>
                  <a:lnTo>
                    <a:pt x="226" y="7"/>
                  </a:lnTo>
                  <a:lnTo>
                    <a:pt x="226" y="0"/>
                  </a:lnTo>
                  <a:lnTo>
                    <a:pt x="220" y="3"/>
                  </a:lnTo>
                  <a:lnTo>
                    <a:pt x="213" y="3"/>
                  </a:lnTo>
                  <a:lnTo>
                    <a:pt x="207" y="5"/>
                  </a:lnTo>
                  <a:lnTo>
                    <a:pt x="201" y="5"/>
                  </a:lnTo>
                  <a:lnTo>
                    <a:pt x="195" y="5"/>
                  </a:lnTo>
                  <a:lnTo>
                    <a:pt x="187" y="7"/>
                  </a:lnTo>
                  <a:lnTo>
                    <a:pt x="181" y="7"/>
                  </a:lnTo>
                  <a:lnTo>
                    <a:pt x="174" y="9"/>
                  </a:lnTo>
                  <a:lnTo>
                    <a:pt x="168" y="9"/>
                  </a:lnTo>
                  <a:lnTo>
                    <a:pt x="162" y="9"/>
                  </a:lnTo>
                  <a:lnTo>
                    <a:pt x="156" y="11"/>
                  </a:lnTo>
                  <a:lnTo>
                    <a:pt x="150" y="11"/>
                  </a:lnTo>
                  <a:lnTo>
                    <a:pt x="144" y="13"/>
                  </a:lnTo>
                  <a:lnTo>
                    <a:pt x="131" y="13"/>
                  </a:lnTo>
                  <a:lnTo>
                    <a:pt x="125" y="15"/>
                  </a:lnTo>
                  <a:lnTo>
                    <a:pt x="119" y="15"/>
                  </a:lnTo>
                  <a:lnTo>
                    <a:pt x="111" y="17"/>
                  </a:lnTo>
                  <a:lnTo>
                    <a:pt x="105" y="17"/>
                  </a:lnTo>
                  <a:lnTo>
                    <a:pt x="93" y="19"/>
                  </a:lnTo>
                  <a:lnTo>
                    <a:pt x="86" y="19"/>
                  </a:lnTo>
                  <a:lnTo>
                    <a:pt x="80" y="19"/>
                  </a:lnTo>
                  <a:lnTo>
                    <a:pt x="74" y="21"/>
                  </a:lnTo>
                  <a:lnTo>
                    <a:pt x="68" y="21"/>
                  </a:lnTo>
                  <a:lnTo>
                    <a:pt x="62" y="23"/>
                  </a:lnTo>
                  <a:lnTo>
                    <a:pt x="60" y="23"/>
                  </a:lnTo>
                  <a:lnTo>
                    <a:pt x="45" y="33"/>
                  </a:lnTo>
                  <a:lnTo>
                    <a:pt x="31" y="39"/>
                  </a:lnTo>
                  <a:lnTo>
                    <a:pt x="23" y="41"/>
                  </a:lnTo>
                  <a:lnTo>
                    <a:pt x="17" y="39"/>
                  </a:lnTo>
                  <a:lnTo>
                    <a:pt x="15" y="39"/>
                  </a:lnTo>
                  <a:lnTo>
                    <a:pt x="13" y="39"/>
                  </a:lnTo>
                  <a:lnTo>
                    <a:pt x="13" y="37"/>
                  </a:lnTo>
                  <a:lnTo>
                    <a:pt x="13" y="35"/>
                  </a:lnTo>
                  <a:lnTo>
                    <a:pt x="9" y="37"/>
                  </a:lnTo>
                  <a:lnTo>
                    <a:pt x="7" y="35"/>
                  </a:lnTo>
                  <a:lnTo>
                    <a:pt x="4" y="33"/>
                  </a:lnTo>
                  <a:lnTo>
                    <a:pt x="4" y="33"/>
                  </a:lnTo>
                  <a:lnTo>
                    <a:pt x="7" y="50"/>
                  </a:lnTo>
                  <a:lnTo>
                    <a:pt x="7" y="64"/>
                  </a:lnTo>
                  <a:lnTo>
                    <a:pt x="9" y="78"/>
                  </a:lnTo>
                  <a:lnTo>
                    <a:pt x="11" y="95"/>
                  </a:lnTo>
                  <a:lnTo>
                    <a:pt x="13" y="109"/>
                  </a:lnTo>
                  <a:lnTo>
                    <a:pt x="15" y="125"/>
                  </a:lnTo>
                  <a:lnTo>
                    <a:pt x="15" y="140"/>
                  </a:lnTo>
                  <a:lnTo>
                    <a:pt x="17" y="156"/>
                  </a:lnTo>
                  <a:lnTo>
                    <a:pt x="19" y="171"/>
                  </a:lnTo>
                  <a:lnTo>
                    <a:pt x="21" y="187"/>
                  </a:lnTo>
                  <a:lnTo>
                    <a:pt x="23" y="201"/>
                  </a:lnTo>
                  <a:lnTo>
                    <a:pt x="25" y="232"/>
                  </a:lnTo>
                  <a:lnTo>
                    <a:pt x="27" y="248"/>
                  </a:lnTo>
                  <a:lnTo>
                    <a:pt x="29" y="263"/>
                  </a:lnTo>
                  <a:lnTo>
                    <a:pt x="31" y="279"/>
                  </a:lnTo>
                  <a:lnTo>
                    <a:pt x="31" y="283"/>
                  </a:lnTo>
                  <a:lnTo>
                    <a:pt x="31" y="283"/>
                  </a:lnTo>
                  <a:lnTo>
                    <a:pt x="27" y="287"/>
                  </a:lnTo>
                  <a:lnTo>
                    <a:pt x="25" y="287"/>
                  </a:lnTo>
                  <a:lnTo>
                    <a:pt x="25" y="291"/>
                  </a:lnTo>
                  <a:lnTo>
                    <a:pt x="25" y="291"/>
                  </a:lnTo>
                  <a:lnTo>
                    <a:pt x="27" y="296"/>
                  </a:lnTo>
                  <a:lnTo>
                    <a:pt x="27" y="300"/>
                  </a:lnTo>
                  <a:lnTo>
                    <a:pt x="23" y="306"/>
                  </a:lnTo>
                  <a:lnTo>
                    <a:pt x="23" y="310"/>
                  </a:lnTo>
                  <a:lnTo>
                    <a:pt x="23" y="312"/>
                  </a:lnTo>
                  <a:lnTo>
                    <a:pt x="25" y="312"/>
                  </a:lnTo>
                  <a:lnTo>
                    <a:pt x="25" y="312"/>
                  </a:lnTo>
                  <a:lnTo>
                    <a:pt x="29" y="314"/>
                  </a:lnTo>
                  <a:lnTo>
                    <a:pt x="29" y="316"/>
                  </a:lnTo>
                  <a:lnTo>
                    <a:pt x="31" y="320"/>
                  </a:lnTo>
                  <a:lnTo>
                    <a:pt x="31" y="322"/>
                  </a:lnTo>
                  <a:lnTo>
                    <a:pt x="33" y="322"/>
                  </a:lnTo>
                  <a:lnTo>
                    <a:pt x="35" y="324"/>
                  </a:lnTo>
                  <a:lnTo>
                    <a:pt x="35" y="326"/>
                  </a:lnTo>
                  <a:lnTo>
                    <a:pt x="37" y="330"/>
                  </a:lnTo>
                  <a:lnTo>
                    <a:pt x="35" y="332"/>
                  </a:lnTo>
                  <a:lnTo>
                    <a:pt x="35" y="332"/>
                  </a:lnTo>
                  <a:lnTo>
                    <a:pt x="35" y="335"/>
                  </a:lnTo>
                  <a:lnTo>
                    <a:pt x="37" y="339"/>
                  </a:lnTo>
                  <a:lnTo>
                    <a:pt x="39" y="343"/>
                  </a:lnTo>
                  <a:lnTo>
                    <a:pt x="39" y="347"/>
                  </a:lnTo>
                  <a:lnTo>
                    <a:pt x="39" y="355"/>
                  </a:lnTo>
                  <a:lnTo>
                    <a:pt x="37" y="355"/>
                  </a:lnTo>
                  <a:lnTo>
                    <a:pt x="37" y="355"/>
                  </a:lnTo>
                  <a:lnTo>
                    <a:pt x="35" y="355"/>
                  </a:lnTo>
                  <a:lnTo>
                    <a:pt x="35" y="357"/>
                  </a:lnTo>
                  <a:lnTo>
                    <a:pt x="33" y="357"/>
                  </a:lnTo>
                  <a:lnTo>
                    <a:pt x="33" y="359"/>
                  </a:lnTo>
                  <a:lnTo>
                    <a:pt x="33" y="361"/>
                  </a:lnTo>
                  <a:lnTo>
                    <a:pt x="33" y="363"/>
                  </a:lnTo>
                  <a:lnTo>
                    <a:pt x="33" y="363"/>
                  </a:lnTo>
                  <a:lnTo>
                    <a:pt x="33" y="365"/>
                  </a:lnTo>
                  <a:lnTo>
                    <a:pt x="33" y="365"/>
                  </a:lnTo>
                  <a:lnTo>
                    <a:pt x="31" y="365"/>
                  </a:lnTo>
                  <a:lnTo>
                    <a:pt x="33" y="365"/>
                  </a:lnTo>
                  <a:lnTo>
                    <a:pt x="31" y="365"/>
                  </a:lnTo>
                  <a:lnTo>
                    <a:pt x="31" y="367"/>
                  </a:lnTo>
                  <a:lnTo>
                    <a:pt x="29" y="367"/>
                  </a:lnTo>
                  <a:lnTo>
                    <a:pt x="29" y="369"/>
                  </a:lnTo>
                  <a:lnTo>
                    <a:pt x="29" y="371"/>
                  </a:lnTo>
                  <a:lnTo>
                    <a:pt x="31" y="373"/>
                  </a:lnTo>
                  <a:lnTo>
                    <a:pt x="31" y="376"/>
                  </a:lnTo>
                  <a:lnTo>
                    <a:pt x="31" y="376"/>
                  </a:lnTo>
                  <a:lnTo>
                    <a:pt x="31" y="376"/>
                  </a:lnTo>
                  <a:lnTo>
                    <a:pt x="31" y="376"/>
                  </a:lnTo>
                  <a:lnTo>
                    <a:pt x="29" y="376"/>
                  </a:lnTo>
                  <a:lnTo>
                    <a:pt x="29" y="376"/>
                  </a:lnTo>
                  <a:lnTo>
                    <a:pt x="29" y="378"/>
                  </a:lnTo>
                  <a:lnTo>
                    <a:pt x="27" y="378"/>
                  </a:lnTo>
                  <a:lnTo>
                    <a:pt x="25" y="380"/>
                  </a:lnTo>
                  <a:lnTo>
                    <a:pt x="23" y="382"/>
                  </a:lnTo>
                  <a:lnTo>
                    <a:pt x="23" y="382"/>
                  </a:lnTo>
                  <a:lnTo>
                    <a:pt x="25" y="384"/>
                  </a:lnTo>
                  <a:lnTo>
                    <a:pt x="25" y="386"/>
                  </a:lnTo>
                  <a:lnTo>
                    <a:pt x="23" y="388"/>
                  </a:lnTo>
                  <a:lnTo>
                    <a:pt x="21" y="390"/>
                  </a:lnTo>
                  <a:lnTo>
                    <a:pt x="21" y="390"/>
                  </a:lnTo>
                  <a:lnTo>
                    <a:pt x="19" y="390"/>
                  </a:lnTo>
                  <a:lnTo>
                    <a:pt x="19" y="392"/>
                  </a:lnTo>
                  <a:lnTo>
                    <a:pt x="19" y="392"/>
                  </a:lnTo>
                  <a:lnTo>
                    <a:pt x="19" y="394"/>
                  </a:lnTo>
                  <a:lnTo>
                    <a:pt x="17" y="396"/>
                  </a:lnTo>
                  <a:lnTo>
                    <a:pt x="17" y="398"/>
                  </a:lnTo>
                  <a:lnTo>
                    <a:pt x="17" y="398"/>
                  </a:lnTo>
                  <a:lnTo>
                    <a:pt x="17" y="400"/>
                  </a:lnTo>
                  <a:lnTo>
                    <a:pt x="17" y="400"/>
                  </a:lnTo>
                  <a:lnTo>
                    <a:pt x="17" y="400"/>
                  </a:lnTo>
                  <a:lnTo>
                    <a:pt x="15" y="398"/>
                  </a:lnTo>
                  <a:lnTo>
                    <a:pt x="15" y="398"/>
                  </a:lnTo>
                  <a:lnTo>
                    <a:pt x="15" y="398"/>
                  </a:lnTo>
                  <a:lnTo>
                    <a:pt x="15" y="398"/>
                  </a:lnTo>
                  <a:lnTo>
                    <a:pt x="13" y="398"/>
                  </a:lnTo>
                  <a:lnTo>
                    <a:pt x="13" y="400"/>
                  </a:lnTo>
                  <a:lnTo>
                    <a:pt x="13" y="402"/>
                  </a:lnTo>
                  <a:lnTo>
                    <a:pt x="13" y="402"/>
                  </a:lnTo>
                  <a:lnTo>
                    <a:pt x="11" y="400"/>
                  </a:lnTo>
                  <a:lnTo>
                    <a:pt x="11" y="400"/>
                  </a:lnTo>
                  <a:lnTo>
                    <a:pt x="9" y="400"/>
                  </a:lnTo>
                  <a:lnTo>
                    <a:pt x="9" y="402"/>
                  </a:lnTo>
                  <a:lnTo>
                    <a:pt x="9" y="404"/>
                  </a:lnTo>
                  <a:lnTo>
                    <a:pt x="9" y="404"/>
                  </a:lnTo>
                  <a:lnTo>
                    <a:pt x="7" y="406"/>
                  </a:lnTo>
                  <a:lnTo>
                    <a:pt x="7" y="406"/>
                  </a:lnTo>
                  <a:lnTo>
                    <a:pt x="7" y="408"/>
                  </a:lnTo>
                  <a:lnTo>
                    <a:pt x="7" y="408"/>
                  </a:lnTo>
                  <a:lnTo>
                    <a:pt x="7" y="410"/>
                  </a:lnTo>
                  <a:lnTo>
                    <a:pt x="7" y="410"/>
                  </a:lnTo>
                  <a:lnTo>
                    <a:pt x="7" y="410"/>
                  </a:lnTo>
                  <a:lnTo>
                    <a:pt x="9" y="412"/>
                  </a:lnTo>
                  <a:lnTo>
                    <a:pt x="9" y="412"/>
                  </a:lnTo>
                  <a:lnTo>
                    <a:pt x="11" y="414"/>
                  </a:lnTo>
                  <a:lnTo>
                    <a:pt x="11" y="414"/>
                  </a:lnTo>
                  <a:lnTo>
                    <a:pt x="11" y="416"/>
                  </a:lnTo>
                  <a:lnTo>
                    <a:pt x="11" y="416"/>
                  </a:lnTo>
                  <a:lnTo>
                    <a:pt x="9" y="419"/>
                  </a:lnTo>
                  <a:lnTo>
                    <a:pt x="9" y="419"/>
                  </a:lnTo>
                  <a:lnTo>
                    <a:pt x="7" y="421"/>
                  </a:lnTo>
                  <a:lnTo>
                    <a:pt x="4" y="423"/>
                  </a:lnTo>
                  <a:lnTo>
                    <a:pt x="7" y="423"/>
                  </a:lnTo>
                  <a:lnTo>
                    <a:pt x="9" y="423"/>
                  </a:lnTo>
                  <a:lnTo>
                    <a:pt x="11" y="423"/>
                  </a:lnTo>
                  <a:lnTo>
                    <a:pt x="9" y="425"/>
                  </a:lnTo>
                  <a:lnTo>
                    <a:pt x="7" y="425"/>
                  </a:lnTo>
                  <a:lnTo>
                    <a:pt x="7" y="427"/>
                  </a:lnTo>
                  <a:lnTo>
                    <a:pt x="4" y="427"/>
                  </a:lnTo>
                  <a:lnTo>
                    <a:pt x="2" y="427"/>
                  </a:lnTo>
                  <a:lnTo>
                    <a:pt x="4" y="429"/>
                  </a:lnTo>
                  <a:lnTo>
                    <a:pt x="4" y="431"/>
                  </a:lnTo>
                  <a:lnTo>
                    <a:pt x="4" y="433"/>
                  </a:lnTo>
                  <a:lnTo>
                    <a:pt x="4" y="433"/>
                  </a:lnTo>
                  <a:lnTo>
                    <a:pt x="4" y="435"/>
                  </a:lnTo>
                  <a:lnTo>
                    <a:pt x="4" y="437"/>
                  </a:lnTo>
                  <a:lnTo>
                    <a:pt x="4" y="437"/>
                  </a:lnTo>
                  <a:lnTo>
                    <a:pt x="4" y="439"/>
                  </a:lnTo>
                  <a:lnTo>
                    <a:pt x="4" y="441"/>
                  </a:lnTo>
                  <a:lnTo>
                    <a:pt x="4" y="441"/>
                  </a:lnTo>
                  <a:lnTo>
                    <a:pt x="7" y="443"/>
                  </a:lnTo>
                  <a:lnTo>
                    <a:pt x="4" y="443"/>
                  </a:lnTo>
                  <a:lnTo>
                    <a:pt x="4" y="445"/>
                  </a:lnTo>
                  <a:lnTo>
                    <a:pt x="2" y="445"/>
                  </a:lnTo>
                  <a:lnTo>
                    <a:pt x="0" y="445"/>
                  </a:lnTo>
                  <a:lnTo>
                    <a:pt x="0" y="445"/>
                  </a:lnTo>
                  <a:lnTo>
                    <a:pt x="7" y="449"/>
                  </a:lnTo>
                  <a:lnTo>
                    <a:pt x="7" y="451"/>
                  </a:lnTo>
                  <a:lnTo>
                    <a:pt x="7" y="451"/>
                  </a:lnTo>
                  <a:lnTo>
                    <a:pt x="4" y="451"/>
                  </a:lnTo>
                  <a:lnTo>
                    <a:pt x="2" y="451"/>
                  </a:lnTo>
                  <a:lnTo>
                    <a:pt x="2" y="451"/>
                  </a:lnTo>
                  <a:lnTo>
                    <a:pt x="2" y="451"/>
                  </a:lnTo>
                  <a:lnTo>
                    <a:pt x="2" y="453"/>
                  </a:lnTo>
                  <a:lnTo>
                    <a:pt x="2" y="453"/>
                  </a:lnTo>
                  <a:lnTo>
                    <a:pt x="4" y="453"/>
                  </a:lnTo>
                  <a:lnTo>
                    <a:pt x="7" y="453"/>
                  </a:lnTo>
                  <a:lnTo>
                    <a:pt x="9" y="453"/>
                  </a:lnTo>
                  <a:lnTo>
                    <a:pt x="11" y="453"/>
                  </a:lnTo>
                  <a:lnTo>
                    <a:pt x="13" y="455"/>
                  </a:lnTo>
                  <a:lnTo>
                    <a:pt x="15" y="455"/>
                  </a:lnTo>
                  <a:lnTo>
                    <a:pt x="15" y="455"/>
                  </a:lnTo>
                  <a:lnTo>
                    <a:pt x="19" y="449"/>
                  </a:lnTo>
                  <a:lnTo>
                    <a:pt x="15" y="443"/>
                  </a:lnTo>
                  <a:lnTo>
                    <a:pt x="15" y="443"/>
                  </a:lnTo>
                  <a:lnTo>
                    <a:pt x="15" y="439"/>
                  </a:lnTo>
                  <a:lnTo>
                    <a:pt x="17" y="439"/>
                  </a:lnTo>
                  <a:lnTo>
                    <a:pt x="19" y="439"/>
                  </a:lnTo>
                  <a:lnTo>
                    <a:pt x="21" y="441"/>
                  </a:lnTo>
                  <a:lnTo>
                    <a:pt x="21" y="441"/>
                  </a:lnTo>
                  <a:lnTo>
                    <a:pt x="23" y="443"/>
                  </a:lnTo>
                  <a:lnTo>
                    <a:pt x="25" y="443"/>
                  </a:lnTo>
                  <a:lnTo>
                    <a:pt x="27" y="443"/>
                  </a:lnTo>
                  <a:lnTo>
                    <a:pt x="29" y="443"/>
                  </a:lnTo>
                  <a:lnTo>
                    <a:pt x="31" y="441"/>
                  </a:lnTo>
                  <a:lnTo>
                    <a:pt x="33" y="441"/>
                  </a:lnTo>
                  <a:lnTo>
                    <a:pt x="33" y="441"/>
                  </a:lnTo>
                  <a:lnTo>
                    <a:pt x="35" y="439"/>
                  </a:lnTo>
                  <a:lnTo>
                    <a:pt x="35" y="439"/>
                  </a:lnTo>
                  <a:lnTo>
                    <a:pt x="37" y="441"/>
                  </a:lnTo>
                  <a:lnTo>
                    <a:pt x="37" y="441"/>
                  </a:lnTo>
                  <a:lnTo>
                    <a:pt x="37" y="445"/>
                  </a:lnTo>
                  <a:lnTo>
                    <a:pt x="37" y="447"/>
                  </a:lnTo>
                  <a:lnTo>
                    <a:pt x="39" y="447"/>
                  </a:lnTo>
                  <a:lnTo>
                    <a:pt x="41" y="447"/>
                  </a:lnTo>
                  <a:lnTo>
                    <a:pt x="43" y="443"/>
                  </a:lnTo>
                  <a:lnTo>
                    <a:pt x="43" y="441"/>
                  </a:lnTo>
                  <a:lnTo>
                    <a:pt x="43" y="439"/>
                  </a:lnTo>
                  <a:lnTo>
                    <a:pt x="41" y="435"/>
                  </a:lnTo>
                  <a:lnTo>
                    <a:pt x="41" y="433"/>
                  </a:lnTo>
                  <a:lnTo>
                    <a:pt x="41" y="433"/>
                  </a:lnTo>
                  <a:lnTo>
                    <a:pt x="41" y="431"/>
                  </a:lnTo>
                  <a:lnTo>
                    <a:pt x="41" y="431"/>
                  </a:lnTo>
                  <a:lnTo>
                    <a:pt x="43" y="431"/>
                  </a:lnTo>
                  <a:lnTo>
                    <a:pt x="43" y="433"/>
                  </a:lnTo>
                  <a:lnTo>
                    <a:pt x="43" y="433"/>
                  </a:lnTo>
                  <a:lnTo>
                    <a:pt x="43" y="435"/>
                  </a:lnTo>
                  <a:lnTo>
                    <a:pt x="47" y="437"/>
                  </a:lnTo>
                  <a:lnTo>
                    <a:pt x="52" y="437"/>
                  </a:lnTo>
                  <a:lnTo>
                    <a:pt x="54" y="435"/>
                  </a:lnTo>
                  <a:lnTo>
                    <a:pt x="58" y="433"/>
                  </a:lnTo>
                  <a:lnTo>
                    <a:pt x="60" y="433"/>
                  </a:lnTo>
                  <a:lnTo>
                    <a:pt x="62" y="433"/>
                  </a:lnTo>
                  <a:lnTo>
                    <a:pt x="64" y="435"/>
                  </a:lnTo>
                  <a:lnTo>
                    <a:pt x="66" y="435"/>
                  </a:lnTo>
                  <a:lnTo>
                    <a:pt x="66" y="437"/>
                  </a:lnTo>
                  <a:lnTo>
                    <a:pt x="72" y="439"/>
                  </a:lnTo>
                  <a:lnTo>
                    <a:pt x="76" y="439"/>
                  </a:lnTo>
                  <a:lnTo>
                    <a:pt x="76" y="441"/>
                  </a:lnTo>
                  <a:lnTo>
                    <a:pt x="78" y="441"/>
                  </a:lnTo>
                  <a:lnTo>
                    <a:pt x="80" y="441"/>
                  </a:lnTo>
                  <a:lnTo>
                    <a:pt x="80" y="441"/>
                  </a:lnTo>
                  <a:lnTo>
                    <a:pt x="82" y="441"/>
                  </a:lnTo>
                  <a:lnTo>
                    <a:pt x="82" y="443"/>
                  </a:lnTo>
                  <a:lnTo>
                    <a:pt x="82" y="443"/>
                  </a:lnTo>
                  <a:lnTo>
                    <a:pt x="84" y="445"/>
                  </a:lnTo>
                  <a:lnTo>
                    <a:pt x="84" y="445"/>
                  </a:lnTo>
                  <a:lnTo>
                    <a:pt x="86" y="447"/>
                  </a:lnTo>
                  <a:lnTo>
                    <a:pt x="88" y="445"/>
                  </a:lnTo>
                  <a:lnTo>
                    <a:pt x="88" y="441"/>
                  </a:lnTo>
                  <a:lnTo>
                    <a:pt x="90" y="435"/>
                  </a:lnTo>
                  <a:lnTo>
                    <a:pt x="93" y="433"/>
                  </a:lnTo>
                  <a:lnTo>
                    <a:pt x="93" y="431"/>
                  </a:lnTo>
                  <a:lnTo>
                    <a:pt x="93" y="431"/>
                  </a:lnTo>
                  <a:lnTo>
                    <a:pt x="95" y="429"/>
                  </a:lnTo>
                  <a:lnTo>
                    <a:pt x="101" y="429"/>
                  </a:lnTo>
                  <a:lnTo>
                    <a:pt x="101" y="429"/>
                  </a:lnTo>
                  <a:lnTo>
                    <a:pt x="103" y="427"/>
                  </a:lnTo>
                  <a:lnTo>
                    <a:pt x="105" y="423"/>
                  </a:lnTo>
                  <a:lnTo>
                    <a:pt x="109" y="421"/>
                  </a:lnTo>
                  <a:lnTo>
                    <a:pt x="111" y="423"/>
                  </a:lnTo>
                  <a:lnTo>
                    <a:pt x="111" y="427"/>
                  </a:lnTo>
                  <a:lnTo>
                    <a:pt x="113" y="429"/>
                  </a:lnTo>
                  <a:lnTo>
                    <a:pt x="117" y="431"/>
                  </a:lnTo>
                  <a:lnTo>
                    <a:pt x="119" y="431"/>
                  </a:lnTo>
                  <a:lnTo>
                    <a:pt x="123" y="429"/>
                  </a:lnTo>
                  <a:lnTo>
                    <a:pt x="125" y="429"/>
                  </a:lnTo>
                  <a:lnTo>
                    <a:pt x="123" y="433"/>
                  </a:lnTo>
                  <a:lnTo>
                    <a:pt x="123" y="433"/>
                  </a:lnTo>
                  <a:lnTo>
                    <a:pt x="125" y="435"/>
                  </a:lnTo>
                  <a:lnTo>
                    <a:pt x="127" y="435"/>
                  </a:lnTo>
                  <a:lnTo>
                    <a:pt x="129" y="433"/>
                  </a:lnTo>
                  <a:lnTo>
                    <a:pt x="129" y="431"/>
                  </a:lnTo>
                  <a:lnTo>
                    <a:pt x="129" y="429"/>
                  </a:lnTo>
                  <a:lnTo>
                    <a:pt x="129" y="427"/>
                  </a:lnTo>
                  <a:lnTo>
                    <a:pt x="133" y="425"/>
                  </a:lnTo>
                  <a:lnTo>
                    <a:pt x="133" y="425"/>
                  </a:lnTo>
                  <a:lnTo>
                    <a:pt x="133" y="423"/>
                  </a:lnTo>
                  <a:lnTo>
                    <a:pt x="133" y="416"/>
                  </a:lnTo>
                  <a:lnTo>
                    <a:pt x="133" y="414"/>
                  </a:lnTo>
                  <a:lnTo>
                    <a:pt x="133" y="412"/>
                  </a:lnTo>
                  <a:lnTo>
                    <a:pt x="136" y="412"/>
                  </a:lnTo>
                  <a:lnTo>
                    <a:pt x="138" y="410"/>
                  </a:lnTo>
                  <a:lnTo>
                    <a:pt x="140" y="410"/>
                  </a:lnTo>
                  <a:lnTo>
                    <a:pt x="140" y="408"/>
                  </a:lnTo>
                  <a:lnTo>
                    <a:pt x="140" y="406"/>
                  </a:lnTo>
                  <a:lnTo>
                    <a:pt x="138" y="404"/>
                  </a:lnTo>
                  <a:lnTo>
                    <a:pt x="138" y="404"/>
                  </a:lnTo>
                  <a:lnTo>
                    <a:pt x="138" y="402"/>
                  </a:lnTo>
                  <a:lnTo>
                    <a:pt x="138" y="402"/>
                  </a:lnTo>
                  <a:lnTo>
                    <a:pt x="140" y="402"/>
                  </a:lnTo>
                  <a:lnTo>
                    <a:pt x="140" y="404"/>
                  </a:lnTo>
                  <a:lnTo>
                    <a:pt x="140" y="404"/>
                  </a:lnTo>
                  <a:lnTo>
                    <a:pt x="142" y="404"/>
                  </a:lnTo>
                  <a:lnTo>
                    <a:pt x="144" y="404"/>
                  </a:lnTo>
                  <a:lnTo>
                    <a:pt x="146" y="402"/>
                  </a:lnTo>
                  <a:lnTo>
                    <a:pt x="148" y="400"/>
                  </a:lnTo>
                  <a:lnTo>
                    <a:pt x="148" y="400"/>
                  </a:lnTo>
                  <a:lnTo>
                    <a:pt x="146" y="400"/>
                  </a:lnTo>
                  <a:lnTo>
                    <a:pt x="144" y="398"/>
                  </a:lnTo>
                  <a:lnTo>
                    <a:pt x="142" y="396"/>
                  </a:lnTo>
                  <a:lnTo>
                    <a:pt x="144" y="396"/>
                  </a:lnTo>
                  <a:lnTo>
                    <a:pt x="146" y="396"/>
                  </a:lnTo>
                  <a:lnTo>
                    <a:pt x="146" y="396"/>
                  </a:lnTo>
                  <a:lnTo>
                    <a:pt x="152" y="398"/>
                  </a:lnTo>
                  <a:lnTo>
                    <a:pt x="152" y="400"/>
                  </a:lnTo>
                  <a:lnTo>
                    <a:pt x="152" y="404"/>
                  </a:lnTo>
                  <a:lnTo>
                    <a:pt x="152" y="406"/>
                  </a:lnTo>
                  <a:lnTo>
                    <a:pt x="154" y="408"/>
                  </a:lnTo>
                  <a:lnTo>
                    <a:pt x="156" y="408"/>
                  </a:lnTo>
                  <a:lnTo>
                    <a:pt x="158" y="410"/>
                  </a:lnTo>
                  <a:lnTo>
                    <a:pt x="160" y="410"/>
                  </a:lnTo>
                  <a:lnTo>
                    <a:pt x="162" y="412"/>
                  </a:lnTo>
                  <a:lnTo>
                    <a:pt x="166" y="412"/>
                  </a:lnTo>
                  <a:lnTo>
                    <a:pt x="168" y="412"/>
                  </a:lnTo>
                  <a:lnTo>
                    <a:pt x="172" y="414"/>
                  </a:lnTo>
                  <a:lnTo>
                    <a:pt x="174" y="416"/>
                  </a:lnTo>
                  <a:lnTo>
                    <a:pt x="174" y="414"/>
                  </a:lnTo>
                  <a:lnTo>
                    <a:pt x="177" y="412"/>
                  </a:lnTo>
                  <a:lnTo>
                    <a:pt x="177" y="412"/>
                  </a:lnTo>
                  <a:lnTo>
                    <a:pt x="181" y="410"/>
                  </a:lnTo>
                  <a:lnTo>
                    <a:pt x="183" y="410"/>
                  </a:lnTo>
                  <a:lnTo>
                    <a:pt x="183" y="410"/>
                  </a:lnTo>
                  <a:lnTo>
                    <a:pt x="183" y="408"/>
                  </a:lnTo>
                  <a:lnTo>
                    <a:pt x="185" y="408"/>
                  </a:lnTo>
                  <a:lnTo>
                    <a:pt x="185" y="404"/>
                  </a:lnTo>
                  <a:lnTo>
                    <a:pt x="185" y="394"/>
                  </a:lnTo>
                  <a:lnTo>
                    <a:pt x="185" y="392"/>
                  </a:lnTo>
                  <a:lnTo>
                    <a:pt x="185" y="390"/>
                  </a:lnTo>
                  <a:lnTo>
                    <a:pt x="185" y="388"/>
                  </a:lnTo>
                  <a:lnTo>
                    <a:pt x="187" y="386"/>
                  </a:lnTo>
                  <a:lnTo>
                    <a:pt x="187" y="386"/>
                  </a:lnTo>
                  <a:lnTo>
                    <a:pt x="189" y="382"/>
                  </a:lnTo>
                  <a:lnTo>
                    <a:pt x="189" y="380"/>
                  </a:lnTo>
                  <a:lnTo>
                    <a:pt x="191" y="380"/>
                  </a:lnTo>
                  <a:lnTo>
                    <a:pt x="193" y="380"/>
                  </a:lnTo>
                  <a:lnTo>
                    <a:pt x="193" y="380"/>
                  </a:lnTo>
                  <a:lnTo>
                    <a:pt x="193" y="380"/>
                  </a:lnTo>
                  <a:lnTo>
                    <a:pt x="195" y="382"/>
                  </a:lnTo>
                  <a:lnTo>
                    <a:pt x="195" y="382"/>
                  </a:lnTo>
                  <a:lnTo>
                    <a:pt x="199" y="380"/>
                  </a:lnTo>
                  <a:lnTo>
                    <a:pt x="199" y="378"/>
                  </a:lnTo>
                  <a:lnTo>
                    <a:pt x="203" y="376"/>
                  </a:lnTo>
                  <a:lnTo>
                    <a:pt x="203" y="371"/>
                  </a:lnTo>
                  <a:lnTo>
                    <a:pt x="205" y="361"/>
                  </a:lnTo>
                  <a:lnTo>
                    <a:pt x="207" y="359"/>
                  </a:lnTo>
                  <a:lnTo>
                    <a:pt x="209" y="359"/>
                  </a:lnTo>
                  <a:lnTo>
                    <a:pt x="211" y="357"/>
                  </a:lnTo>
                  <a:lnTo>
                    <a:pt x="213" y="357"/>
                  </a:lnTo>
                  <a:lnTo>
                    <a:pt x="213" y="355"/>
                  </a:lnTo>
                  <a:lnTo>
                    <a:pt x="215" y="353"/>
                  </a:lnTo>
                  <a:lnTo>
                    <a:pt x="220" y="349"/>
                  </a:lnTo>
                  <a:lnTo>
                    <a:pt x="220" y="347"/>
                  </a:lnTo>
                  <a:lnTo>
                    <a:pt x="220" y="345"/>
                  </a:lnTo>
                  <a:lnTo>
                    <a:pt x="217" y="341"/>
                  </a:lnTo>
                  <a:lnTo>
                    <a:pt x="215" y="335"/>
                  </a:lnTo>
                  <a:lnTo>
                    <a:pt x="215" y="332"/>
                  </a:lnTo>
                  <a:lnTo>
                    <a:pt x="215" y="330"/>
                  </a:lnTo>
                  <a:lnTo>
                    <a:pt x="213" y="328"/>
                  </a:lnTo>
                  <a:lnTo>
                    <a:pt x="215" y="328"/>
                  </a:lnTo>
                  <a:lnTo>
                    <a:pt x="226" y="326"/>
                  </a:lnTo>
                  <a:lnTo>
                    <a:pt x="230" y="324"/>
                  </a:lnTo>
                  <a:lnTo>
                    <a:pt x="232" y="326"/>
                  </a:lnTo>
                  <a:lnTo>
                    <a:pt x="236" y="328"/>
                  </a:lnTo>
                  <a:lnTo>
                    <a:pt x="238" y="330"/>
                  </a:lnTo>
                  <a:lnTo>
                    <a:pt x="240" y="328"/>
                  </a:lnTo>
                  <a:lnTo>
                    <a:pt x="252" y="318"/>
                  </a:lnTo>
                  <a:lnTo>
                    <a:pt x="256" y="316"/>
                  </a:lnTo>
                  <a:lnTo>
                    <a:pt x="260" y="316"/>
                  </a:lnTo>
                  <a:lnTo>
                    <a:pt x="267" y="316"/>
                  </a:lnTo>
                  <a:lnTo>
                    <a:pt x="269" y="314"/>
                  </a:lnTo>
                  <a:lnTo>
                    <a:pt x="267" y="312"/>
                  </a:lnTo>
                  <a:lnTo>
                    <a:pt x="267" y="308"/>
                  </a:lnTo>
                  <a:lnTo>
                    <a:pt x="267" y="308"/>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IN</a:t>
              </a:r>
            </a:p>
          </p:txBody>
        </p:sp>
        <p:sp>
          <p:nvSpPr>
            <p:cNvPr id="100" name="Freeform 41">
              <a:extLst>
                <a:ext uri="{FF2B5EF4-FFF2-40B4-BE49-F238E27FC236}">
                  <a16:creationId xmlns:a16="http://schemas.microsoft.com/office/drawing/2014/main" id="{C9FBC4B8-A960-279C-E479-DFC3A29B8D80}"/>
                </a:ext>
              </a:extLst>
            </p:cNvPr>
            <p:cNvSpPr>
              <a:spLocks/>
            </p:cNvSpPr>
            <p:nvPr/>
          </p:nvSpPr>
          <p:spPr bwMode="auto">
            <a:xfrm>
              <a:off x="3437" y="803"/>
              <a:ext cx="350" cy="597"/>
            </a:xfrm>
            <a:custGeom>
              <a:avLst/>
              <a:gdLst>
                <a:gd name="T0" fmla="*/ 342 w 350"/>
                <a:gd name="T1" fmla="*/ 367 h 597"/>
                <a:gd name="T2" fmla="*/ 338 w 350"/>
                <a:gd name="T3" fmla="*/ 345 h 597"/>
                <a:gd name="T4" fmla="*/ 340 w 350"/>
                <a:gd name="T5" fmla="*/ 308 h 597"/>
                <a:gd name="T6" fmla="*/ 324 w 350"/>
                <a:gd name="T7" fmla="*/ 154 h 597"/>
                <a:gd name="T8" fmla="*/ 305 w 350"/>
                <a:gd name="T9" fmla="*/ 60 h 597"/>
                <a:gd name="T10" fmla="*/ 293 w 350"/>
                <a:gd name="T11" fmla="*/ 39 h 597"/>
                <a:gd name="T12" fmla="*/ 283 w 350"/>
                <a:gd name="T13" fmla="*/ 15 h 597"/>
                <a:gd name="T14" fmla="*/ 240 w 350"/>
                <a:gd name="T15" fmla="*/ 5 h 597"/>
                <a:gd name="T16" fmla="*/ 111 w 350"/>
                <a:gd name="T17" fmla="*/ 15 h 597"/>
                <a:gd name="T18" fmla="*/ 53 w 350"/>
                <a:gd name="T19" fmla="*/ 19 h 597"/>
                <a:gd name="T20" fmla="*/ 53 w 350"/>
                <a:gd name="T21" fmla="*/ 19 h 597"/>
                <a:gd name="T22" fmla="*/ 74 w 350"/>
                <a:gd name="T23" fmla="*/ 39 h 597"/>
                <a:gd name="T24" fmla="*/ 90 w 350"/>
                <a:gd name="T25" fmla="*/ 54 h 597"/>
                <a:gd name="T26" fmla="*/ 98 w 350"/>
                <a:gd name="T27" fmla="*/ 68 h 597"/>
                <a:gd name="T28" fmla="*/ 88 w 350"/>
                <a:gd name="T29" fmla="*/ 97 h 597"/>
                <a:gd name="T30" fmla="*/ 86 w 350"/>
                <a:gd name="T31" fmla="*/ 111 h 597"/>
                <a:gd name="T32" fmla="*/ 66 w 350"/>
                <a:gd name="T33" fmla="*/ 125 h 597"/>
                <a:gd name="T34" fmla="*/ 27 w 350"/>
                <a:gd name="T35" fmla="*/ 150 h 597"/>
                <a:gd name="T36" fmla="*/ 41 w 350"/>
                <a:gd name="T37" fmla="*/ 175 h 597"/>
                <a:gd name="T38" fmla="*/ 31 w 350"/>
                <a:gd name="T39" fmla="*/ 209 h 597"/>
                <a:gd name="T40" fmla="*/ 6 w 350"/>
                <a:gd name="T41" fmla="*/ 230 h 597"/>
                <a:gd name="T42" fmla="*/ 10 w 350"/>
                <a:gd name="T43" fmla="*/ 244 h 597"/>
                <a:gd name="T44" fmla="*/ 0 w 350"/>
                <a:gd name="T45" fmla="*/ 273 h 597"/>
                <a:gd name="T46" fmla="*/ 8 w 350"/>
                <a:gd name="T47" fmla="*/ 302 h 597"/>
                <a:gd name="T48" fmla="*/ 14 w 350"/>
                <a:gd name="T49" fmla="*/ 316 h 597"/>
                <a:gd name="T50" fmla="*/ 66 w 350"/>
                <a:gd name="T51" fmla="*/ 359 h 597"/>
                <a:gd name="T52" fmla="*/ 76 w 350"/>
                <a:gd name="T53" fmla="*/ 380 h 597"/>
                <a:gd name="T54" fmla="*/ 80 w 350"/>
                <a:gd name="T55" fmla="*/ 392 h 597"/>
                <a:gd name="T56" fmla="*/ 107 w 350"/>
                <a:gd name="T57" fmla="*/ 396 h 597"/>
                <a:gd name="T58" fmla="*/ 127 w 350"/>
                <a:gd name="T59" fmla="*/ 414 h 597"/>
                <a:gd name="T60" fmla="*/ 115 w 350"/>
                <a:gd name="T61" fmla="*/ 457 h 597"/>
                <a:gd name="T62" fmla="*/ 123 w 350"/>
                <a:gd name="T63" fmla="*/ 480 h 597"/>
                <a:gd name="T64" fmla="*/ 141 w 350"/>
                <a:gd name="T65" fmla="*/ 494 h 597"/>
                <a:gd name="T66" fmla="*/ 172 w 350"/>
                <a:gd name="T67" fmla="*/ 509 h 597"/>
                <a:gd name="T68" fmla="*/ 193 w 350"/>
                <a:gd name="T69" fmla="*/ 529 h 597"/>
                <a:gd name="T70" fmla="*/ 203 w 350"/>
                <a:gd name="T71" fmla="*/ 554 h 597"/>
                <a:gd name="T72" fmla="*/ 201 w 350"/>
                <a:gd name="T73" fmla="*/ 572 h 597"/>
                <a:gd name="T74" fmla="*/ 219 w 350"/>
                <a:gd name="T75" fmla="*/ 595 h 597"/>
                <a:gd name="T76" fmla="*/ 219 w 350"/>
                <a:gd name="T77" fmla="*/ 587 h 597"/>
                <a:gd name="T78" fmla="*/ 227 w 350"/>
                <a:gd name="T79" fmla="*/ 595 h 597"/>
                <a:gd name="T80" fmla="*/ 229 w 350"/>
                <a:gd name="T81" fmla="*/ 591 h 597"/>
                <a:gd name="T82" fmla="*/ 250 w 350"/>
                <a:gd name="T83" fmla="*/ 568 h 597"/>
                <a:gd name="T84" fmla="*/ 287 w 350"/>
                <a:gd name="T85" fmla="*/ 564 h 597"/>
                <a:gd name="T86" fmla="*/ 293 w 350"/>
                <a:gd name="T87" fmla="*/ 543 h 597"/>
                <a:gd name="T88" fmla="*/ 309 w 350"/>
                <a:gd name="T89" fmla="*/ 519 h 597"/>
                <a:gd name="T90" fmla="*/ 318 w 350"/>
                <a:gd name="T91" fmla="*/ 498 h 597"/>
                <a:gd name="T92" fmla="*/ 318 w 350"/>
                <a:gd name="T93" fmla="*/ 496 h 597"/>
                <a:gd name="T94" fmla="*/ 315 w 350"/>
                <a:gd name="T95" fmla="*/ 486 h 597"/>
                <a:gd name="T96" fmla="*/ 313 w 350"/>
                <a:gd name="T97" fmla="*/ 472 h 597"/>
                <a:gd name="T98" fmla="*/ 318 w 350"/>
                <a:gd name="T99" fmla="*/ 466 h 597"/>
                <a:gd name="T100" fmla="*/ 318 w 350"/>
                <a:gd name="T101" fmla="*/ 455 h 597"/>
                <a:gd name="T102" fmla="*/ 320 w 350"/>
                <a:gd name="T103" fmla="*/ 447 h 597"/>
                <a:gd name="T104" fmla="*/ 326 w 350"/>
                <a:gd name="T105" fmla="*/ 443 h 597"/>
                <a:gd name="T106" fmla="*/ 330 w 350"/>
                <a:gd name="T107" fmla="*/ 439 h 597"/>
                <a:gd name="T108" fmla="*/ 334 w 350"/>
                <a:gd name="T109" fmla="*/ 427 h 597"/>
                <a:gd name="T110" fmla="*/ 342 w 350"/>
                <a:gd name="T111" fmla="*/ 421 h 597"/>
                <a:gd name="T112" fmla="*/ 342 w 350"/>
                <a:gd name="T113" fmla="*/ 410 h 597"/>
                <a:gd name="T114" fmla="*/ 346 w 350"/>
                <a:gd name="T115" fmla="*/ 40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0" h="597">
                  <a:moveTo>
                    <a:pt x="348" y="384"/>
                  </a:moveTo>
                  <a:lnTo>
                    <a:pt x="346" y="380"/>
                  </a:lnTo>
                  <a:lnTo>
                    <a:pt x="346" y="377"/>
                  </a:lnTo>
                  <a:lnTo>
                    <a:pt x="346" y="377"/>
                  </a:lnTo>
                  <a:lnTo>
                    <a:pt x="348" y="375"/>
                  </a:lnTo>
                  <a:lnTo>
                    <a:pt x="346" y="371"/>
                  </a:lnTo>
                  <a:lnTo>
                    <a:pt x="346" y="369"/>
                  </a:lnTo>
                  <a:lnTo>
                    <a:pt x="344" y="367"/>
                  </a:lnTo>
                  <a:lnTo>
                    <a:pt x="342" y="367"/>
                  </a:lnTo>
                  <a:lnTo>
                    <a:pt x="342" y="365"/>
                  </a:lnTo>
                  <a:lnTo>
                    <a:pt x="340" y="361"/>
                  </a:lnTo>
                  <a:lnTo>
                    <a:pt x="340" y="359"/>
                  </a:lnTo>
                  <a:lnTo>
                    <a:pt x="336" y="357"/>
                  </a:lnTo>
                  <a:lnTo>
                    <a:pt x="336" y="357"/>
                  </a:lnTo>
                  <a:lnTo>
                    <a:pt x="334" y="357"/>
                  </a:lnTo>
                  <a:lnTo>
                    <a:pt x="334" y="355"/>
                  </a:lnTo>
                  <a:lnTo>
                    <a:pt x="334" y="351"/>
                  </a:lnTo>
                  <a:lnTo>
                    <a:pt x="338" y="345"/>
                  </a:lnTo>
                  <a:lnTo>
                    <a:pt x="338" y="341"/>
                  </a:lnTo>
                  <a:lnTo>
                    <a:pt x="336" y="336"/>
                  </a:lnTo>
                  <a:lnTo>
                    <a:pt x="336" y="336"/>
                  </a:lnTo>
                  <a:lnTo>
                    <a:pt x="336" y="332"/>
                  </a:lnTo>
                  <a:lnTo>
                    <a:pt x="338" y="332"/>
                  </a:lnTo>
                  <a:lnTo>
                    <a:pt x="342" y="328"/>
                  </a:lnTo>
                  <a:lnTo>
                    <a:pt x="342" y="328"/>
                  </a:lnTo>
                  <a:lnTo>
                    <a:pt x="342" y="324"/>
                  </a:lnTo>
                  <a:lnTo>
                    <a:pt x="340" y="308"/>
                  </a:lnTo>
                  <a:lnTo>
                    <a:pt x="338" y="293"/>
                  </a:lnTo>
                  <a:lnTo>
                    <a:pt x="336" y="277"/>
                  </a:lnTo>
                  <a:lnTo>
                    <a:pt x="334" y="246"/>
                  </a:lnTo>
                  <a:lnTo>
                    <a:pt x="332" y="232"/>
                  </a:lnTo>
                  <a:lnTo>
                    <a:pt x="330" y="216"/>
                  </a:lnTo>
                  <a:lnTo>
                    <a:pt x="328" y="201"/>
                  </a:lnTo>
                  <a:lnTo>
                    <a:pt x="326" y="185"/>
                  </a:lnTo>
                  <a:lnTo>
                    <a:pt x="326" y="170"/>
                  </a:lnTo>
                  <a:lnTo>
                    <a:pt x="324" y="154"/>
                  </a:lnTo>
                  <a:lnTo>
                    <a:pt x="322" y="140"/>
                  </a:lnTo>
                  <a:lnTo>
                    <a:pt x="320" y="123"/>
                  </a:lnTo>
                  <a:lnTo>
                    <a:pt x="318" y="109"/>
                  </a:lnTo>
                  <a:lnTo>
                    <a:pt x="318" y="95"/>
                  </a:lnTo>
                  <a:lnTo>
                    <a:pt x="315" y="78"/>
                  </a:lnTo>
                  <a:lnTo>
                    <a:pt x="315" y="78"/>
                  </a:lnTo>
                  <a:lnTo>
                    <a:pt x="309" y="72"/>
                  </a:lnTo>
                  <a:lnTo>
                    <a:pt x="307" y="68"/>
                  </a:lnTo>
                  <a:lnTo>
                    <a:pt x="305" y="60"/>
                  </a:lnTo>
                  <a:lnTo>
                    <a:pt x="301" y="56"/>
                  </a:lnTo>
                  <a:lnTo>
                    <a:pt x="299" y="45"/>
                  </a:lnTo>
                  <a:lnTo>
                    <a:pt x="299" y="45"/>
                  </a:lnTo>
                  <a:lnTo>
                    <a:pt x="299" y="43"/>
                  </a:lnTo>
                  <a:lnTo>
                    <a:pt x="297" y="41"/>
                  </a:lnTo>
                  <a:lnTo>
                    <a:pt x="297" y="41"/>
                  </a:lnTo>
                  <a:lnTo>
                    <a:pt x="295" y="39"/>
                  </a:lnTo>
                  <a:lnTo>
                    <a:pt x="293" y="39"/>
                  </a:lnTo>
                  <a:lnTo>
                    <a:pt x="293" y="39"/>
                  </a:lnTo>
                  <a:lnTo>
                    <a:pt x="293" y="39"/>
                  </a:lnTo>
                  <a:lnTo>
                    <a:pt x="291" y="37"/>
                  </a:lnTo>
                  <a:lnTo>
                    <a:pt x="291" y="37"/>
                  </a:lnTo>
                  <a:lnTo>
                    <a:pt x="291" y="35"/>
                  </a:lnTo>
                  <a:lnTo>
                    <a:pt x="291" y="35"/>
                  </a:lnTo>
                  <a:lnTo>
                    <a:pt x="287" y="29"/>
                  </a:lnTo>
                  <a:lnTo>
                    <a:pt x="285" y="25"/>
                  </a:lnTo>
                  <a:lnTo>
                    <a:pt x="285" y="23"/>
                  </a:lnTo>
                  <a:lnTo>
                    <a:pt x="283" y="15"/>
                  </a:lnTo>
                  <a:lnTo>
                    <a:pt x="283" y="13"/>
                  </a:lnTo>
                  <a:lnTo>
                    <a:pt x="283" y="13"/>
                  </a:lnTo>
                  <a:lnTo>
                    <a:pt x="283" y="11"/>
                  </a:lnTo>
                  <a:lnTo>
                    <a:pt x="283" y="11"/>
                  </a:lnTo>
                  <a:lnTo>
                    <a:pt x="283" y="0"/>
                  </a:lnTo>
                  <a:lnTo>
                    <a:pt x="283" y="0"/>
                  </a:lnTo>
                  <a:lnTo>
                    <a:pt x="268" y="0"/>
                  </a:lnTo>
                  <a:lnTo>
                    <a:pt x="254" y="2"/>
                  </a:lnTo>
                  <a:lnTo>
                    <a:pt x="240" y="5"/>
                  </a:lnTo>
                  <a:lnTo>
                    <a:pt x="225" y="5"/>
                  </a:lnTo>
                  <a:lnTo>
                    <a:pt x="211" y="7"/>
                  </a:lnTo>
                  <a:lnTo>
                    <a:pt x="197" y="9"/>
                  </a:lnTo>
                  <a:lnTo>
                    <a:pt x="182" y="9"/>
                  </a:lnTo>
                  <a:lnTo>
                    <a:pt x="168" y="11"/>
                  </a:lnTo>
                  <a:lnTo>
                    <a:pt x="154" y="11"/>
                  </a:lnTo>
                  <a:lnTo>
                    <a:pt x="139" y="13"/>
                  </a:lnTo>
                  <a:lnTo>
                    <a:pt x="125" y="15"/>
                  </a:lnTo>
                  <a:lnTo>
                    <a:pt x="111" y="15"/>
                  </a:lnTo>
                  <a:lnTo>
                    <a:pt x="96" y="17"/>
                  </a:lnTo>
                  <a:lnTo>
                    <a:pt x="82" y="17"/>
                  </a:lnTo>
                  <a:lnTo>
                    <a:pt x="68"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3" y="19"/>
                  </a:lnTo>
                  <a:lnTo>
                    <a:pt x="51" y="23"/>
                  </a:lnTo>
                  <a:lnTo>
                    <a:pt x="53" y="23"/>
                  </a:lnTo>
                  <a:lnTo>
                    <a:pt x="55" y="25"/>
                  </a:lnTo>
                  <a:lnTo>
                    <a:pt x="57" y="25"/>
                  </a:lnTo>
                  <a:lnTo>
                    <a:pt x="57" y="27"/>
                  </a:lnTo>
                  <a:lnTo>
                    <a:pt x="62" y="29"/>
                  </a:lnTo>
                  <a:lnTo>
                    <a:pt x="68" y="33"/>
                  </a:lnTo>
                  <a:lnTo>
                    <a:pt x="72" y="35"/>
                  </a:lnTo>
                  <a:lnTo>
                    <a:pt x="74" y="39"/>
                  </a:lnTo>
                  <a:lnTo>
                    <a:pt x="74" y="37"/>
                  </a:lnTo>
                  <a:lnTo>
                    <a:pt x="74" y="43"/>
                  </a:lnTo>
                  <a:lnTo>
                    <a:pt x="74" y="45"/>
                  </a:lnTo>
                  <a:lnTo>
                    <a:pt x="78" y="48"/>
                  </a:lnTo>
                  <a:lnTo>
                    <a:pt x="80" y="50"/>
                  </a:lnTo>
                  <a:lnTo>
                    <a:pt x="80" y="50"/>
                  </a:lnTo>
                  <a:lnTo>
                    <a:pt x="82" y="50"/>
                  </a:lnTo>
                  <a:lnTo>
                    <a:pt x="88" y="54"/>
                  </a:lnTo>
                  <a:lnTo>
                    <a:pt x="90" y="54"/>
                  </a:lnTo>
                  <a:lnTo>
                    <a:pt x="92" y="58"/>
                  </a:lnTo>
                  <a:lnTo>
                    <a:pt x="92" y="58"/>
                  </a:lnTo>
                  <a:lnTo>
                    <a:pt x="94" y="58"/>
                  </a:lnTo>
                  <a:lnTo>
                    <a:pt x="94" y="58"/>
                  </a:lnTo>
                  <a:lnTo>
                    <a:pt x="94" y="60"/>
                  </a:lnTo>
                  <a:lnTo>
                    <a:pt x="94" y="62"/>
                  </a:lnTo>
                  <a:lnTo>
                    <a:pt x="96" y="62"/>
                  </a:lnTo>
                  <a:lnTo>
                    <a:pt x="98" y="66"/>
                  </a:lnTo>
                  <a:lnTo>
                    <a:pt x="98" y="68"/>
                  </a:lnTo>
                  <a:lnTo>
                    <a:pt x="98" y="72"/>
                  </a:lnTo>
                  <a:lnTo>
                    <a:pt x="96" y="76"/>
                  </a:lnTo>
                  <a:lnTo>
                    <a:pt x="96" y="82"/>
                  </a:lnTo>
                  <a:lnTo>
                    <a:pt x="96" y="89"/>
                  </a:lnTo>
                  <a:lnTo>
                    <a:pt x="94" y="91"/>
                  </a:lnTo>
                  <a:lnTo>
                    <a:pt x="94" y="91"/>
                  </a:lnTo>
                  <a:lnTo>
                    <a:pt x="92" y="93"/>
                  </a:lnTo>
                  <a:lnTo>
                    <a:pt x="90" y="95"/>
                  </a:lnTo>
                  <a:lnTo>
                    <a:pt x="88" y="97"/>
                  </a:lnTo>
                  <a:lnTo>
                    <a:pt x="88" y="99"/>
                  </a:lnTo>
                  <a:lnTo>
                    <a:pt x="86" y="101"/>
                  </a:lnTo>
                  <a:lnTo>
                    <a:pt x="86" y="103"/>
                  </a:lnTo>
                  <a:lnTo>
                    <a:pt x="86" y="105"/>
                  </a:lnTo>
                  <a:lnTo>
                    <a:pt x="84" y="107"/>
                  </a:lnTo>
                  <a:lnTo>
                    <a:pt x="84" y="107"/>
                  </a:lnTo>
                  <a:lnTo>
                    <a:pt x="86" y="109"/>
                  </a:lnTo>
                  <a:lnTo>
                    <a:pt x="86" y="109"/>
                  </a:lnTo>
                  <a:lnTo>
                    <a:pt x="86" y="111"/>
                  </a:lnTo>
                  <a:lnTo>
                    <a:pt x="86" y="113"/>
                  </a:lnTo>
                  <a:lnTo>
                    <a:pt x="86" y="113"/>
                  </a:lnTo>
                  <a:lnTo>
                    <a:pt x="84" y="115"/>
                  </a:lnTo>
                  <a:lnTo>
                    <a:pt x="80" y="117"/>
                  </a:lnTo>
                  <a:lnTo>
                    <a:pt x="80" y="117"/>
                  </a:lnTo>
                  <a:lnTo>
                    <a:pt x="80" y="119"/>
                  </a:lnTo>
                  <a:lnTo>
                    <a:pt x="78" y="121"/>
                  </a:lnTo>
                  <a:lnTo>
                    <a:pt x="74" y="121"/>
                  </a:lnTo>
                  <a:lnTo>
                    <a:pt x="66" y="125"/>
                  </a:lnTo>
                  <a:lnTo>
                    <a:pt x="66" y="125"/>
                  </a:lnTo>
                  <a:lnTo>
                    <a:pt x="62" y="130"/>
                  </a:lnTo>
                  <a:lnTo>
                    <a:pt x="62" y="132"/>
                  </a:lnTo>
                  <a:lnTo>
                    <a:pt x="57" y="132"/>
                  </a:lnTo>
                  <a:lnTo>
                    <a:pt x="33" y="136"/>
                  </a:lnTo>
                  <a:lnTo>
                    <a:pt x="31" y="138"/>
                  </a:lnTo>
                  <a:lnTo>
                    <a:pt x="29" y="142"/>
                  </a:lnTo>
                  <a:lnTo>
                    <a:pt x="27" y="146"/>
                  </a:lnTo>
                  <a:lnTo>
                    <a:pt x="27" y="150"/>
                  </a:lnTo>
                  <a:lnTo>
                    <a:pt x="27" y="156"/>
                  </a:lnTo>
                  <a:lnTo>
                    <a:pt x="27" y="158"/>
                  </a:lnTo>
                  <a:lnTo>
                    <a:pt x="27" y="160"/>
                  </a:lnTo>
                  <a:lnTo>
                    <a:pt x="29" y="162"/>
                  </a:lnTo>
                  <a:lnTo>
                    <a:pt x="31" y="162"/>
                  </a:lnTo>
                  <a:lnTo>
                    <a:pt x="31" y="164"/>
                  </a:lnTo>
                  <a:lnTo>
                    <a:pt x="35" y="166"/>
                  </a:lnTo>
                  <a:lnTo>
                    <a:pt x="39" y="170"/>
                  </a:lnTo>
                  <a:lnTo>
                    <a:pt x="41" y="175"/>
                  </a:lnTo>
                  <a:lnTo>
                    <a:pt x="41" y="179"/>
                  </a:lnTo>
                  <a:lnTo>
                    <a:pt x="41" y="183"/>
                  </a:lnTo>
                  <a:lnTo>
                    <a:pt x="39" y="187"/>
                  </a:lnTo>
                  <a:lnTo>
                    <a:pt x="33" y="197"/>
                  </a:lnTo>
                  <a:lnTo>
                    <a:pt x="31" y="199"/>
                  </a:lnTo>
                  <a:lnTo>
                    <a:pt x="31" y="201"/>
                  </a:lnTo>
                  <a:lnTo>
                    <a:pt x="31" y="203"/>
                  </a:lnTo>
                  <a:lnTo>
                    <a:pt x="31" y="207"/>
                  </a:lnTo>
                  <a:lnTo>
                    <a:pt x="31" y="209"/>
                  </a:lnTo>
                  <a:lnTo>
                    <a:pt x="29" y="216"/>
                  </a:lnTo>
                  <a:lnTo>
                    <a:pt x="27" y="218"/>
                  </a:lnTo>
                  <a:lnTo>
                    <a:pt x="25" y="220"/>
                  </a:lnTo>
                  <a:lnTo>
                    <a:pt x="21" y="222"/>
                  </a:lnTo>
                  <a:lnTo>
                    <a:pt x="18" y="222"/>
                  </a:lnTo>
                  <a:lnTo>
                    <a:pt x="14" y="224"/>
                  </a:lnTo>
                  <a:lnTo>
                    <a:pt x="12" y="226"/>
                  </a:lnTo>
                  <a:lnTo>
                    <a:pt x="8" y="228"/>
                  </a:lnTo>
                  <a:lnTo>
                    <a:pt x="6" y="230"/>
                  </a:lnTo>
                  <a:lnTo>
                    <a:pt x="6" y="230"/>
                  </a:lnTo>
                  <a:lnTo>
                    <a:pt x="6" y="232"/>
                  </a:lnTo>
                  <a:lnTo>
                    <a:pt x="6" y="232"/>
                  </a:lnTo>
                  <a:lnTo>
                    <a:pt x="6" y="234"/>
                  </a:lnTo>
                  <a:lnTo>
                    <a:pt x="8" y="234"/>
                  </a:lnTo>
                  <a:lnTo>
                    <a:pt x="10" y="236"/>
                  </a:lnTo>
                  <a:lnTo>
                    <a:pt x="10" y="238"/>
                  </a:lnTo>
                  <a:lnTo>
                    <a:pt x="10" y="242"/>
                  </a:lnTo>
                  <a:lnTo>
                    <a:pt x="10" y="244"/>
                  </a:lnTo>
                  <a:lnTo>
                    <a:pt x="10" y="246"/>
                  </a:lnTo>
                  <a:lnTo>
                    <a:pt x="10" y="248"/>
                  </a:lnTo>
                  <a:lnTo>
                    <a:pt x="10" y="248"/>
                  </a:lnTo>
                  <a:lnTo>
                    <a:pt x="6" y="250"/>
                  </a:lnTo>
                  <a:lnTo>
                    <a:pt x="2" y="252"/>
                  </a:lnTo>
                  <a:lnTo>
                    <a:pt x="2" y="259"/>
                  </a:lnTo>
                  <a:lnTo>
                    <a:pt x="0" y="265"/>
                  </a:lnTo>
                  <a:lnTo>
                    <a:pt x="0" y="269"/>
                  </a:lnTo>
                  <a:lnTo>
                    <a:pt x="0" y="273"/>
                  </a:lnTo>
                  <a:lnTo>
                    <a:pt x="4" y="291"/>
                  </a:lnTo>
                  <a:lnTo>
                    <a:pt x="4" y="291"/>
                  </a:lnTo>
                  <a:lnTo>
                    <a:pt x="6" y="293"/>
                  </a:lnTo>
                  <a:lnTo>
                    <a:pt x="8" y="296"/>
                  </a:lnTo>
                  <a:lnTo>
                    <a:pt x="8" y="296"/>
                  </a:lnTo>
                  <a:lnTo>
                    <a:pt x="8" y="298"/>
                  </a:lnTo>
                  <a:lnTo>
                    <a:pt x="8" y="298"/>
                  </a:lnTo>
                  <a:lnTo>
                    <a:pt x="8" y="300"/>
                  </a:lnTo>
                  <a:lnTo>
                    <a:pt x="8" y="302"/>
                  </a:lnTo>
                  <a:lnTo>
                    <a:pt x="8" y="304"/>
                  </a:lnTo>
                  <a:lnTo>
                    <a:pt x="8" y="306"/>
                  </a:lnTo>
                  <a:lnTo>
                    <a:pt x="10" y="306"/>
                  </a:lnTo>
                  <a:lnTo>
                    <a:pt x="10" y="308"/>
                  </a:lnTo>
                  <a:lnTo>
                    <a:pt x="10" y="310"/>
                  </a:lnTo>
                  <a:lnTo>
                    <a:pt x="14" y="310"/>
                  </a:lnTo>
                  <a:lnTo>
                    <a:pt x="14" y="312"/>
                  </a:lnTo>
                  <a:lnTo>
                    <a:pt x="14" y="314"/>
                  </a:lnTo>
                  <a:lnTo>
                    <a:pt x="14" y="316"/>
                  </a:lnTo>
                  <a:lnTo>
                    <a:pt x="16" y="318"/>
                  </a:lnTo>
                  <a:lnTo>
                    <a:pt x="18" y="322"/>
                  </a:lnTo>
                  <a:lnTo>
                    <a:pt x="41" y="339"/>
                  </a:lnTo>
                  <a:lnTo>
                    <a:pt x="43" y="341"/>
                  </a:lnTo>
                  <a:lnTo>
                    <a:pt x="43" y="343"/>
                  </a:lnTo>
                  <a:lnTo>
                    <a:pt x="43" y="345"/>
                  </a:lnTo>
                  <a:lnTo>
                    <a:pt x="45" y="347"/>
                  </a:lnTo>
                  <a:lnTo>
                    <a:pt x="45" y="347"/>
                  </a:lnTo>
                  <a:lnTo>
                    <a:pt x="66" y="359"/>
                  </a:lnTo>
                  <a:lnTo>
                    <a:pt x="68" y="361"/>
                  </a:lnTo>
                  <a:lnTo>
                    <a:pt x="70" y="363"/>
                  </a:lnTo>
                  <a:lnTo>
                    <a:pt x="74" y="367"/>
                  </a:lnTo>
                  <a:lnTo>
                    <a:pt x="74" y="369"/>
                  </a:lnTo>
                  <a:lnTo>
                    <a:pt x="76" y="371"/>
                  </a:lnTo>
                  <a:lnTo>
                    <a:pt x="76" y="373"/>
                  </a:lnTo>
                  <a:lnTo>
                    <a:pt x="76" y="375"/>
                  </a:lnTo>
                  <a:lnTo>
                    <a:pt x="76" y="377"/>
                  </a:lnTo>
                  <a:lnTo>
                    <a:pt x="76" y="380"/>
                  </a:lnTo>
                  <a:lnTo>
                    <a:pt x="78" y="382"/>
                  </a:lnTo>
                  <a:lnTo>
                    <a:pt x="78" y="382"/>
                  </a:lnTo>
                  <a:lnTo>
                    <a:pt x="78" y="384"/>
                  </a:lnTo>
                  <a:lnTo>
                    <a:pt x="78" y="384"/>
                  </a:lnTo>
                  <a:lnTo>
                    <a:pt x="78" y="386"/>
                  </a:lnTo>
                  <a:lnTo>
                    <a:pt x="78" y="388"/>
                  </a:lnTo>
                  <a:lnTo>
                    <a:pt x="78" y="388"/>
                  </a:lnTo>
                  <a:lnTo>
                    <a:pt x="80" y="390"/>
                  </a:lnTo>
                  <a:lnTo>
                    <a:pt x="80" y="392"/>
                  </a:lnTo>
                  <a:lnTo>
                    <a:pt x="80" y="394"/>
                  </a:lnTo>
                  <a:lnTo>
                    <a:pt x="84" y="400"/>
                  </a:lnTo>
                  <a:lnTo>
                    <a:pt x="86" y="404"/>
                  </a:lnTo>
                  <a:lnTo>
                    <a:pt x="90" y="404"/>
                  </a:lnTo>
                  <a:lnTo>
                    <a:pt x="94" y="402"/>
                  </a:lnTo>
                  <a:lnTo>
                    <a:pt x="98" y="396"/>
                  </a:lnTo>
                  <a:lnTo>
                    <a:pt x="102" y="394"/>
                  </a:lnTo>
                  <a:lnTo>
                    <a:pt x="105" y="394"/>
                  </a:lnTo>
                  <a:lnTo>
                    <a:pt x="107" y="396"/>
                  </a:lnTo>
                  <a:lnTo>
                    <a:pt x="109" y="396"/>
                  </a:lnTo>
                  <a:lnTo>
                    <a:pt x="111" y="396"/>
                  </a:lnTo>
                  <a:lnTo>
                    <a:pt x="115" y="398"/>
                  </a:lnTo>
                  <a:lnTo>
                    <a:pt x="125" y="402"/>
                  </a:lnTo>
                  <a:lnTo>
                    <a:pt x="127" y="404"/>
                  </a:lnTo>
                  <a:lnTo>
                    <a:pt x="129" y="406"/>
                  </a:lnTo>
                  <a:lnTo>
                    <a:pt x="129" y="408"/>
                  </a:lnTo>
                  <a:lnTo>
                    <a:pt x="127" y="412"/>
                  </a:lnTo>
                  <a:lnTo>
                    <a:pt x="127" y="414"/>
                  </a:lnTo>
                  <a:lnTo>
                    <a:pt x="125" y="414"/>
                  </a:lnTo>
                  <a:lnTo>
                    <a:pt x="125" y="416"/>
                  </a:lnTo>
                  <a:lnTo>
                    <a:pt x="125" y="418"/>
                  </a:lnTo>
                  <a:lnTo>
                    <a:pt x="125" y="423"/>
                  </a:lnTo>
                  <a:lnTo>
                    <a:pt x="125" y="429"/>
                  </a:lnTo>
                  <a:lnTo>
                    <a:pt x="125" y="431"/>
                  </a:lnTo>
                  <a:lnTo>
                    <a:pt x="121" y="439"/>
                  </a:lnTo>
                  <a:lnTo>
                    <a:pt x="117" y="451"/>
                  </a:lnTo>
                  <a:lnTo>
                    <a:pt x="115" y="457"/>
                  </a:lnTo>
                  <a:lnTo>
                    <a:pt x="113" y="461"/>
                  </a:lnTo>
                  <a:lnTo>
                    <a:pt x="113" y="466"/>
                  </a:lnTo>
                  <a:lnTo>
                    <a:pt x="115" y="470"/>
                  </a:lnTo>
                  <a:lnTo>
                    <a:pt x="115" y="472"/>
                  </a:lnTo>
                  <a:lnTo>
                    <a:pt x="115" y="474"/>
                  </a:lnTo>
                  <a:lnTo>
                    <a:pt x="117" y="474"/>
                  </a:lnTo>
                  <a:lnTo>
                    <a:pt x="117" y="476"/>
                  </a:lnTo>
                  <a:lnTo>
                    <a:pt x="121" y="478"/>
                  </a:lnTo>
                  <a:lnTo>
                    <a:pt x="123" y="480"/>
                  </a:lnTo>
                  <a:lnTo>
                    <a:pt x="125" y="482"/>
                  </a:lnTo>
                  <a:lnTo>
                    <a:pt x="125" y="482"/>
                  </a:lnTo>
                  <a:lnTo>
                    <a:pt x="127" y="484"/>
                  </a:lnTo>
                  <a:lnTo>
                    <a:pt x="127" y="486"/>
                  </a:lnTo>
                  <a:lnTo>
                    <a:pt x="131" y="486"/>
                  </a:lnTo>
                  <a:lnTo>
                    <a:pt x="133" y="488"/>
                  </a:lnTo>
                  <a:lnTo>
                    <a:pt x="135" y="492"/>
                  </a:lnTo>
                  <a:lnTo>
                    <a:pt x="139" y="494"/>
                  </a:lnTo>
                  <a:lnTo>
                    <a:pt x="141" y="494"/>
                  </a:lnTo>
                  <a:lnTo>
                    <a:pt x="148" y="498"/>
                  </a:lnTo>
                  <a:lnTo>
                    <a:pt x="148" y="498"/>
                  </a:lnTo>
                  <a:lnTo>
                    <a:pt x="152" y="498"/>
                  </a:lnTo>
                  <a:lnTo>
                    <a:pt x="152" y="498"/>
                  </a:lnTo>
                  <a:lnTo>
                    <a:pt x="156" y="498"/>
                  </a:lnTo>
                  <a:lnTo>
                    <a:pt x="158" y="500"/>
                  </a:lnTo>
                  <a:lnTo>
                    <a:pt x="164" y="505"/>
                  </a:lnTo>
                  <a:lnTo>
                    <a:pt x="166" y="507"/>
                  </a:lnTo>
                  <a:lnTo>
                    <a:pt x="172" y="509"/>
                  </a:lnTo>
                  <a:lnTo>
                    <a:pt x="174" y="511"/>
                  </a:lnTo>
                  <a:lnTo>
                    <a:pt x="176" y="513"/>
                  </a:lnTo>
                  <a:lnTo>
                    <a:pt x="178" y="519"/>
                  </a:lnTo>
                  <a:lnTo>
                    <a:pt x="180" y="521"/>
                  </a:lnTo>
                  <a:lnTo>
                    <a:pt x="191" y="523"/>
                  </a:lnTo>
                  <a:lnTo>
                    <a:pt x="193" y="525"/>
                  </a:lnTo>
                  <a:lnTo>
                    <a:pt x="193" y="527"/>
                  </a:lnTo>
                  <a:lnTo>
                    <a:pt x="193" y="527"/>
                  </a:lnTo>
                  <a:lnTo>
                    <a:pt x="193" y="529"/>
                  </a:lnTo>
                  <a:lnTo>
                    <a:pt x="193" y="531"/>
                  </a:lnTo>
                  <a:lnTo>
                    <a:pt x="193" y="533"/>
                  </a:lnTo>
                  <a:lnTo>
                    <a:pt x="193" y="535"/>
                  </a:lnTo>
                  <a:lnTo>
                    <a:pt x="193" y="537"/>
                  </a:lnTo>
                  <a:lnTo>
                    <a:pt x="193" y="539"/>
                  </a:lnTo>
                  <a:lnTo>
                    <a:pt x="197" y="543"/>
                  </a:lnTo>
                  <a:lnTo>
                    <a:pt x="199" y="546"/>
                  </a:lnTo>
                  <a:lnTo>
                    <a:pt x="201" y="550"/>
                  </a:lnTo>
                  <a:lnTo>
                    <a:pt x="203" y="554"/>
                  </a:lnTo>
                  <a:lnTo>
                    <a:pt x="201" y="558"/>
                  </a:lnTo>
                  <a:lnTo>
                    <a:pt x="199" y="562"/>
                  </a:lnTo>
                  <a:lnTo>
                    <a:pt x="197" y="564"/>
                  </a:lnTo>
                  <a:lnTo>
                    <a:pt x="197" y="568"/>
                  </a:lnTo>
                  <a:lnTo>
                    <a:pt x="197" y="570"/>
                  </a:lnTo>
                  <a:lnTo>
                    <a:pt x="199" y="570"/>
                  </a:lnTo>
                  <a:lnTo>
                    <a:pt x="199" y="570"/>
                  </a:lnTo>
                  <a:lnTo>
                    <a:pt x="201" y="570"/>
                  </a:lnTo>
                  <a:lnTo>
                    <a:pt x="201" y="572"/>
                  </a:lnTo>
                  <a:lnTo>
                    <a:pt x="201" y="574"/>
                  </a:lnTo>
                  <a:lnTo>
                    <a:pt x="203" y="576"/>
                  </a:lnTo>
                  <a:lnTo>
                    <a:pt x="205" y="578"/>
                  </a:lnTo>
                  <a:lnTo>
                    <a:pt x="209" y="584"/>
                  </a:lnTo>
                  <a:lnTo>
                    <a:pt x="209" y="587"/>
                  </a:lnTo>
                  <a:lnTo>
                    <a:pt x="209" y="591"/>
                  </a:lnTo>
                  <a:lnTo>
                    <a:pt x="211" y="591"/>
                  </a:lnTo>
                  <a:lnTo>
                    <a:pt x="215" y="595"/>
                  </a:lnTo>
                  <a:lnTo>
                    <a:pt x="219" y="595"/>
                  </a:lnTo>
                  <a:lnTo>
                    <a:pt x="221" y="595"/>
                  </a:lnTo>
                  <a:lnTo>
                    <a:pt x="221" y="595"/>
                  </a:lnTo>
                  <a:lnTo>
                    <a:pt x="221" y="593"/>
                  </a:lnTo>
                  <a:lnTo>
                    <a:pt x="219" y="593"/>
                  </a:lnTo>
                  <a:lnTo>
                    <a:pt x="219" y="591"/>
                  </a:lnTo>
                  <a:lnTo>
                    <a:pt x="217" y="591"/>
                  </a:lnTo>
                  <a:lnTo>
                    <a:pt x="217" y="589"/>
                  </a:lnTo>
                  <a:lnTo>
                    <a:pt x="217" y="587"/>
                  </a:lnTo>
                  <a:lnTo>
                    <a:pt x="219" y="587"/>
                  </a:lnTo>
                  <a:lnTo>
                    <a:pt x="221" y="587"/>
                  </a:lnTo>
                  <a:lnTo>
                    <a:pt x="221" y="587"/>
                  </a:lnTo>
                  <a:lnTo>
                    <a:pt x="221" y="589"/>
                  </a:lnTo>
                  <a:lnTo>
                    <a:pt x="223" y="591"/>
                  </a:lnTo>
                  <a:lnTo>
                    <a:pt x="223" y="591"/>
                  </a:lnTo>
                  <a:lnTo>
                    <a:pt x="225" y="593"/>
                  </a:lnTo>
                  <a:lnTo>
                    <a:pt x="225" y="593"/>
                  </a:lnTo>
                  <a:lnTo>
                    <a:pt x="227" y="595"/>
                  </a:lnTo>
                  <a:lnTo>
                    <a:pt x="227" y="595"/>
                  </a:lnTo>
                  <a:lnTo>
                    <a:pt x="227" y="597"/>
                  </a:lnTo>
                  <a:lnTo>
                    <a:pt x="227" y="597"/>
                  </a:lnTo>
                  <a:lnTo>
                    <a:pt x="229" y="597"/>
                  </a:lnTo>
                  <a:lnTo>
                    <a:pt x="229" y="597"/>
                  </a:lnTo>
                  <a:lnTo>
                    <a:pt x="231" y="597"/>
                  </a:lnTo>
                  <a:lnTo>
                    <a:pt x="231" y="597"/>
                  </a:lnTo>
                  <a:lnTo>
                    <a:pt x="234" y="597"/>
                  </a:lnTo>
                  <a:lnTo>
                    <a:pt x="229" y="593"/>
                  </a:lnTo>
                  <a:lnTo>
                    <a:pt x="229" y="591"/>
                  </a:lnTo>
                  <a:lnTo>
                    <a:pt x="227" y="589"/>
                  </a:lnTo>
                  <a:lnTo>
                    <a:pt x="229" y="584"/>
                  </a:lnTo>
                  <a:lnTo>
                    <a:pt x="231" y="580"/>
                  </a:lnTo>
                  <a:lnTo>
                    <a:pt x="236" y="576"/>
                  </a:lnTo>
                  <a:lnTo>
                    <a:pt x="236" y="574"/>
                  </a:lnTo>
                  <a:lnTo>
                    <a:pt x="238" y="572"/>
                  </a:lnTo>
                  <a:lnTo>
                    <a:pt x="242" y="570"/>
                  </a:lnTo>
                  <a:lnTo>
                    <a:pt x="246" y="568"/>
                  </a:lnTo>
                  <a:lnTo>
                    <a:pt x="250" y="568"/>
                  </a:lnTo>
                  <a:lnTo>
                    <a:pt x="275" y="578"/>
                  </a:lnTo>
                  <a:lnTo>
                    <a:pt x="281" y="580"/>
                  </a:lnTo>
                  <a:lnTo>
                    <a:pt x="285" y="582"/>
                  </a:lnTo>
                  <a:lnTo>
                    <a:pt x="289" y="580"/>
                  </a:lnTo>
                  <a:lnTo>
                    <a:pt x="291" y="578"/>
                  </a:lnTo>
                  <a:lnTo>
                    <a:pt x="291" y="574"/>
                  </a:lnTo>
                  <a:lnTo>
                    <a:pt x="291" y="570"/>
                  </a:lnTo>
                  <a:lnTo>
                    <a:pt x="289" y="568"/>
                  </a:lnTo>
                  <a:lnTo>
                    <a:pt x="287" y="564"/>
                  </a:lnTo>
                  <a:lnTo>
                    <a:pt x="285" y="560"/>
                  </a:lnTo>
                  <a:lnTo>
                    <a:pt x="283" y="556"/>
                  </a:lnTo>
                  <a:lnTo>
                    <a:pt x="283" y="552"/>
                  </a:lnTo>
                  <a:lnTo>
                    <a:pt x="285" y="548"/>
                  </a:lnTo>
                  <a:lnTo>
                    <a:pt x="285" y="546"/>
                  </a:lnTo>
                  <a:lnTo>
                    <a:pt x="285" y="546"/>
                  </a:lnTo>
                  <a:lnTo>
                    <a:pt x="287" y="543"/>
                  </a:lnTo>
                  <a:lnTo>
                    <a:pt x="289" y="543"/>
                  </a:lnTo>
                  <a:lnTo>
                    <a:pt x="293" y="543"/>
                  </a:lnTo>
                  <a:lnTo>
                    <a:pt x="295" y="543"/>
                  </a:lnTo>
                  <a:lnTo>
                    <a:pt x="299" y="539"/>
                  </a:lnTo>
                  <a:lnTo>
                    <a:pt x="313" y="535"/>
                  </a:lnTo>
                  <a:lnTo>
                    <a:pt x="318" y="533"/>
                  </a:lnTo>
                  <a:lnTo>
                    <a:pt x="318" y="529"/>
                  </a:lnTo>
                  <a:lnTo>
                    <a:pt x="315" y="525"/>
                  </a:lnTo>
                  <a:lnTo>
                    <a:pt x="311" y="523"/>
                  </a:lnTo>
                  <a:lnTo>
                    <a:pt x="311" y="523"/>
                  </a:lnTo>
                  <a:lnTo>
                    <a:pt x="309" y="519"/>
                  </a:lnTo>
                  <a:lnTo>
                    <a:pt x="309" y="517"/>
                  </a:lnTo>
                  <a:lnTo>
                    <a:pt x="309" y="515"/>
                  </a:lnTo>
                  <a:lnTo>
                    <a:pt x="309" y="513"/>
                  </a:lnTo>
                  <a:lnTo>
                    <a:pt x="311" y="511"/>
                  </a:lnTo>
                  <a:lnTo>
                    <a:pt x="315" y="507"/>
                  </a:lnTo>
                  <a:lnTo>
                    <a:pt x="318" y="505"/>
                  </a:lnTo>
                  <a:lnTo>
                    <a:pt x="318" y="502"/>
                  </a:lnTo>
                  <a:lnTo>
                    <a:pt x="318" y="500"/>
                  </a:lnTo>
                  <a:lnTo>
                    <a:pt x="318" y="498"/>
                  </a:lnTo>
                  <a:lnTo>
                    <a:pt x="315" y="498"/>
                  </a:lnTo>
                  <a:lnTo>
                    <a:pt x="313" y="498"/>
                  </a:lnTo>
                  <a:lnTo>
                    <a:pt x="313" y="498"/>
                  </a:lnTo>
                  <a:lnTo>
                    <a:pt x="313" y="496"/>
                  </a:lnTo>
                  <a:lnTo>
                    <a:pt x="313" y="496"/>
                  </a:lnTo>
                  <a:lnTo>
                    <a:pt x="313" y="496"/>
                  </a:lnTo>
                  <a:lnTo>
                    <a:pt x="315" y="496"/>
                  </a:lnTo>
                  <a:lnTo>
                    <a:pt x="318" y="496"/>
                  </a:lnTo>
                  <a:lnTo>
                    <a:pt x="318" y="496"/>
                  </a:lnTo>
                  <a:lnTo>
                    <a:pt x="318" y="494"/>
                  </a:lnTo>
                  <a:lnTo>
                    <a:pt x="311" y="490"/>
                  </a:lnTo>
                  <a:lnTo>
                    <a:pt x="311" y="490"/>
                  </a:lnTo>
                  <a:lnTo>
                    <a:pt x="313" y="490"/>
                  </a:lnTo>
                  <a:lnTo>
                    <a:pt x="315" y="490"/>
                  </a:lnTo>
                  <a:lnTo>
                    <a:pt x="315" y="488"/>
                  </a:lnTo>
                  <a:lnTo>
                    <a:pt x="318" y="488"/>
                  </a:lnTo>
                  <a:lnTo>
                    <a:pt x="315" y="486"/>
                  </a:lnTo>
                  <a:lnTo>
                    <a:pt x="315" y="486"/>
                  </a:lnTo>
                  <a:lnTo>
                    <a:pt x="315" y="484"/>
                  </a:lnTo>
                  <a:lnTo>
                    <a:pt x="315" y="482"/>
                  </a:lnTo>
                  <a:lnTo>
                    <a:pt x="315" y="482"/>
                  </a:lnTo>
                  <a:lnTo>
                    <a:pt x="315" y="480"/>
                  </a:lnTo>
                  <a:lnTo>
                    <a:pt x="315" y="478"/>
                  </a:lnTo>
                  <a:lnTo>
                    <a:pt x="315" y="478"/>
                  </a:lnTo>
                  <a:lnTo>
                    <a:pt x="315" y="476"/>
                  </a:lnTo>
                  <a:lnTo>
                    <a:pt x="315" y="474"/>
                  </a:lnTo>
                  <a:lnTo>
                    <a:pt x="313" y="472"/>
                  </a:lnTo>
                  <a:lnTo>
                    <a:pt x="315" y="472"/>
                  </a:lnTo>
                  <a:lnTo>
                    <a:pt x="318" y="472"/>
                  </a:lnTo>
                  <a:lnTo>
                    <a:pt x="318" y="470"/>
                  </a:lnTo>
                  <a:lnTo>
                    <a:pt x="320" y="470"/>
                  </a:lnTo>
                  <a:lnTo>
                    <a:pt x="322" y="468"/>
                  </a:lnTo>
                  <a:lnTo>
                    <a:pt x="320" y="468"/>
                  </a:lnTo>
                  <a:lnTo>
                    <a:pt x="318" y="468"/>
                  </a:lnTo>
                  <a:lnTo>
                    <a:pt x="315" y="468"/>
                  </a:lnTo>
                  <a:lnTo>
                    <a:pt x="318" y="466"/>
                  </a:lnTo>
                  <a:lnTo>
                    <a:pt x="320" y="464"/>
                  </a:lnTo>
                  <a:lnTo>
                    <a:pt x="320" y="464"/>
                  </a:lnTo>
                  <a:lnTo>
                    <a:pt x="322" y="461"/>
                  </a:lnTo>
                  <a:lnTo>
                    <a:pt x="322" y="461"/>
                  </a:lnTo>
                  <a:lnTo>
                    <a:pt x="322" y="459"/>
                  </a:lnTo>
                  <a:lnTo>
                    <a:pt x="322" y="459"/>
                  </a:lnTo>
                  <a:lnTo>
                    <a:pt x="320" y="457"/>
                  </a:lnTo>
                  <a:lnTo>
                    <a:pt x="320" y="457"/>
                  </a:lnTo>
                  <a:lnTo>
                    <a:pt x="318" y="455"/>
                  </a:lnTo>
                  <a:lnTo>
                    <a:pt x="318" y="455"/>
                  </a:lnTo>
                  <a:lnTo>
                    <a:pt x="318" y="455"/>
                  </a:lnTo>
                  <a:lnTo>
                    <a:pt x="318" y="453"/>
                  </a:lnTo>
                  <a:lnTo>
                    <a:pt x="318" y="453"/>
                  </a:lnTo>
                  <a:lnTo>
                    <a:pt x="318" y="451"/>
                  </a:lnTo>
                  <a:lnTo>
                    <a:pt x="318" y="451"/>
                  </a:lnTo>
                  <a:lnTo>
                    <a:pt x="320" y="449"/>
                  </a:lnTo>
                  <a:lnTo>
                    <a:pt x="320" y="449"/>
                  </a:lnTo>
                  <a:lnTo>
                    <a:pt x="320" y="447"/>
                  </a:lnTo>
                  <a:lnTo>
                    <a:pt x="320" y="445"/>
                  </a:lnTo>
                  <a:lnTo>
                    <a:pt x="322" y="445"/>
                  </a:lnTo>
                  <a:lnTo>
                    <a:pt x="322" y="445"/>
                  </a:lnTo>
                  <a:lnTo>
                    <a:pt x="324" y="447"/>
                  </a:lnTo>
                  <a:lnTo>
                    <a:pt x="324" y="447"/>
                  </a:lnTo>
                  <a:lnTo>
                    <a:pt x="324" y="445"/>
                  </a:lnTo>
                  <a:lnTo>
                    <a:pt x="324" y="443"/>
                  </a:lnTo>
                  <a:lnTo>
                    <a:pt x="326" y="443"/>
                  </a:lnTo>
                  <a:lnTo>
                    <a:pt x="326" y="443"/>
                  </a:lnTo>
                  <a:lnTo>
                    <a:pt x="326" y="443"/>
                  </a:lnTo>
                  <a:lnTo>
                    <a:pt x="326" y="443"/>
                  </a:lnTo>
                  <a:lnTo>
                    <a:pt x="328" y="445"/>
                  </a:lnTo>
                  <a:lnTo>
                    <a:pt x="328" y="445"/>
                  </a:lnTo>
                  <a:lnTo>
                    <a:pt x="328" y="445"/>
                  </a:lnTo>
                  <a:lnTo>
                    <a:pt x="328" y="443"/>
                  </a:lnTo>
                  <a:lnTo>
                    <a:pt x="328" y="443"/>
                  </a:lnTo>
                  <a:lnTo>
                    <a:pt x="328" y="441"/>
                  </a:lnTo>
                  <a:lnTo>
                    <a:pt x="330" y="439"/>
                  </a:lnTo>
                  <a:lnTo>
                    <a:pt x="330" y="437"/>
                  </a:lnTo>
                  <a:lnTo>
                    <a:pt x="330" y="437"/>
                  </a:lnTo>
                  <a:lnTo>
                    <a:pt x="330" y="435"/>
                  </a:lnTo>
                  <a:lnTo>
                    <a:pt x="332" y="435"/>
                  </a:lnTo>
                  <a:lnTo>
                    <a:pt x="332" y="435"/>
                  </a:lnTo>
                  <a:lnTo>
                    <a:pt x="334" y="433"/>
                  </a:lnTo>
                  <a:lnTo>
                    <a:pt x="336" y="431"/>
                  </a:lnTo>
                  <a:lnTo>
                    <a:pt x="336" y="429"/>
                  </a:lnTo>
                  <a:lnTo>
                    <a:pt x="334" y="427"/>
                  </a:lnTo>
                  <a:lnTo>
                    <a:pt x="334" y="427"/>
                  </a:lnTo>
                  <a:lnTo>
                    <a:pt x="336" y="425"/>
                  </a:lnTo>
                  <a:lnTo>
                    <a:pt x="338" y="423"/>
                  </a:lnTo>
                  <a:lnTo>
                    <a:pt x="340" y="423"/>
                  </a:lnTo>
                  <a:lnTo>
                    <a:pt x="340" y="421"/>
                  </a:lnTo>
                  <a:lnTo>
                    <a:pt x="340" y="421"/>
                  </a:lnTo>
                  <a:lnTo>
                    <a:pt x="342" y="421"/>
                  </a:lnTo>
                  <a:lnTo>
                    <a:pt x="342" y="421"/>
                  </a:lnTo>
                  <a:lnTo>
                    <a:pt x="342" y="421"/>
                  </a:lnTo>
                  <a:lnTo>
                    <a:pt x="342" y="421"/>
                  </a:lnTo>
                  <a:lnTo>
                    <a:pt x="342" y="418"/>
                  </a:lnTo>
                  <a:lnTo>
                    <a:pt x="340" y="416"/>
                  </a:lnTo>
                  <a:lnTo>
                    <a:pt x="340" y="414"/>
                  </a:lnTo>
                  <a:lnTo>
                    <a:pt x="340" y="412"/>
                  </a:lnTo>
                  <a:lnTo>
                    <a:pt x="342" y="412"/>
                  </a:lnTo>
                  <a:lnTo>
                    <a:pt x="342" y="410"/>
                  </a:lnTo>
                  <a:lnTo>
                    <a:pt x="344" y="410"/>
                  </a:lnTo>
                  <a:lnTo>
                    <a:pt x="342" y="410"/>
                  </a:lnTo>
                  <a:lnTo>
                    <a:pt x="344" y="410"/>
                  </a:lnTo>
                  <a:lnTo>
                    <a:pt x="344" y="410"/>
                  </a:lnTo>
                  <a:lnTo>
                    <a:pt x="344" y="408"/>
                  </a:lnTo>
                  <a:lnTo>
                    <a:pt x="344" y="408"/>
                  </a:lnTo>
                  <a:lnTo>
                    <a:pt x="344" y="406"/>
                  </a:lnTo>
                  <a:lnTo>
                    <a:pt x="344" y="404"/>
                  </a:lnTo>
                  <a:lnTo>
                    <a:pt x="344" y="402"/>
                  </a:lnTo>
                  <a:lnTo>
                    <a:pt x="346" y="402"/>
                  </a:lnTo>
                  <a:lnTo>
                    <a:pt x="346" y="400"/>
                  </a:lnTo>
                  <a:lnTo>
                    <a:pt x="348" y="400"/>
                  </a:lnTo>
                  <a:lnTo>
                    <a:pt x="348" y="400"/>
                  </a:lnTo>
                  <a:lnTo>
                    <a:pt x="350" y="400"/>
                  </a:lnTo>
                  <a:lnTo>
                    <a:pt x="350" y="392"/>
                  </a:lnTo>
                  <a:lnTo>
                    <a:pt x="350" y="388"/>
                  </a:lnTo>
                  <a:lnTo>
                    <a:pt x="348" y="384"/>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IL</a:t>
              </a:r>
            </a:p>
          </p:txBody>
        </p:sp>
        <p:sp>
          <p:nvSpPr>
            <p:cNvPr id="101" name="Freeform 42">
              <a:extLst>
                <a:ext uri="{FF2B5EF4-FFF2-40B4-BE49-F238E27FC236}">
                  <a16:creationId xmlns:a16="http://schemas.microsoft.com/office/drawing/2014/main" id="{82CD9420-9694-4128-6D6F-174CBB4A44BD}"/>
                </a:ext>
              </a:extLst>
            </p:cNvPr>
            <p:cNvSpPr>
              <a:spLocks/>
            </p:cNvSpPr>
            <p:nvPr/>
          </p:nvSpPr>
          <p:spPr bwMode="auto">
            <a:xfrm>
              <a:off x="1337" y="82"/>
              <a:ext cx="512" cy="783"/>
            </a:xfrm>
            <a:custGeom>
              <a:avLst/>
              <a:gdLst>
                <a:gd name="T0" fmla="*/ 487 w 512"/>
                <a:gd name="T1" fmla="*/ 766 h 783"/>
                <a:gd name="T2" fmla="*/ 258 w 512"/>
                <a:gd name="T3" fmla="*/ 756 h 783"/>
                <a:gd name="T4" fmla="*/ 16 w 512"/>
                <a:gd name="T5" fmla="*/ 723 h 783"/>
                <a:gd name="T6" fmla="*/ 26 w 512"/>
                <a:gd name="T7" fmla="*/ 557 h 783"/>
                <a:gd name="T8" fmla="*/ 39 w 512"/>
                <a:gd name="T9" fmla="*/ 512 h 783"/>
                <a:gd name="T10" fmla="*/ 45 w 512"/>
                <a:gd name="T11" fmla="*/ 494 h 783"/>
                <a:gd name="T12" fmla="*/ 33 w 512"/>
                <a:gd name="T13" fmla="*/ 482 h 783"/>
                <a:gd name="T14" fmla="*/ 24 w 512"/>
                <a:gd name="T15" fmla="*/ 465 h 783"/>
                <a:gd name="T16" fmla="*/ 41 w 512"/>
                <a:gd name="T17" fmla="*/ 441 h 783"/>
                <a:gd name="T18" fmla="*/ 63 w 512"/>
                <a:gd name="T19" fmla="*/ 408 h 783"/>
                <a:gd name="T20" fmla="*/ 98 w 512"/>
                <a:gd name="T21" fmla="*/ 359 h 783"/>
                <a:gd name="T22" fmla="*/ 82 w 512"/>
                <a:gd name="T23" fmla="*/ 324 h 783"/>
                <a:gd name="T24" fmla="*/ 72 w 512"/>
                <a:gd name="T25" fmla="*/ 273 h 783"/>
                <a:gd name="T26" fmla="*/ 98 w 512"/>
                <a:gd name="T27" fmla="*/ 80 h 783"/>
                <a:gd name="T28" fmla="*/ 176 w 512"/>
                <a:gd name="T29" fmla="*/ 70 h 783"/>
                <a:gd name="T30" fmla="*/ 180 w 512"/>
                <a:gd name="T31" fmla="*/ 127 h 783"/>
                <a:gd name="T32" fmla="*/ 190 w 512"/>
                <a:gd name="T33" fmla="*/ 143 h 783"/>
                <a:gd name="T34" fmla="*/ 186 w 512"/>
                <a:gd name="T35" fmla="*/ 160 h 783"/>
                <a:gd name="T36" fmla="*/ 190 w 512"/>
                <a:gd name="T37" fmla="*/ 170 h 783"/>
                <a:gd name="T38" fmla="*/ 201 w 512"/>
                <a:gd name="T39" fmla="*/ 187 h 783"/>
                <a:gd name="T40" fmla="*/ 217 w 512"/>
                <a:gd name="T41" fmla="*/ 203 h 783"/>
                <a:gd name="T42" fmla="*/ 231 w 512"/>
                <a:gd name="T43" fmla="*/ 225 h 783"/>
                <a:gd name="T44" fmla="*/ 239 w 512"/>
                <a:gd name="T45" fmla="*/ 240 h 783"/>
                <a:gd name="T46" fmla="*/ 250 w 512"/>
                <a:gd name="T47" fmla="*/ 254 h 783"/>
                <a:gd name="T48" fmla="*/ 260 w 512"/>
                <a:gd name="T49" fmla="*/ 256 h 783"/>
                <a:gd name="T50" fmla="*/ 268 w 512"/>
                <a:gd name="T51" fmla="*/ 264 h 783"/>
                <a:gd name="T52" fmla="*/ 282 w 512"/>
                <a:gd name="T53" fmla="*/ 266 h 783"/>
                <a:gd name="T54" fmla="*/ 278 w 512"/>
                <a:gd name="T55" fmla="*/ 279 h 783"/>
                <a:gd name="T56" fmla="*/ 276 w 512"/>
                <a:gd name="T57" fmla="*/ 285 h 783"/>
                <a:gd name="T58" fmla="*/ 268 w 512"/>
                <a:gd name="T59" fmla="*/ 301 h 783"/>
                <a:gd name="T60" fmla="*/ 268 w 512"/>
                <a:gd name="T61" fmla="*/ 314 h 783"/>
                <a:gd name="T62" fmla="*/ 264 w 512"/>
                <a:gd name="T63" fmla="*/ 322 h 783"/>
                <a:gd name="T64" fmla="*/ 266 w 512"/>
                <a:gd name="T65" fmla="*/ 334 h 783"/>
                <a:gd name="T66" fmla="*/ 264 w 512"/>
                <a:gd name="T67" fmla="*/ 348 h 783"/>
                <a:gd name="T68" fmla="*/ 254 w 512"/>
                <a:gd name="T69" fmla="*/ 355 h 783"/>
                <a:gd name="T70" fmla="*/ 256 w 512"/>
                <a:gd name="T71" fmla="*/ 367 h 783"/>
                <a:gd name="T72" fmla="*/ 252 w 512"/>
                <a:gd name="T73" fmla="*/ 377 h 783"/>
                <a:gd name="T74" fmla="*/ 268 w 512"/>
                <a:gd name="T75" fmla="*/ 387 h 783"/>
                <a:gd name="T76" fmla="*/ 278 w 512"/>
                <a:gd name="T77" fmla="*/ 383 h 783"/>
                <a:gd name="T78" fmla="*/ 291 w 512"/>
                <a:gd name="T79" fmla="*/ 375 h 783"/>
                <a:gd name="T80" fmla="*/ 295 w 512"/>
                <a:gd name="T81" fmla="*/ 369 h 783"/>
                <a:gd name="T82" fmla="*/ 309 w 512"/>
                <a:gd name="T83" fmla="*/ 383 h 783"/>
                <a:gd name="T84" fmla="*/ 311 w 512"/>
                <a:gd name="T85" fmla="*/ 396 h 783"/>
                <a:gd name="T86" fmla="*/ 311 w 512"/>
                <a:gd name="T87" fmla="*/ 412 h 783"/>
                <a:gd name="T88" fmla="*/ 319 w 512"/>
                <a:gd name="T89" fmla="*/ 426 h 783"/>
                <a:gd name="T90" fmla="*/ 325 w 512"/>
                <a:gd name="T91" fmla="*/ 437 h 783"/>
                <a:gd name="T92" fmla="*/ 325 w 512"/>
                <a:gd name="T93" fmla="*/ 453 h 783"/>
                <a:gd name="T94" fmla="*/ 336 w 512"/>
                <a:gd name="T95" fmla="*/ 469 h 783"/>
                <a:gd name="T96" fmla="*/ 352 w 512"/>
                <a:gd name="T97" fmla="*/ 478 h 783"/>
                <a:gd name="T98" fmla="*/ 356 w 512"/>
                <a:gd name="T99" fmla="*/ 488 h 783"/>
                <a:gd name="T100" fmla="*/ 358 w 512"/>
                <a:gd name="T101" fmla="*/ 498 h 783"/>
                <a:gd name="T102" fmla="*/ 362 w 512"/>
                <a:gd name="T103" fmla="*/ 510 h 783"/>
                <a:gd name="T104" fmla="*/ 371 w 512"/>
                <a:gd name="T105" fmla="*/ 510 h 783"/>
                <a:gd name="T106" fmla="*/ 399 w 512"/>
                <a:gd name="T107" fmla="*/ 510 h 783"/>
                <a:gd name="T108" fmla="*/ 412 w 512"/>
                <a:gd name="T109" fmla="*/ 504 h 783"/>
                <a:gd name="T110" fmla="*/ 430 w 512"/>
                <a:gd name="T111" fmla="*/ 506 h 783"/>
                <a:gd name="T112" fmla="*/ 450 w 512"/>
                <a:gd name="T113" fmla="*/ 510 h 783"/>
                <a:gd name="T114" fmla="*/ 477 w 512"/>
                <a:gd name="T115" fmla="*/ 510 h 783"/>
                <a:gd name="T116" fmla="*/ 477 w 512"/>
                <a:gd name="T117" fmla="*/ 504 h 783"/>
                <a:gd name="T118" fmla="*/ 481 w 512"/>
                <a:gd name="T119" fmla="*/ 496 h 783"/>
                <a:gd name="T120" fmla="*/ 493 w 512"/>
                <a:gd name="T121" fmla="*/ 496 h 783"/>
                <a:gd name="T122" fmla="*/ 502 w 512"/>
                <a:gd name="T123" fmla="*/ 51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783">
                  <a:moveTo>
                    <a:pt x="512" y="521"/>
                  </a:moveTo>
                  <a:lnTo>
                    <a:pt x="510" y="537"/>
                  </a:lnTo>
                  <a:lnTo>
                    <a:pt x="508" y="553"/>
                  </a:lnTo>
                  <a:lnTo>
                    <a:pt x="506" y="568"/>
                  </a:lnTo>
                  <a:lnTo>
                    <a:pt x="506" y="584"/>
                  </a:lnTo>
                  <a:lnTo>
                    <a:pt x="504" y="600"/>
                  </a:lnTo>
                  <a:lnTo>
                    <a:pt x="502" y="617"/>
                  </a:lnTo>
                  <a:lnTo>
                    <a:pt x="500" y="633"/>
                  </a:lnTo>
                  <a:lnTo>
                    <a:pt x="498" y="650"/>
                  </a:lnTo>
                  <a:lnTo>
                    <a:pt x="498" y="666"/>
                  </a:lnTo>
                  <a:lnTo>
                    <a:pt x="495" y="682"/>
                  </a:lnTo>
                  <a:lnTo>
                    <a:pt x="493" y="699"/>
                  </a:lnTo>
                  <a:lnTo>
                    <a:pt x="491" y="715"/>
                  </a:lnTo>
                  <a:lnTo>
                    <a:pt x="491" y="732"/>
                  </a:lnTo>
                  <a:lnTo>
                    <a:pt x="489" y="750"/>
                  </a:lnTo>
                  <a:lnTo>
                    <a:pt x="487" y="766"/>
                  </a:lnTo>
                  <a:lnTo>
                    <a:pt x="485" y="783"/>
                  </a:lnTo>
                  <a:lnTo>
                    <a:pt x="471" y="781"/>
                  </a:lnTo>
                  <a:lnTo>
                    <a:pt x="455" y="779"/>
                  </a:lnTo>
                  <a:lnTo>
                    <a:pt x="440" y="777"/>
                  </a:lnTo>
                  <a:lnTo>
                    <a:pt x="424" y="777"/>
                  </a:lnTo>
                  <a:lnTo>
                    <a:pt x="409" y="775"/>
                  </a:lnTo>
                  <a:lnTo>
                    <a:pt x="393" y="773"/>
                  </a:lnTo>
                  <a:lnTo>
                    <a:pt x="379" y="771"/>
                  </a:lnTo>
                  <a:lnTo>
                    <a:pt x="364" y="769"/>
                  </a:lnTo>
                  <a:lnTo>
                    <a:pt x="348" y="766"/>
                  </a:lnTo>
                  <a:lnTo>
                    <a:pt x="334" y="766"/>
                  </a:lnTo>
                  <a:lnTo>
                    <a:pt x="317" y="764"/>
                  </a:lnTo>
                  <a:lnTo>
                    <a:pt x="303" y="762"/>
                  </a:lnTo>
                  <a:lnTo>
                    <a:pt x="287" y="760"/>
                  </a:lnTo>
                  <a:lnTo>
                    <a:pt x="272" y="758"/>
                  </a:lnTo>
                  <a:lnTo>
                    <a:pt x="258" y="756"/>
                  </a:lnTo>
                  <a:lnTo>
                    <a:pt x="242" y="754"/>
                  </a:lnTo>
                  <a:lnTo>
                    <a:pt x="227" y="752"/>
                  </a:lnTo>
                  <a:lnTo>
                    <a:pt x="211" y="750"/>
                  </a:lnTo>
                  <a:lnTo>
                    <a:pt x="196" y="748"/>
                  </a:lnTo>
                  <a:lnTo>
                    <a:pt x="182" y="746"/>
                  </a:lnTo>
                  <a:lnTo>
                    <a:pt x="166" y="744"/>
                  </a:lnTo>
                  <a:lnTo>
                    <a:pt x="151" y="742"/>
                  </a:lnTo>
                  <a:lnTo>
                    <a:pt x="137" y="740"/>
                  </a:lnTo>
                  <a:lnTo>
                    <a:pt x="121" y="738"/>
                  </a:lnTo>
                  <a:lnTo>
                    <a:pt x="106" y="736"/>
                  </a:lnTo>
                  <a:lnTo>
                    <a:pt x="92" y="734"/>
                  </a:lnTo>
                  <a:lnTo>
                    <a:pt x="76" y="732"/>
                  </a:lnTo>
                  <a:lnTo>
                    <a:pt x="61" y="730"/>
                  </a:lnTo>
                  <a:lnTo>
                    <a:pt x="47" y="728"/>
                  </a:lnTo>
                  <a:lnTo>
                    <a:pt x="31" y="726"/>
                  </a:lnTo>
                  <a:lnTo>
                    <a:pt x="16" y="723"/>
                  </a:lnTo>
                  <a:lnTo>
                    <a:pt x="0" y="719"/>
                  </a:lnTo>
                  <a:lnTo>
                    <a:pt x="2" y="709"/>
                  </a:lnTo>
                  <a:lnTo>
                    <a:pt x="4" y="699"/>
                  </a:lnTo>
                  <a:lnTo>
                    <a:pt x="6" y="689"/>
                  </a:lnTo>
                  <a:lnTo>
                    <a:pt x="8" y="676"/>
                  </a:lnTo>
                  <a:lnTo>
                    <a:pt x="10" y="666"/>
                  </a:lnTo>
                  <a:lnTo>
                    <a:pt x="10" y="656"/>
                  </a:lnTo>
                  <a:lnTo>
                    <a:pt x="12" y="646"/>
                  </a:lnTo>
                  <a:lnTo>
                    <a:pt x="14" y="633"/>
                  </a:lnTo>
                  <a:lnTo>
                    <a:pt x="16" y="623"/>
                  </a:lnTo>
                  <a:lnTo>
                    <a:pt x="18" y="613"/>
                  </a:lnTo>
                  <a:lnTo>
                    <a:pt x="18" y="603"/>
                  </a:lnTo>
                  <a:lnTo>
                    <a:pt x="20" y="590"/>
                  </a:lnTo>
                  <a:lnTo>
                    <a:pt x="22" y="580"/>
                  </a:lnTo>
                  <a:lnTo>
                    <a:pt x="24" y="570"/>
                  </a:lnTo>
                  <a:lnTo>
                    <a:pt x="26" y="557"/>
                  </a:lnTo>
                  <a:lnTo>
                    <a:pt x="26" y="547"/>
                  </a:lnTo>
                  <a:lnTo>
                    <a:pt x="29" y="543"/>
                  </a:lnTo>
                  <a:lnTo>
                    <a:pt x="29" y="533"/>
                  </a:lnTo>
                  <a:lnTo>
                    <a:pt x="29" y="533"/>
                  </a:lnTo>
                  <a:lnTo>
                    <a:pt x="29" y="533"/>
                  </a:lnTo>
                  <a:lnTo>
                    <a:pt x="29" y="531"/>
                  </a:lnTo>
                  <a:lnTo>
                    <a:pt x="29" y="529"/>
                  </a:lnTo>
                  <a:lnTo>
                    <a:pt x="31" y="527"/>
                  </a:lnTo>
                  <a:lnTo>
                    <a:pt x="33" y="527"/>
                  </a:lnTo>
                  <a:lnTo>
                    <a:pt x="35" y="525"/>
                  </a:lnTo>
                  <a:lnTo>
                    <a:pt x="35" y="523"/>
                  </a:lnTo>
                  <a:lnTo>
                    <a:pt x="37" y="521"/>
                  </a:lnTo>
                  <a:lnTo>
                    <a:pt x="37" y="516"/>
                  </a:lnTo>
                  <a:lnTo>
                    <a:pt x="39" y="512"/>
                  </a:lnTo>
                  <a:lnTo>
                    <a:pt x="39" y="512"/>
                  </a:lnTo>
                  <a:lnTo>
                    <a:pt x="39" y="512"/>
                  </a:lnTo>
                  <a:lnTo>
                    <a:pt x="41" y="510"/>
                  </a:lnTo>
                  <a:lnTo>
                    <a:pt x="41" y="510"/>
                  </a:lnTo>
                  <a:lnTo>
                    <a:pt x="41" y="506"/>
                  </a:lnTo>
                  <a:lnTo>
                    <a:pt x="39" y="504"/>
                  </a:lnTo>
                  <a:lnTo>
                    <a:pt x="39" y="502"/>
                  </a:lnTo>
                  <a:lnTo>
                    <a:pt x="39" y="500"/>
                  </a:lnTo>
                  <a:lnTo>
                    <a:pt x="41" y="500"/>
                  </a:lnTo>
                  <a:lnTo>
                    <a:pt x="41" y="500"/>
                  </a:lnTo>
                  <a:lnTo>
                    <a:pt x="43" y="500"/>
                  </a:lnTo>
                  <a:lnTo>
                    <a:pt x="43" y="500"/>
                  </a:lnTo>
                  <a:lnTo>
                    <a:pt x="43" y="498"/>
                  </a:lnTo>
                  <a:lnTo>
                    <a:pt x="45" y="498"/>
                  </a:lnTo>
                  <a:lnTo>
                    <a:pt x="45" y="496"/>
                  </a:lnTo>
                  <a:lnTo>
                    <a:pt x="45" y="496"/>
                  </a:lnTo>
                  <a:lnTo>
                    <a:pt x="45" y="496"/>
                  </a:lnTo>
                  <a:lnTo>
                    <a:pt x="45" y="494"/>
                  </a:lnTo>
                  <a:lnTo>
                    <a:pt x="45" y="494"/>
                  </a:lnTo>
                  <a:lnTo>
                    <a:pt x="45" y="492"/>
                  </a:lnTo>
                  <a:lnTo>
                    <a:pt x="43" y="490"/>
                  </a:lnTo>
                  <a:lnTo>
                    <a:pt x="41" y="490"/>
                  </a:lnTo>
                  <a:lnTo>
                    <a:pt x="41" y="490"/>
                  </a:lnTo>
                  <a:lnTo>
                    <a:pt x="41" y="488"/>
                  </a:lnTo>
                  <a:lnTo>
                    <a:pt x="41" y="486"/>
                  </a:lnTo>
                  <a:lnTo>
                    <a:pt x="41" y="486"/>
                  </a:lnTo>
                  <a:lnTo>
                    <a:pt x="41" y="484"/>
                  </a:lnTo>
                  <a:lnTo>
                    <a:pt x="41" y="484"/>
                  </a:lnTo>
                  <a:lnTo>
                    <a:pt x="39" y="484"/>
                  </a:lnTo>
                  <a:lnTo>
                    <a:pt x="37" y="484"/>
                  </a:lnTo>
                  <a:lnTo>
                    <a:pt x="35" y="484"/>
                  </a:lnTo>
                  <a:lnTo>
                    <a:pt x="33" y="484"/>
                  </a:lnTo>
                  <a:lnTo>
                    <a:pt x="33" y="482"/>
                  </a:lnTo>
                  <a:lnTo>
                    <a:pt x="33" y="482"/>
                  </a:lnTo>
                  <a:lnTo>
                    <a:pt x="33" y="480"/>
                  </a:lnTo>
                  <a:lnTo>
                    <a:pt x="31" y="480"/>
                  </a:lnTo>
                  <a:lnTo>
                    <a:pt x="31" y="480"/>
                  </a:lnTo>
                  <a:lnTo>
                    <a:pt x="29" y="482"/>
                  </a:lnTo>
                  <a:lnTo>
                    <a:pt x="29" y="482"/>
                  </a:lnTo>
                  <a:lnTo>
                    <a:pt x="29" y="482"/>
                  </a:lnTo>
                  <a:lnTo>
                    <a:pt x="24" y="480"/>
                  </a:lnTo>
                  <a:lnTo>
                    <a:pt x="24" y="478"/>
                  </a:lnTo>
                  <a:lnTo>
                    <a:pt x="24" y="475"/>
                  </a:lnTo>
                  <a:lnTo>
                    <a:pt x="24" y="475"/>
                  </a:lnTo>
                  <a:lnTo>
                    <a:pt x="24" y="473"/>
                  </a:lnTo>
                  <a:lnTo>
                    <a:pt x="24" y="473"/>
                  </a:lnTo>
                  <a:lnTo>
                    <a:pt x="24" y="471"/>
                  </a:lnTo>
                  <a:lnTo>
                    <a:pt x="24" y="469"/>
                  </a:lnTo>
                  <a:lnTo>
                    <a:pt x="24" y="467"/>
                  </a:lnTo>
                  <a:lnTo>
                    <a:pt x="24" y="465"/>
                  </a:lnTo>
                  <a:lnTo>
                    <a:pt x="26" y="463"/>
                  </a:lnTo>
                  <a:lnTo>
                    <a:pt x="26" y="461"/>
                  </a:lnTo>
                  <a:lnTo>
                    <a:pt x="26" y="459"/>
                  </a:lnTo>
                  <a:lnTo>
                    <a:pt x="26" y="459"/>
                  </a:lnTo>
                  <a:lnTo>
                    <a:pt x="29" y="457"/>
                  </a:lnTo>
                  <a:lnTo>
                    <a:pt x="29" y="457"/>
                  </a:lnTo>
                  <a:lnTo>
                    <a:pt x="29" y="457"/>
                  </a:lnTo>
                  <a:lnTo>
                    <a:pt x="29" y="455"/>
                  </a:lnTo>
                  <a:lnTo>
                    <a:pt x="31" y="455"/>
                  </a:lnTo>
                  <a:lnTo>
                    <a:pt x="31" y="455"/>
                  </a:lnTo>
                  <a:lnTo>
                    <a:pt x="33" y="455"/>
                  </a:lnTo>
                  <a:lnTo>
                    <a:pt x="35" y="453"/>
                  </a:lnTo>
                  <a:lnTo>
                    <a:pt x="35" y="451"/>
                  </a:lnTo>
                  <a:lnTo>
                    <a:pt x="37" y="447"/>
                  </a:lnTo>
                  <a:lnTo>
                    <a:pt x="37" y="445"/>
                  </a:lnTo>
                  <a:lnTo>
                    <a:pt x="41" y="441"/>
                  </a:lnTo>
                  <a:lnTo>
                    <a:pt x="43" y="437"/>
                  </a:lnTo>
                  <a:lnTo>
                    <a:pt x="45" y="435"/>
                  </a:lnTo>
                  <a:lnTo>
                    <a:pt x="45" y="435"/>
                  </a:lnTo>
                  <a:lnTo>
                    <a:pt x="51" y="432"/>
                  </a:lnTo>
                  <a:lnTo>
                    <a:pt x="53" y="430"/>
                  </a:lnTo>
                  <a:lnTo>
                    <a:pt x="53" y="428"/>
                  </a:lnTo>
                  <a:lnTo>
                    <a:pt x="59" y="424"/>
                  </a:lnTo>
                  <a:lnTo>
                    <a:pt x="61" y="420"/>
                  </a:lnTo>
                  <a:lnTo>
                    <a:pt x="61" y="418"/>
                  </a:lnTo>
                  <a:lnTo>
                    <a:pt x="63" y="414"/>
                  </a:lnTo>
                  <a:lnTo>
                    <a:pt x="63" y="412"/>
                  </a:lnTo>
                  <a:lnTo>
                    <a:pt x="63" y="412"/>
                  </a:lnTo>
                  <a:lnTo>
                    <a:pt x="63" y="410"/>
                  </a:lnTo>
                  <a:lnTo>
                    <a:pt x="63" y="410"/>
                  </a:lnTo>
                  <a:lnTo>
                    <a:pt x="63" y="408"/>
                  </a:lnTo>
                  <a:lnTo>
                    <a:pt x="63" y="408"/>
                  </a:lnTo>
                  <a:lnTo>
                    <a:pt x="65" y="406"/>
                  </a:lnTo>
                  <a:lnTo>
                    <a:pt x="76" y="396"/>
                  </a:lnTo>
                  <a:lnTo>
                    <a:pt x="78" y="391"/>
                  </a:lnTo>
                  <a:lnTo>
                    <a:pt x="80" y="385"/>
                  </a:lnTo>
                  <a:lnTo>
                    <a:pt x="82" y="383"/>
                  </a:lnTo>
                  <a:lnTo>
                    <a:pt x="82" y="383"/>
                  </a:lnTo>
                  <a:lnTo>
                    <a:pt x="82" y="379"/>
                  </a:lnTo>
                  <a:lnTo>
                    <a:pt x="84" y="377"/>
                  </a:lnTo>
                  <a:lnTo>
                    <a:pt x="84" y="375"/>
                  </a:lnTo>
                  <a:lnTo>
                    <a:pt x="88" y="371"/>
                  </a:lnTo>
                  <a:lnTo>
                    <a:pt x="90" y="369"/>
                  </a:lnTo>
                  <a:lnTo>
                    <a:pt x="94" y="365"/>
                  </a:lnTo>
                  <a:lnTo>
                    <a:pt x="94" y="363"/>
                  </a:lnTo>
                  <a:lnTo>
                    <a:pt x="94" y="361"/>
                  </a:lnTo>
                  <a:lnTo>
                    <a:pt x="96" y="359"/>
                  </a:lnTo>
                  <a:lnTo>
                    <a:pt x="98" y="359"/>
                  </a:lnTo>
                  <a:lnTo>
                    <a:pt x="100" y="357"/>
                  </a:lnTo>
                  <a:lnTo>
                    <a:pt x="102" y="355"/>
                  </a:lnTo>
                  <a:lnTo>
                    <a:pt x="102" y="353"/>
                  </a:lnTo>
                  <a:lnTo>
                    <a:pt x="102" y="350"/>
                  </a:lnTo>
                  <a:lnTo>
                    <a:pt x="102" y="348"/>
                  </a:lnTo>
                  <a:lnTo>
                    <a:pt x="100" y="342"/>
                  </a:lnTo>
                  <a:lnTo>
                    <a:pt x="100" y="338"/>
                  </a:lnTo>
                  <a:lnTo>
                    <a:pt x="98" y="336"/>
                  </a:lnTo>
                  <a:lnTo>
                    <a:pt x="98" y="334"/>
                  </a:lnTo>
                  <a:lnTo>
                    <a:pt x="96" y="334"/>
                  </a:lnTo>
                  <a:lnTo>
                    <a:pt x="94" y="332"/>
                  </a:lnTo>
                  <a:lnTo>
                    <a:pt x="90" y="330"/>
                  </a:lnTo>
                  <a:lnTo>
                    <a:pt x="88" y="328"/>
                  </a:lnTo>
                  <a:lnTo>
                    <a:pt x="88" y="326"/>
                  </a:lnTo>
                  <a:lnTo>
                    <a:pt x="82" y="324"/>
                  </a:lnTo>
                  <a:lnTo>
                    <a:pt x="82" y="324"/>
                  </a:lnTo>
                  <a:lnTo>
                    <a:pt x="82" y="322"/>
                  </a:lnTo>
                  <a:lnTo>
                    <a:pt x="78" y="316"/>
                  </a:lnTo>
                  <a:lnTo>
                    <a:pt x="76" y="309"/>
                  </a:lnTo>
                  <a:lnTo>
                    <a:pt x="76" y="307"/>
                  </a:lnTo>
                  <a:lnTo>
                    <a:pt x="76" y="305"/>
                  </a:lnTo>
                  <a:lnTo>
                    <a:pt x="76" y="301"/>
                  </a:lnTo>
                  <a:lnTo>
                    <a:pt x="72" y="295"/>
                  </a:lnTo>
                  <a:lnTo>
                    <a:pt x="72" y="295"/>
                  </a:lnTo>
                  <a:lnTo>
                    <a:pt x="74" y="293"/>
                  </a:lnTo>
                  <a:lnTo>
                    <a:pt x="76" y="291"/>
                  </a:lnTo>
                  <a:lnTo>
                    <a:pt x="76" y="289"/>
                  </a:lnTo>
                  <a:lnTo>
                    <a:pt x="76" y="287"/>
                  </a:lnTo>
                  <a:lnTo>
                    <a:pt x="76" y="285"/>
                  </a:lnTo>
                  <a:lnTo>
                    <a:pt x="76" y="279"/>
                  </a:lnTo>
                  <a:lnTo>
                    <a:pt x="74" y="277"/>
                  </a:lnTo>
                  <a:lnTo>
                    <a:pt x="72" y="273"/>
                  </a:lnTo>
                  <a:lnTo>
                    <a:pt x="69" y="266"/>
                  </a:lnTo>
                  <a:lnTo>
                    <a:pt x="69" y="266"/>
                  </a:lnTo>
                  <a:lnTo>
                    <a:pt x="69" y="264"/>
                  </a:lnTo>
                  <a:lnTo>
                    <a:pt x="72" y="260"/>
                  </a:lnTo>
                  <a:lnTo>
                    <a:pt x="72" y="258"/>
                  </a:lnTo>
                  <a:lnTo>
                    <a:pt x="74" y="242"/>
                  </a:lnTo>
                  <a:lnTo>
                    <a:pt x="78" y="225"/>
                  </a:lnTo>
                  <a:lnTo>
                    <a:pt x="80" y="209"/>
                  </a:lnTo>
                  <a:lnTo>
                    <a:pt x="82" y="193"/>
                  </a:lnTo>
                  <a:lnTo>
                    <a:pt x="84" y="176"/>
                  </a:lnTo>
                  <a:lnTo>
                    <a:pt x="86" y="160"/>
                  </a:lnTo>
                  <a:lnTo>
                    <a:pt x="88" y="143"/>
                  </a:lnTo>
                  <a:lnTo>
                    <a:pt x="92" y="127"/>
                  </a:lnTo>
                  <a:lnTo>
                    <a:pt x="94" y="113"/>
                  </a:lnTo>
                  <a:lnTo>
                    <a:pt x="96" y="96"/>
                  </a:lnTo>
                  <a:lnTo>
                    <a:pt x="98" y="80"/>
                  </a:lnTo>
                  <a:lnTo>
                    <a:pt x="100" y="64"/>
                  </a:lnTo>
                  <a:lnTo>
                    <a:pt x="104" y="47"/>
                  </a:lnTo>
                  <a:lnTo>
                    <a:pt x="106" y="31"/>
                  </a:lnTo>
                  <a:lnTo>
                    <a:pt x="108" y="16"/>
                  </a:lnTo>
                  <a:lnTo>
                    <a:pt x="110" y="0"/>
                  </a:lnTo>
                  <a:lnTo>
                    <a:pt x="119" y="0"/>
                  </a:lnTo>
                  <a:lnTo>
                    <a:pt x="135" y="4"/>
                  </a:lnTo>
                  <a:lnTo>
                    <a:pt x="151" y="6"/>
                  </a:lnTo>
                  <a:lnTo>
                    <a:pt x="168" y="8"/>
                  </a:lnTo>
                  <a:lnTo>
                    <a:pt x="184" y="10"/>
                  </a:lnTo>
                  <a:lnTo>
                    <a:pt x="184" y="10"/>
                  </a:lnTo>
                  <a:lnTo>
                    <a:pt x="182" y="23"/>
                  </a:lnTo>
                  <a:lnTo>
                    <a:pt x="180" y="35"/>
                  </a:lnTo>
                  <a:lnTo>
                    <a:pt x="180" y="47"/>
                  </a:lnTo>
                  <a:lnTo>
                    <a:pt x="178" y="57"/>
                  </a:lnTo>
                  <a:lnTo>
                    <a:pt x="176" y="70"/>
                  </a:lnTo>
                  <a:lnTo>
                    <a:pt x="174" y="82"/>
                  </a:lnTo>
                  <a:lnTo>
                    <a:pt x="172" y="94"/>
                  </a:lnTo>
                  <a:lnTo>
                    <a:pt x="170" y="107"/>
                  </a:lnTo>
                  <a:lnTo>
                    <a:pt x="170" y="111"/>
                  </a:lnTo>
                  <a:lnTo>
                    <a:pt x="170" y="111"/>
                  </a:lnTo>
                  <a:lnTo>
                    <a:pt x="170" y="113"/>
                  </a:lnTo>
                  <a:lnTo>
                    <a:pt x="172" y="115"/>
                  </a:lnTo>
                  <a:lnTo>
                    <a:pt x="174" y="117"/>
                  </a:lnTo>
                  <a:lnTo>
                    <a:pt x="174" y="119"/>
                  </a:lnTo>
                  <a:lnTo>
                    <a:pt x="176" y="121"/>
                  </a:lnTo>
                  <a:lnTo>
                    <a:pt x="176" y="123"/>
                  </a:lnTo>
                  <a:lnTo>
                    <a:pt x="176" y="123"/>
                  </a:lnTo>
                  <a:lnTo>
                    <a:pt x="178" y="123"/>
                  </a:lnTo>
                  <a:lnTo>
                    <a:pt x="178" y="125"/>
                  </a:lnTo>
                  <a:lnTo>
                    <a:pt x="178" y="125"/>
                  </a:lnTo>
                  <a:lnTo>
                    <a:pt x="180" y="127"/>
                  </a:lnTo>
                  <a:lnTo>
                    <a:pt x="180" y="127"/>
                  </a:lnTo>
                  <a:lnTo>
                    <a:pt x="182" y="129"/>
                  </a:lnTo>
                  <a:lnTo>
                    <a:pt x="182" y="129"/>
                  </a:lnTo>
                  <a:lnTo>
                    <a:pt x="182" y="129"/>
                  </a:lnTo>
                  <a:lnTo>
                    <a:pt x="182" y="131"/>
                  </a:lnTo>
                  <a:lnTo>
                    <a:pt x="184" y="135"/>
                  </a:lnTo>
                  <a:lnTo>
                    <a:pt x="184" y="137"/>
                  </a:lnTo>
                  <a:lnTo>
                    <a:pt x="184" y="137"/>
                  </a:lnTo>
                  <a:lnTo>
                    <a:pt x="186" y="139"/>
                  </a:lnTo>
                  <a:lnTo>
                    <a:pt x="186" y="139"/>
                  </a:lnTo>
                  <a:lnTo>
                    <a:pt x="186" y="139"/>
                  </a:lnTo>
                  <a:lnTo>
                    <a:pt x="186" y="141"/>
                  </a:lnTo>
                  <a:lnTo>
                    <a:pt x="186" y="141"/>
                  </a:lnTo>
                  <a:lnTo>
                    <a:pt x="188" y="141"/>
                  </a:lnTo>
                  <a:lnTo>
                    <a:pt x="190" y="143"/>
                  </a:lnTo>
                  <a:lnTo>
                    <a:pt x="190" y="143"/>
                  </a:lnTo>
                  <a:lnTo>
                    <a:pt x="190" y="146"/>
                  </a:lnTo>
                  <a:lnTo>
                    <a:pt x="190" y="146"/>
                  </a:lnTo>
                  <a:lnTo>
                    <a:pt x="190" y="148"/>
                  </a:lnTo>
                  <a:lnTo>
                    <a:pt x="190" y="150"/>
                  </a:lnTo>
                  <a:lnTo>
                    <a:pt x="190" y="150"/>
                  </a:lnTo>
                  <a:lnTo>
                    <a:pt x="192" y="154"/>
                  </a:lnTo>
                  <a:lnTo>
                    <a:pt x="192" y="154"/>
                  </a:lnTo>
                  <a:lnTo>
                    <a:pt x="192" y="156"/>
                  </a:lnTo>
                  <a:lnTo>
                    <a:pt x="192" y="156"/>
                  </a:lnTo>
                  <a:lnTo>
                    <a:pt x="190" y="158"/>
                  </a:lnTo>
                  <a:lnTo>
                    <a:pt x="190" y="158"/>
                  </a:lnTo>
                  <a:lnTo>
                    <a:pt x="190" y="158"/>
                  </a:lnTo>
                  <a:lnTo>
                    <a:pt x="190" y="158"/>
                  </a:lnTo>
                  <a:lnTo>
                    <a:pt x="188" y="158"/>
                  </a:lnTo>
                  <a:lnTo>
                    <a:pt x="188" y="160"/>
                  </a:lnTo>
                  <a:lnTo>
                    <a:pt x="186" y="160"/>
                  </a:lnTo>
                  <a:lnTo>
                    <a:pt x="186" y="160"/>
                  </a:lnTo>
                  <a:lnTo>
                    <a:pt x="188" y="160"/>
                  </a:lnTo>
                  <a:lnTo>
                    <a:pt x="190" y="162"/>
                  </a:lnTo>
                  <a:lnTo>
                    <a:pt x="190" y="162"/>
                  </a:lnTo>
                  <a:lnTo>
                    <a:pt x="190" y="164"/>
                  </a:lnTo>
                  <a:lnTo>
                    <a:pt x="190" y="166"/>
                  </a:lnTo>
                  <a:lnTo>
                    <a:pt x="190" y="166"/>
                  </a:lnTo>
                  <a:lnTo>
                    <a:pt x="190" y="166"/>
                  </a:lnTo>
                  <a:lnTo>
                    <a:pt x="192" y="168"/>
                  </a:lnTo>
                  <a:lnTo>
                    <a:pt x="192" y="168"/>
                  </a:lnTo>
                  <a:lnTo>
                    <a:pt x="192" y="168"/>
                  </a:lnTo>
                  <a:lnTo>
                    <a:pt x="192" y="170"/>
                  </a:lnTo>
                  <a:lnTo>
                    <a:pt x="192" y="170"/>
                  </a:lnTo>
                  <a:lnTo>
                    <a:pt x="192" y="170"/>
                  </a:lnTo>
                  <a:lnTo>
                    <a:pt x="192" y="170"/>
                  </a:lnTo>
                  <a:lnTo>
                    <a:pt x="190" y="170"/>
                  </a:lnTo>
                  <a:lnTo>
                    <a:pt x="188" y="170"/>
                  </a:lnTo>
                  <a:lnTo>
                    <a:pt x="186" y="170"/>
                  </a:lnTo>
                  <a:lnTo>
                    <a:pt x="186" y="170"/>
                  </a:lnTo>
                  <a:lnTo>
                    <a:pt x="186" y="170"/>
                  </a:lnTo>
                  <a:lnTo>
                    <a:pt x="186" y="170"/>
                  </a:lnTo>
                  <a:lnTo>
                    <a:pt x="186" y="170"/>
                  </a:lnTo>
                  <a:lnTo>
                    <a:pt x="186" y="172"/>
                  </a:lnTo>
                  <a:lnTo>
                    <a:pt x="186" y="172"/>
                  </a:lnTo>
                  <a:lnTo>
                    <a:pt x="188" y="172"/>
                  </a:lnTo>
                  <a:lnTo>
                    <a:pt x="190" y="174"/>
                  </a:lnTo>
                  <a:lnTo>
                    <a:pt x="196" y="178"/>
                  </a:lnTo>
                  <a:lnTo>
                    <a:pt x="196" y="178"/>
                  </a:lnTo>
                  <a:lnTo>
                    <a:pt x="199" y="182"/>
                  </a:lnTo>
                  <a:lnTo>
                    <a:pt x="199" y="184"/>
                  </a:lnTo>
                  <a:lnTo>
                    <a:pt x="201" y="187"/>
                  </a:lnTo>
                  <a:lnTo>
                    <a:pt x="201" y="187"/>
                  </a:lnTo>
                  <a:lnTo>
                    <a:pt x="201" y="189"/>
                  </a:lnTo>
                  <a:lnTo>
                    <a:pt x="201" y="189"/>
                  </a:lnTo>
                  <a:lnTo>
                    <a:pt x="203" y="189"/>
                  </a:lnTo>
                  <a:lnTo>
                    <a:pt x="207" y="191"/>
                  </a:lnTo>
                  <a:lnTo>
                    <a:pt x="213" y="193"/>
                  </a:lnTo>
                  <a:lnTo>
                    <a:pt x="213" y="195"/>
                  </a:lnTo>
                  <a:lnTo>
                    <a:pt x="213" y="195"/>
                  </a:lnTo>
                  <a:lnTo>
                    <a:pt x="215" y="197"/>
                  </a:lnTo>
                  <a:lnTo>
                    <a:pt x="215" y="197"/>
                  </a:lnTo>
                  <a:lnTo>
                    <a:pt x="215" y="199"/>
                  </a:lnTo>
                  <a:lnTo>
                    <a:pt x="215" y="199"/>
                  </a:lnTo>
                  <a:lnTo>
                    <a:pt x="217" y="199"/>
                  </a:lnTo>
                  <a:lnTo>
                    <a:pt x="217" y="199"/>
                  </a:lnTo>
                  <a:lnTo>
                    <a:pt x="217" y="201"/>
                  </a:lnTo>
                  <a:lnTo>
                    <a:pt x="217" y="201"/>
                  </a:lnTo>
                  <a:lnTo>
                    <a:pt x="217" y="203"/>
                  </a:lnTo>
                  <a:lnTo>
                    <a:pt x="217" y="203"/>
                  </a:lnTo>
                  <a:lnTo>
                    <a:pt x="219" y="203"/>
                  </a:lnTo>
                  <a:lnTo>
                    <a:pt x="219" y="203"/>
                  </a:lnTo>
                  <a:lnTo>
                    <a:pt x="219" y="205"/>
                  </a:lnTo>
                  <a:lnTo>
                    <a:pt x="219" y="205"/>
                  </a:lnTo>
                  <a:lnTo>
                    <a:pt x="221" y="207"/>
                  </a:lnTo>
                  <a:lnTo>
                    <a:pt x="223" y="207"/>
                  </a:lnTo>
                  <a:lnTo>
                    <a:pt x="223" y="211"/>
                  </a:lnTo>
                  <a:lnTo>
                    <a:pt x="225" y="213"/>
                  </a:lnTo>
                  <a:lnTo>
                    <a:pt x="231" y="221"/>
                  </a:lnTo>
                  <a:lnTo>
                    <a:pt x="231" y="221"/>
                  </a:lnTo>
                  <a:lnTo>
                    <a:pt x="231" y="223"/>
                  </a:lnTo>
                  <a:lnTo>
                    <a:pt x="231" y="223"/>
                  </a:lnTo>
                  <a:lnTo>
                    <a:pt x="231" y="223"/>
                  </a:lnTo>
                  <a:lnTo>
                    <a:pt x="231" y="225"/>
                  </a:lnTo>
                  <a:lnTo>
                    <a:pt x="231" y="225"/>
                  </a:lnTo>
                  <a:lnTo>
                    <a:pt x="233" y="225"/>
                  </a:lnTo>
                  <a:lnTo>
                    <a:pt x="235" y="225"/>
                  </a:lnTo>
                  <a:lnTo>
                    <a:pt x="235" y="228"/>
                  </a:lnTo>
                  <a:lnTo>
                    <a:pt x="235" y="228"/>
                  </a:lnTo>
                  <a:lnTo>
                    <a:pt x="237" y="230"/>
                  </a:lnTo>
                  <a:lnTo>
                    <a:pt x="237" y="232"/>
                  </a:lnTo>
                  <a:lnTo>
                    <a:pt x="237" y="232"/>
                  </a:lnTo>
                  <a:lnTo>
                    <a:pt x="239" y="234"/>
                  </a:lnTo>
                  <a:lnTo>
                    <a:pt x="239" y="234"/>
                  </a:lnTo>
                  <a:lnTo>
                    <a:pt x="239" y="234"/>
                  </a:lnTo>
                  <a:lnTo>
                    <a:pt x="239" y="234"/>
                  </a:lnTo>
                  <a:lnTo>
                    <a:pt x="239" y="236"/>
                  </a:lnTo>
                  <a:lnTo>
                    <a:pt x="239" y="236"/>
                  </a:lnTo>
                  <a:lnTo>
                    <a:pt x="239" y="236"/>
                  </a:lnTo>
                  <a:lnTo>
                    <a:pt x="239" y="238"/>
                  </a:lnTo>
                  <a:lnTo>
                    <a:pt x="239" y="240"/>
                  </a:lnTo>
                  <a:lnTo>
                    <a:pt x="239" y="240"/>
                  </a:lnTo>
                  <a:lnTo>
                    <a:pt x="239" y="242"/>
                  </a:lnTo>
                  <a:lnTo>
                    <a:pt x="239" y="242"/>
                  </a:lnTo>
                  <a:lnTo>
                    <a:pt x="242" y="244"/>
                  </a:lnTo>
                  <a:lnTo>
                    <a:pt x="244" y="244"/>
                  </a:lnTo>
                  <a:lnTo>
                    <a:pt x="244" y="246"/>
                  </a:lnTo>
                  <a:lnTo>
                    <a:pt x="246" y="246"/>
                  </a:lnTo>
                  <a:lnTo>
                    <a:pt x="246" y="248"/>
                  </a:lnTo>
                  <a:lnTo>
                    <a:pt x="248" y="248"/>
                  </a:lnTo>
                  <a:lnTo>
                    <a:pt x="250" y="250"/>
                  </a:lnTo>
                  <a:lnTo>
                    <a:pt x="250" y="250"/>
                  </a:lnTo>
                  <a:lnTo>
                    <a:pt x="250" y="250"/>
                  </a:lnTo>
                  <a:lnTo>
                    <a:pt x="250" y="250"/>
                  </a:lnTo>
                  <a:lnTo>
                    <a:pt x="250" y="252"/>
                  </a:lnTo>
                  <a:lnTo>
                    <a:pt x="250" y="252"/>
                  </a:lnTo>
                  <a:lnTo>
                    <a:pt x="250" y="254"/>
                  </a:lnTo>
                  <a:lnTo>
                    <a:pt x="250" y="254"/>
                  </a:lnTo>
                  <a:lnTo>
                    <a:pt x="250" y="256"/>
                  </a:lnTo>
                  <a:lnTo>
                    <a:pt x="250" y="256"/>
                  </a:lnTo>
                  <a:lnTo>
                    <a:pt x="250" y="256"/>
                  </a:lnTo>
                  <a:lnTo>
                    <a:pt x="250" y="256"/>
                  </a:lnTo>
                  <a:lnTo>
                    <a:pt x="252" y="256"/>
                  </a:lnTo>
                  <a:lnTo>
                    <a:pt x="254" y="254"/>
                  </a:lnTo>
                  <a:lnTo>
                    <a:pt x="254" y="254"/>
                  </a:lnTo>
                  <a:lnTo>
                    <a:pt x="256" y="254"/>
                  </a:lnTo>
                  <a:lnTo>
                    <a:pt x="256" y="254"/>
                  </a:lnTo>
                  <a:lnTo>
                    <a:pt x="256" y="254"/>
                  </a:lnTo>
                  <a:lnTo>
                    <a:pt x="256" y="254"/>
                  </a:lnTo>
                  <a:lnTo>
                    <a:pt x="258" y="254"/>
                  </a:lnTo>
                  <a:lnTo>
                    <a:pt x="260" y="256"/>
                  </a:lnTo>
                  <a:lnTo>
                    <a:pt x="260" y="256"/>
                  </a:lnTo>
                  <a:lnTo>
                    <a:pt x="260" y="256"/>
                  </a:lnTo>
                  <a:lnTo>
                    <a:pt x="260" y="258"/>
                  </a:lnTo>
                  <a:lnTo>
                    <a:pt x="260" y="258"/>
                  </a:lnTo>
                  <a:lnTo>
                    <a:pt x="258" y="260"/>
                  </a:lnTo>
                  <a:lnTo>
                    <a:pt x="258" y="260"/>
                  </a:lnTo>
                  <a:lnTo>
                    <a:pt x="258" y="260"/>
                  </a:lnTo>
                  <a:lnTo>
                    <a:pt x="258" y="260"/>
                  </a:lnTo>
                  <a:lnTo>
                    <a:pt x="258" y="262"/>
                  </a:lnTo>
                  <a:lnTo>
                    <a:pt x="258" y="262"/>
                  </a:lnTo>
                  <a:lnTo>
                    <a:pt x="260" y="262"/>
                  </a:lnTo>
                  <a:lnTo>
                    <a:pt x="262" y="264"/>
                  </a:lnTo>
                  <a:lnTo>
                    <a:pt x="262" y="264"/>
                  </a:lnTo>
                  <a:lnTo>
                    <a:pt x="264" y="266"/>
                  </a:lnTo>
                  <a:lnTo>
                    <a:pt x="264" y="266"/>
                  </a:lnTo>
                  <a:lnTo>
                    <a:pt x="266" y="266"/>
                  </a:lnTo>
                  <a:lnTo>
                    <a:pt x="268" y="264"/>
                  </a:lnTo>
                  <a:lnTo>
                    <a:pt x="268" y="264"/>
                  </a:lnTo>
                  <a:lnTo>
                    <a:pt x="268" y="264"/>
                  </a:lnTo>
                  <a:lnTo>
                    <a:pt x="270" y="266"/>
                  </a:lnTo>
                  <a:lnTo>
                    <a:pt x="270" y="266"/>
                  </a:lnTo>
                  <a:lnTo>
                    <a:pt x="270" y="266"/>
                  </a:lnTo>
                  <a:lnTo>
                    <a:pt x="272" y="266"/>
                  </a:lnTo>
                  <a:lnTo>
                    <a:pt x="272" y="266"/>
                  </a:lnTo>
                  <a:lnTo>
                    <a:pt x="274" y="264"/>
                  </a:lnTo>
                  <a:lnTo>
                    <a:pt x="274" y="264"/>
                  </a:lnTo>
                  <a:lnTo>
                    <a:pt x="280" y="264"/>
                  </a:lnTo>
                  <a:lnTo>
                    <a:pt x="280" y="264"/>
                  </a:lnTo>
                  <a:lnTo>
                    <a:pt x="280" y="264"/>
                  </a:lnTo>
                  <a:lnTo>
                    <a:pt x="282" y="264"/>
                  </a:lnTo>
                  <a:lnTo>
                    <a:pt x="282" y="264"/>
                  </a:lnTo>
                  <a:lnTo>
                    <a:pt x="282" y="266"/>
                  </a:lnTo>
                  <a:lnTo>
                    <a:pt x="282" y="266"/>
                  </a:lnTo>
                  <a:lnTo>
                    <a:pt x="282" y="266"/>
                  </a:lnTo>
                  <a:lnTo>
                    <a:pt x="282" y="269"/>
                  </a:lnTo>
                  <a:lnTo>
                    <a:pt x="282" y="271"/>
                  </a:lnTo>
                  <a:lnTo>
                    <a:pt x="280" y="271"/>
                  </a:lnTo>
                  <a:lnTo>
                    <a:pt x="280" y="273"/>
                  </a:lnTo>
                  <a:lnTo>
                    <a:pt x="280" y="273"/>
                  </a:lnTo>
                  <a:lnTo>
                    <a:pt x="280" y="273"/>
                  </a:lnTo>
                  <a:lnTo>
                    <a:pt x="280" y="273"/>
                  </a:lnTo>
                  <a:lnTo>
                    <a:pt x="280" y="275"/>
                  </a:lnTo>
                  <a:lnTo>
                    <a:pt x="280" y="275"/>
                  </a:lnTo>
                  <a:lnTo>
                    <a:pt x="280" y="275"/>
                  </a:lnTo>
                  <a:lnTo>
                    <a:pt x="278" y="277"/>
                  </a:lnTo>
                  <a:lnTo>
                    <a:pt x="278" y="277"/>
                  </a:lnTo>
                  <a:lnTo>
                    <a:pt x="278" y="277"/>
                  </a:lnTo>
                  <a:lnTo>
                    <a:pt x="278" y="277"/>
                  </a:lnTo>
                  <a:lnTo>
                    <a:pt x="278" y="279"/>
                  </a:lnTo>
                  <a:lnTo>
                    <a:pt x="278" y="279"/>
                  </a:lnTo>
                  <a:lnTo>
                    <a:pt x="280" y="279"/>
                  </a:lnTo>
                  <a:lnTo>
                    <a:pt x="278" y="279"/>
                  </a:lnTo>
                  <a:lnTo>
                    <a:pt x="278" y="281"/>
                  </a:lnTo>
                  <a:lnTo>
                    <a:pt x="278" y="281"/>
                  </a:lnTo>
                  <a:lnTo>
                    <a:pt x="278" y="281"/>
                  </a:lnTo>
                  <a:lnTo>
                    <a:pt x="278" y="281"/>
                  </a:lnTo>
                  <a:lnTo>
                    <a:pt x="274" y="281"/>
                  </a:lnTo>
                  <a:lnTo>
                    <a:pt x="274" y="281"/>
                  </a:lnTo>
                  <a:lnTo>
                    <a:pt x="274" y="281"/>
                  </a:lnTo>
                  <a:lnTo>
                    <a:pt x="274" y="283"/>
                  </a:lnTo>
                  <a:lnTo>
                    <a:pt x="274" y="283"/>
                  </a:lnTo>
                  <a:lnTo>
                    <a:pt x="274" y="283"/>
                  </a:lnTo>
                  <a:lnTo>
                    <a:pt x="274" y="283"/>
                  </a:lnTo>
                  <a:lnTo>
                    <a:pt x="276" y="285"/>
                  </a:lnTo>
                  <a:lnTo>
                    <a:pt x="276" y="285"/>
                  </a:lnTo>
                  <a:lnTo>
                    <a:pt x="276" y="285"/>
                  </a:lnTo>
                  <a:lnTo>
                    <a:pt x="276" y="285"/>
                  </a:lnTo>
                  <a:lnTo>
                    <a:pt x="276" y="287"/>
                  </a:lnTo>
                  <a:lnTo>
                    <a:pt x="276" y="287"/>
                  </a:lnTo>
                  <a:lnTo>
                    <a:pt x="276" y="287"/>
                  </a:lnTo>
                  <a:lnTo>
                    <a:pt x="276" y="289"/>
                  </a:lnTo>
                  <a:lnTo>
                    <a:pt x="272" y="291"/>
                  </a:lnTo>
                  <a:lnTo>
                    <a:pt x="272" y="293"/>
                  </a:lnTo>
                  <a:lnTo>
                    <a:pt x="272" y="293"/>
                  </a:lnTo>
                  <a:lnTo>
                    <a:pt x="272" y="295"/>
                  </a:lnTo>
                  <a:lnTo>
                    <a:pt x="272" y="297"/>
                  </a:lnTo>
                  <a:lnTo>
                    <a:pt x="272" y="297"/>
                  </a:lnTo>
                  <a:lnTo>
                    <a:pt x="272" y="297"/>
                  </a:lnTo>
                  <a:lnTo>
                    <a:pt x="272" y="297"/>
                  </a:lnTo>
                  <a:lnTo>
                    <a:pt x="270" y="299"/>
                  </a:lnTo>
                  <a:lnTo>
                    <a:pt x="268" y="301"/>
                  </a:lnTo>
                  <a:lnTo>
                    <a:pt x="268" y="301"/>
                  </a:lnTo>
                  <a:lnTo>
                    <a:pt x="268" y="303"/>
                  </a:lnTo>
                  <a:lnTo>
                    <a:pt x="268" y="303"/>
                  </a:lnTo>
                  <a:lnTo>
                    <a:pt x="268" y="303"/>
                  </a:lnTo>
                  <a:lnTo>
                    <a:pt x="268" y="303"/>
                  </a:lnTo>
                  <a:lnTo>
                    <a:pt x="268" y="305"/>
                  </a:lnTo>
                  <a:lnTo>
                    <a:pt x="266" y="305"/>
                  </a:lnTo>
                  <a:lnTo>
                    <a:pt x="266" y="305"/>
                  </a:lnTo>
                  <a:lnTo>
                    <a:pt x="266" y="305"/>
                  </a:lnTo>
                  <a:lnTo>
                    <a:pt x="268" y="307"/>
                  </a:lnTo>
                  <a:lnTo>
                    <a:pt x="268" y="307"/>
                  </a:lnTo>
                  <a:lnTo>
                    <a:pt x="268" y="309"/>
                  </a:lnTo>
                  <a:lnTo>
                    <a:pt x="268" y="309"/>
                  </a:lnTo>
                  <a:lnTo>
                    <a:pt x="268" y="312"/>
                  </a:lnTo>
                  <a:lnTo>
                    <a:pt x="268" y="312"/>
                  </a:lnTo>
                  <a:lnTo>
                    <a:pt x="268" y="314"/>
                  </a:lnTo>
                  <a:lnTo>
                    <a:pt x="268" y="314"/>
                  </a:lnTo>
                  <a:lnTo>
                    <a:pt x="268" y="314"/>
                  </a:lnTo>
                  <a:lnTo>
                    <a:pt x="266" y="314"/>
                  </a:lnTo>
                  <a:lnTo>
                    <a:pt x="266" y="314"/>
                  </a:lnTo>
                  <a:lnTo>
                    <a:pt x="266" y="314"/>
                  </a:lnTo>
                  <a:lnTo>
                    <a:pt x="264" y="314"/>
                  </a:lnTo>
                  <a:lnTo>
                    <a:pt x="262" y="314"/>
                  </a:lnTo>
                  <a:lnTo>
                    <a:pt x="262" y="316"/>
                  </a:lnTo>
                  <a:lnTo>
                    <a:pt x="262" y="316"/>
                  </a:lnTo>
                  <a:lnTo>
                    <a:pt x="262" y="316"/>
                  </a:lnTo>
                  <a:lnTo>
                    <a:pt x="262" y="316"/>
                  </a:lnTo>
                  <a:lnTo>
                    <a:pt x="262" y="316"/>
                  </a:lnTo>
                  <a:lnTo>
                    <a:pt x="262" y="318"/>
                  </a:lnTo>
                  <a:lnTo>
                    <a:pt x="264" y="320"/>
                  </a:lnTo>
                  <a:lnTo>
                    <a:pt x="264" y="322"/>
                  </a:lnTo>
                  <a:lnTo>
                    <a:pt x="264" y="322"/>
                  </a:lnTo>
                  <a:lnTo>
                    <a:pt x="264" y="322"/>
                  </a:lnTo>
                  <a:lnTo>
                    <a:pt x="264" y="324"/>
                  </a:lnTo>
                  <a:lnTo>
                    <a:pt x="264" y="324"/>
                  </a:lnTo>
                  <a:lnTo>
                    <a:pt x="264" y="324"/>
                  </a:lnTo>
                  <a:lnTo>
                    <a:pt x="262" y="326"/>
                  </a:lnTo>
                  <a:lnTo>
                    <a:pt x="262" y="326"/>
                  </a:lnTo>
                  <a:lnTo>
                    <a:pt x="262" y="328"/>
                  </a:lnTo>
                  <a:lnTo>
                    <a:pt x="262" y="328"/>
                  </a:lnTo>
                  <a:lnTo>
                    <a:pt x="262" y="328"/>
                  </a:lnTo>
                  <a:lnTo>
                    <a:pt x="262" y="330"/>
                  </a:lnTo>
                  <a:lnTo>
                    <a:pt x="262" y="330"/>
                  </a:lnTo>
                  <a:lnTo>
                    <a:pt x="262" y="330"/>
                  </a:lnTo>
                  <a:lnTo>
                    <a:pt x="262" y="332"/>
                  </a:lnTo>
                  <a:lnTo>
                    <a:pt x="262" y="332"/>
                  </a:lnTo>
                  <a:lnTo>
                    <a:pt x="262" y="332"/>
                  </a:lnTo>
                  <a:lnTo>
                    <a:pt x="264" y="334"/>
                  </a:lnTo>
                  <a:lnTo>
                    <a:pt x="266" y="334"/>
                  </a:lnTo>
                  <a:lnTo>
                    <a:pt x="266" y="334"/>
                  </a:lnTo>
                  <a:lnTo>
                    <a:pt x="268" y="336"/>
                  </a:lnTo>
                  <a:lnTo>
                    <a:pt x="268" y="336"/>
                  </a:lnTo>
                  <a:lnTo>
                    <a:pt x="266" y="336"/>
                  </a:lnTo>
                  <a:lnTo>
                    <a:pt x="266" y="338"/>
                  </a:lnTo>
                  <a:lnTo>
                    <a:pt x="266" y="338"/>
                  </a:lnTo>
                  <a:lnTo>
                    <a:pt x="266" y="340"/>
                  </a:lnTo>
                  <a:lnTo>
                    <a:pt x="266" y="340"/>
                  </a:lnTo>
                  <a:lnTo>
                    <a:pt x="266" y="340"/>
                  </a:lnTo>
                  <a:lnTo>
                    <a:pt x="266" y="340"/>
                  </a:lnTo>
                  <a:lnTo>
                    <a:pt x="266" y="342"/>
                  </a:lnTo>
                  <a:lnTo>
                    <a:pt x="266" y="344"/>
                  </a:lnTo>
                  <a:lnTo>
                    <a:pt x="266" y="344"/>
                  </a:lnTo>
                  <a:lnTo>
                    <a:pt x="266" y="346"/>
                  </a:lnTo>
                  <a:lnTo>
                    <a:pt x="266" y="346"/>
                  </a:lnTo>
                  <a:lnTo>
                    <a:pt x="264" y="348"/>
                  </a:lnTo>
                  <a:lnTo>
                    <a:pt x="264" y="348"/>
                  </a:lnTo>
                  <a:lnTo>
                    <a:pt x="264" y="348"/>
                  </a:lnTo>
                  <a:lnTo>
                    <a:pt x="262" y="348"/>
                  </a:lnTo>
                  <a:lnTo>
                    <a:pt x="260" y="348"/>
                  </a:lnTo>
                  <a:lnTo>
                    <a:pt x="260" y="348"/>
                  </a:lnTo>
                  <a:lnTo>
                    <a:pt x="258" y="348"/>
                  </a:lnTo>
                  <a:lnTo>
                    <a:pt x="258" y="348"/>
                  </a:lnTo>
                  <a:lnTo>
                    <a:pt x="258" y="348"/>
                  </a:lnTo>
                  <a:lnTo>
                    <a:pt x="258" y="348"/>
                  </a:lnTo>
                  <a:lnTo>
                    <a:pt x="258" y="350"/>
                  </a:lnTo>
                  <a:lnTo>
                    <a:pt x="256" y="350"/>
                  </a:lnTo>
                  <a:lnTo>
                    <a:pt x="256" y="353"/>
                  </a:lnTo>
                  <a:lnTo>
                    <a:pt x="256" y="353"/>
                  </a:lnTo>
                  <a:lnTo>
                    <a:pt x="254" y="353"/>
                  </a:lnTo>
                  <a:lnTo>
                    <a:pt x="254" y="353"/>
                  </a:lnTo>
                  <a:lnTo>
                    <a:pt x="254" y="355"/>
                  </a:lnTo>
                  <a:lnTo>
                    <a:pt x="254" y="355"/>
                  </a:lnTo>
                  <a:lnTo>
                    <a:pt x="252" y="355"/>
                  </a:lnTo>
                  <a:lnTo>
                    <a:pt x="254" y="357"/>
                  </a:lnTo>
                  <a:lnTo>
                    <a:pt x="254" y="357"/>
                  </a:lnTo>
                  <a:lnTo>
                    <a:pt x="254" y="359"/>
                  </a:lnTo>
                  <a:lnTo>
                    <a:pt x="254" y="359"/>
                  </a:lnTo>
                  <a:lnTo>
                    <a:pt x="254" y="359"/>
                  </a:lnTo>
                  <a:lnTo>
                    <a:pt x="256" y="361"/>
                  </a:lnTo>
                  <a:lnTo>
                    <a:pt x="256" y="363"/>
                  </a:lnTo>
                  <a:lnTo>
                    <a:pt x="256" y="363"/>
                  </a:lnTo>
                  <a:lnTo>
                    <a:pt x="256" y="365"/>
                  </a:lnTo>
                  <a:lnTo>
                    <a:pt x="256" y="365"/>
                  </a:lnTo>
                  <a:lnTo>
                    <a:pt x="256" y="365"/>
                  </a:lnTo>
                  <a:lnTo>
                    <a:pt x="256" y="367"/>
                  </a:lnTo>
                  <a:lnTo>
                    <a:pt x="256" y="367"/>
                  </a:lnTo>
                  <a:lnTo>
                    <a:pt x="256" y="367"/>
                  </a:lnTo>
                  <a:lnTo>
                    <a:pt x="256" y="367"/>
                  </a:lnTo>
                  <a:lnTo>
                    <a:pt x="256" y="367"/>
                  </a:lnTo>
                  <a:lnTo>
                    <a:pt x="254" y="369"/>
                  </a:lnTo>
                  <a:lnTo>
                    <a:pt x="252" y="369"/>
                  </a:lnTo>
                  <a:lnTo>
                    <a:pt x="252" y="371"/>
                  </a:lnTo>
                  <a:lnTo>
                    <a:pt x="252" y="371"/>
                  </a:lnTo>
                  <a:lnTo>
                    <a:pt x="252" y="371"/>
                  </a:lnTo>
                  <a:lnTo>
                    <a:pt x="252" y="373"/>
                  </a:lnTo>
                  <a:lnTo>
                    <a:pt x="252" y="373"/>
                  </a:lnTo>
                  <a:lnTo>
                    <a:pt x="252" y="373"/>
                  </a:lnTo>
                  <a:lnTo>
                    <a:pt x="252" y="375"/>
                  </a:lnTo>
                  <a:lnTo>
                    <a:pt x="252" y="375"/>
                  </a:lnTo>
                  <a:lnTo>
                    <a:pt x="250" y="375"/>
                  </a:lnTo>
                  <a:lnTo>
                    <a:pt x="250" y="377"/>
                  </a:lnTo>
                  <a:lnTo>
                    <a:pt x="250" y="377"/>
                  </a:lnTo>
                  <a:lnTo>
                    <a:pt x="252" y="377"/>
                  </a:lnTo>
                  <a:lnTo>
                    <a:pt x="254" y="377"/>
                  </a:lnTo>
                  <a:lnTo>
                    <a:pt x="256" y="379"/>
                  </a:lnTo>
                  <a:lnTo>
                    <a:pt x="258" y="379"/>
                  </a:lnTo>
                  <a:lnTo>
                    <a:pt x="260" y="381"/>
                  </a:lnTo>
                  <a:lnTo>
                    <a:pt x="260" y="381"/>
                  </a:lnTo>
                  <a:lnTo>
                    <a:pt x="260" y="381"/>
                  </a:lnTo>
                  <a:lnTo>
                    <a:pt x="260" y="383"/>
                  </a:lnTo>
                  <a:lnTo>
                    <a:pt x="260" y="383"/>
                  </a:lnTo>
                  <a:lnTo>
                    <a:pt x="262" y="383"/>
                  </a:lnTo>
                  <a:lnTo>
                    <a:pt x="264" y="385"/>
                  </a:lnTo>
                  <a:lnTo>
                    <a:pt x="264" y="387"/>
                  </a:lnTo>
                  <a:lnTo>
                    <a:pt x="264" y="387"/>
                  </a:lnTo>
                  <a:lnTo>
                    <a:pt x="266" y="387"/>
                  </a:lnTo>
                  <a:lnTo>
                    <a:pt x="266" y="387"/>
                  </a:lnTo>
                  <a:lnTo>
                    <a:pt x="268" y="387"/>
                  </a:lnTo>
                  <a:lnTo>
                    <a:pt x="268" y="387"/>
                  </a:lnTo>
                  <a:lnTo>
                    <a:pt x="268" y="387"/>
                  </a:lnTo>
                  <a:lnTo>
                    <a:pt x="270" y="387"/>
                  </a:lnTo>
                  <a:lnTo>
                    <a:pt x="272" y="387"/>
                  </a:lnTo>
                  <a:lnTo>
                    <a:pt x="272" y="387"/>
                  </a:lnTo>
                  <a:lnTo>
                    <a:pt x="272" y="387"/>
                  </a:lnTo>
                  <a:lnTo>
                    <a:pt x="272" y="385"/>
                  </a:lnTo>
                  <a:lnTo>
                    <a:pt x="274" y="383"/>
                  </a:lnTo>
                  <a:lnTo>
                    <a:pt x="274" y="383"/>
                  </a:lnTo>
                  <a:lnTo>
                    <a:pt x="274" y="383"/>
                  </a:lnTo>
                  <a:lnTo>
                    <a:pt x="274" y="383"/>
                  </a:lnTo>
                  <a:lnTo>
                    <a:pt x="274" y="383"/>
                  </a:lnTo>
                  <a:lnTo>
                    <a:pt x="276" y="383"/>
                  </a:lnTo>
                  <a:lnTo>
                    <a:pt x="276" y="383"/>
                  </a:lnTo>
                  <a:lnTo>
                    <a:pt x="278" y="383"/>
                  </a:lnTo>
                  <a:lnTo>
                    <a:pt x="278" y="383"/>
                  </a:lnTo>
                  <a:lnTo>
                    <a:pt x="278" y="383"/>
                  </a:lnTo>
                  <a:lnTo>
                    <a:pt x="280" y="381"/>
                  </a:lnTo>
                  <a:lnTo>
                    <a:pt x="285" y="381"/>
                  </a:lnTo>
                  <a:lnTo>
                    <a:pt x="285" y="381"/>
                  </a:lnTo>
                  <a:lnTo>
                    <a:pt x="285" y="381"/>
                  </a:lnTo>
                  <a:lnTo>
                    <a:pt x="285" y="379"/>
                  </a:lnTo>
                  <a:lnTo>
                    <a:pt x="285" y="379"/>
                  </a:lnTo>
                  <a:lnTo>
                    <a:pt x="287" y="379"/>
                  </a:lnTo>
                  <a:lnTo>
                    <a:pt x="287" y="379"/>
                  </a:lnTo>
                  <a:lnTo>
                    <a:pt x="287" y="377"/>
                  </a:lnTo>
                  <a:lnTo>
                    <a:pt x="289" y="377"/>
                  </a:lnTo>
                  <a:lnTo>
                    <a:pt x="289" y="377"/>
                  </a:lnTo>
                  <a:lnTo>
                    <a:pt x="289" y="377"/>
                  </a:lnTo>
                  <a:lnTo>
                    <a:pt x="289" y="375"/>
                  </a:lnTo>
                  <a:lnTo>
                    <a:pt x="289" y="375"/>
                  </a:lnTo>
                  <a:lnTo>
                    <a:pt x="291" y="375"/>
                  </a:lnTo>
                  <a:lnTo>
                    <a:pt x="291" y="375"/>
                  </a:lnTo>
                  <a:lnTo>
                    <a:pt x="291" y="375"/>
                  </a:lnTo>
                  <a:lnTo>
                    <a:pt x="291" y="373"/>
                  </a:lnTo>
                  <a:lnTo>
                    <a:pt x="293" y="373"/>
                  </a:lnTo>
                  <a:lnTo>
                    <a:pt x="295" y="373"/>
                  </a:lnTo>
                  <a:lnTo>
                    <a:pt x="295" y="373"/>
                  </a:lnTo>
                  <a:lnTo>
                    <a:pt x="295" y="373"/>
                  </a:lnTo>
                  <a:lnTo>
                    <a:pt x="295" y="373"/>
                  </a:lnTo>
                  <a:lnTo>
                    <a:pt x="295" y="371"/>
                  </a:lnTo>
                  <a:lnTo>
                    <a:pt x="295" y="371"/>
                  </a:lnTo>
                  <a:lnTo>
                    <a:pt x="295" y="371"/>
                  </a:lnTo>
                  <a:lnTo>
                    <a:pt x="295" y="371"/>
                  </a:lnTo>
                  <a:lnTo>
                    <a:pt x="295" y="369"/>
                  </a:lnTo>
                  <a:lnTo>
                    <a:pt x="295" y="369"/>
                  </a:lnTo>
                  <a:lnTo>
                    <a:pt x="295" y="369"/>
                  </a:lnTo>
                  <a:lnTo>
                    <a:pt x="295" y="369"/>
                  </a:lnTo>
                  <a:lnTo>
                    <a:pt x="295" y="369"/>
                  </a:lnTo>
                  <a:lnTo>
                    <a:pt x="297" y="369"/>
                  </a:lnTo>
                  <a:lnTo>
                    <a:pt x="297" y="369"/>
                  </a:lnTo>
                  <a:lnTo>
                    <a:pt x="301" y="371"/>
                  </a:lnTo>
                  <a:lnTo>
                    <a:pt x="303" y="373"/>
                  </a:lnTo>
                  <a:lnTo>
                    <a:pt x="303" y="375"/>
                  </a:lnTo>
                  <a:lnTo>
                    <a:pt x="303" y="375"/>
                  </a:lnTo>
                  <a:lnTo>
                    <a:pt x="303" y="375"/>
                  </a:lnTo>
                  <a:lnTo>
                    <a:pt x="303" y="377"/>
                  </a:lnTo>
                  <a:lnTo>
                    <a:pt x="303" y="377"/>
                  </a:lnTo>
                  <a:lnTo>
                    <a:pt x="307" y="379"/>
                  </a:lnTo>
                  <a:lnTo>
                    <a:pt x="309" y="379"/>
                  </a:lnTo>
                  <a:lnTo>
                    <a:pt x="309" y="379"/>
                  </a:lnTo>
                  <a:lnTo>
                    <a:pt x="309" y="381"/>
                  </a:lnTo>
                  <a:lnTo>
                    <a:pt x="309" y="381"/>
                  </a:lnTo>
                  <a:lnTo>
                    <a:pt x="309" y="381"/>
                  </a:lnTo>
                  <a:lnTo>
                    <a:pt x="309" y="383"/>
                  </a:lnTo>
                  <a:lnTo>
                    <a:pt x="309" y="383"/>
                  </a:lnTo>
                  <a:lnTo>
                    <a:pt x="309" y="383"/>
                  </a:lnTo>
                  <a:lnTo>
                    <a:pt x="309" y="385"/>
                  </a:lnTo>
                  <a:lnTo>
                    <a:pt x="307" y="385"/>
                  </a:lnTo>
                  <a:lnTo>
                    <a:pt x="307" y="387"/>
                  </a:lnTo>
                  <a:lnTo>
                    <a:pt x="307" y="387"/>
                  </a:lnTo>
                  <a:lnTo>
                    <a:pt x="307" y="387"/>
                  </a:lnTo>
                  <a:lnTo>
                    <a:pt x="307" y="389"/>
                  </a:lnTo>
                  <a:lnTo>
                    <a:pt x="311" y="389"/>
                  </a:lnTo>
                  <a:lnTo>
                    <a:pt x="311" y="391"/>
                  </a:lnTo>
                  <a:lnTo>
                    <a:pt x="311" y="391"/>
                  </a:lnTo>
                  <a:lnTo>
                    <a:pt x="311" y="391"/>
                  </a:lnTo>
                  <a:lnTo>
                    <a:pt x="311" y="391"/>
                  </a:lnTo>
                  <a:lnTo>
                    <a:pt x="311" y="394"/>
                  </a:lnTo>
                  <a:lnTo>
                    <a:pt x="311" y="396"/>
                  </a:lnTo>
                  <a:lnTo>
                    <a:pt x="311" y="396"/>
                  </a:lnTo>
                  <a:lnTo>
                    <a:pt x="309" y="396"/>
                  </a:lnTo>
                  <a:lnTo>
                    <a:pt x="309" y="398"/>
                  </a:lnTo>
                  <a:lnTo>
                    <a:pt x="309" y="398"/>
                  </a:lnTo>
                  <a:lnTo>
                    <a:pt x="309" y="398"/>
                  </a:lnTo>
                  <a:lnTo>
                    <a:pt x="309" y="398"/>
                  </a:lnTo>
                  <a:lnTo>
                    <a:pt x="309" y="400"/>
                  </a:lnTo>
                  <a:lnTo>
                    <a:pt x="309" y="400"/>
                  </a:lnTo>
                  <a:lnTo>
                    <a:pt x="309" y="402"/>
                  </a:lnTo>
                  <a:lnTo>
                    <a:pt x="311" y="404"/>
                  </a:lnTo>
                  <a:lnTo>
                    <a:pt x="313" y="404"/>
                  </a:lnTo>
                  <a:lnTo>
                    <a:pt x="313" y="404"/>
                  </a:lnTo>
                  <a:lnTo>
                    <a:pt x="313" y="406"/>
                  </a:lnTo>
                  <a:lnTo>
                    <a:pt x="311" y="408"/>
                  </a:lnTo>
                  <a:lnTo>
                    <a:pt x="311" y="410"/>
                  </a:lnTo>
                  <a:lnTo>
                    <a:pt x="311" y="410"/>
                  </a:lnTo>
                  <a:lnTo>
                    <a:pt x="311" y="412"/>
                  </a:lnTo>
                  <a:lnTo>
                    <a:pt x="311" y="412"/>
                  </a:lnTo>
                  <a:lnTo>
                    <a:pt x="311" y="412"/>
                  </a:lnTo>
                  <a:lnTo>
                    <a:pt x="313" y="412"/>
                  </a:lnTo>
                  <a:lnTo>
                    <a:pt x="313" y="414"/>
                  </a:lnTo>
                  <a:lnTo>
                    <a:pt x="315" y="414"/>
                  </a:lnTo>
                  <a:lnTo>
                    <a:pt x="315" y="416"/>
                  </a:lnTo>
                  <a:lnTo>
                    <a:pt x="315" y="416"/>
                  </a:lnTo>
                  <a:lnTo>
                    <a:pt x="315" y="418"/>
                  </a:lnTo>
                  <a:lnTo>
                    <a:pt x="315" y="418"/>
                  </a:lnTo>
                  <a:lnTo>
                    <a:pt x="315" y="418"/>
                  </a:lnTo>
                  <a:lnTo>
                    <a:pt x="317" y="420"/>
                  </a:lnTo>
                  <a:lnTo>
                    <a:pt x="317" y="422"/>
                  </a:lnTo>
                  <a:lnTo>
                    <a:pt x="319" y="422"/>
                  </a:lnTo>
                  <a:lnTo>
                    <a:pt x="319" y="424"/>
                  </a:lnTo>
                  <a:lnTo>
                    <a:pt x="319" y="424"/>
                  </a:lnTo>
                  <a:lnTo>
                    <a:pt x="319" y="426"/>
                  </a:lnTo>
                  <a:lnTo>
                    <a:pt x="321" y="426"/>
                  </a:lnTo>
                  <a:lnTo>
                    <a:pt x="321" y="426"/>
                  </a:lnTo>
                  <a:lnTo>
                    <a:pt x="321" y="428"/>
                  </a:lnTo>
                  <a:lnTo>
                    <a:pt x="321" y="428"/>
                  </a:lnTo>
                  <a:lnTo>
                    <a:pt x="321" y="428"/>
                  </a:lnTo>
                  <a:lnTo>
                    <a:pt x="321" y="430"/>
                  </a:lnTo>
                  <a:lnTo>
                    <a:pt x="321" y="430"/>
                  </a:lnTo>
                  <a:lnTo>
                    <a:pt x="321" y="430"/>
                  </a:lnTo>
                  <a:lnTo>
                    <a:pt x="321" y="432"/>
                  </a:lnTo>
                  <a:lnTo>
                    <a:pt x="321" y="432"/>
                  </a:lnTo>
                  <a:lnTo>
                    <a:pt x="323" y="432"/>
                  </a:lnTo>
                  <a:lnTo>
                    <a:pt x="325" y="432"/>
                  </a:lnTo>
                  <a:lnTo>
                    <a:pt x="325" y="432"/>
                  </a:lnTo>
                  <a:lnTo>
                    <a:pt x="325" y="435"/>
                  </a:lnTo>
                  <a:lnTo>
                    <a:pt x="325" y="437"/>
                  </a:lnTo>
                  <a:lnTo>
                    <a:pt x="325" y="437"/>
                  </a:lnTo>
                  <a:lnTo>
                    <a:pt x="328" y="441"/>
                  </a:lnTo>
                  <a:lnTo>
                    <a:pt x="330" y="441"/>
                  </a:lnTo>
                  <a:lnTo>
                    <a:pt x="330" y="445"/>
                  </a:lnTo>
                  <a:lnTo>
                    <a:pt x="330" y="445"/>
                  </a:lnTo>
                  <a:lnTo>
                    <a:pt x="330" y="447"/>
                  </a:lnTo>
                  <a:lnTo>
                    <a:pt x="330" y="447"/>
                  </a:lnTo>
                  <a:lnTo>
                    <a:pt x="330" y="447"/>
                  </a:lnTo>
                  <a:lnTo>
                    <a:pt x="330" y="449"/>
                  </a:lnTo>
                  <a:lnTo>
                    <a:pt x="330" y="451"/>
                  </a:lnTo>
                  <a:lnTo>
                    <a:pt x="328" y="451"/>
                  </a:lnTo>
                  <a:lnTo>
                    <a:pt x="328" y="451"/>
                  </a:lnTo>
                  <a:lnTo>
                    <a:pt x="328" y="451"/>
                  </a:lnTo>
                  <a:lnTo>
                    <a:pt x="325" y="453"/>
                  </a:lnTo>
                  <a:lnTo>
                    <a:pt x="325" y="453"/>
                  </a:lnTo>
                  <a:lnTo>
                    <a:pt x="325" y="453"/>
                  </a:lnTo>
                  <a:lnTo>
                    <a:pt x="325" y="453"/>
                  </a:lnTo>
                  <a:lnTo>
                    <a:pt x="325" y="453"/>
                  </a:lnTo>
                  <a:lnTo>
                    <a:pt x="325" y="455"/>
                  </a:lnTo>
                  <a:lnTo>
                    <a:pt x="325" y="455"/>
                  </a:lnTo>
                  <a:lnTo>
                    <a:pt x="328" y="455"/>
                  </a:lnTo>
                  <a:lnTo>
                    <a:pt x="328" y="457"/>
                  </a:lnTo>
                  <a:lnTo>
                    <a:pt x="328" y="459"/>
                  </a:lnTo>
                  <a:lnTo>
                    <a:pt x="328" y="461"/>
                  </a:lnTo>
                  <a:lnTo>
                    <a:pt x="328" y="461"/>
                  </a:lnTo>
                  <a:lnTo>
                    <a:pt x="330" y="463"/>
                  </a:lnTo>
                  <a:lnTo>
                    <a:pt x="334" y="465"/>
                  </a:lnTo>
                  <a:lnTo>
                    <a:pt x="334" y="465"/>
                  </a:lnTo>
                  <a:lnTo>
                    <a:pt x="334" y="465"/>
                  </a:lnTo>
                  <a:lnTo>
                    <a:pt x="334" y="467"/>
                  </a:lnTo>
                  <a:lnTo>
                    <a:pt x="334" y="469"/>
                  </a:lnTo>
                  <a:lnTo>
                    <a:pt x="336" y="469"/>
                  </a:lnTo>
                  <a:lnTo>
                    <a:pt x="336" y="469"/>
                  </a:lnTo>
                  <a:lnTo>
                    <a:pt x="338" y="469"/>
                  </a:lnTo>
                  <a:lnTo>
                    <a:pt x="338" y="469"/>
                  </a:lnTo>
                  <a:lnTo>
                    <a:pt x="338" y="469"/>
                  </a:lnTo>
                  <a:lnTo>
                    <a:pt x="340" y="467"/>
                  </a:lnTo>
                  <a:lnTo>
                    <a:pt x="340" y="467"/>
                  </a:lnTo>
                  <a:lnTo>
                    <a:pt x="342" y="467"/>
                  </a:lnTo>
                  <a:lnTo>
                    <a:pt x="342" y="467"/>
                  </a:lnTo>
                  <a:lnTo>
                    <a:pt x="344" y="467"/>
                  </a:lnTo>
                  <a:lnTo>
                    <a:pt x="346" y="467"/>
                  </a:lnTo>
                  <a:lnTo>
                    <a:pt x="346" y="469"/>
                  </a:lnTo>
                  <a:lnTo>
                    <a:pt x="348" y="471"/>
                  </a:lnTo>
                  <a:lnTo>
                    <a:pt x="350" y="473"/>
                  </a:lnTo>
                  <a:lnTo>
                    <a:pt x="350" y="473"/>
                  </a:lnTo>
                  <a:lnTo>
                    <a:pt x="350" y="475"/>
                  </a:lnTo>
                  <a:lnTo>
                    <a:pt x="352" y="475"/>
                  </a:lnTo>
                  <a:lnTo>
                    <a:pt x="352" y="478"/>
                  </a:lnTo>
                  <a:lnTo>
                    <a:pt x="352" y="478"/>
                  </a:lnTo>
                  <a:lnTo>
                    <a:pt x="352" y="478"/>
                  </a:lnTo>
                  <a:lnTo>
                    <a:pt x="352" y="478"/>
                  </a:lnTo>
                  <a:lnTo>
                    <a:pt x="352" y="480"/>
                  </a:lnTo>
                  <a:lnTo>
                    <a:pt x="352" y="480"/>
                  </a:lnTo>
                  <a:lnTo>
                    <a:pt x="352" y="480"/>
                  </a:lnTo>
                  <a:lnTo>
                    <a:pt x="354" y="480"/>
                  </a:lnTo>
                  <a:lnTo>
                    <a:pt x="354" y="482"/>
                  </a:lnTo>
                  <a:lnTo>
                    <a:pt x="354" y="482"/>
                  </a:lnTo>
                  <a:lnTo>
                    <a:pt x="354" y="482"/>
                  </a:lnTo>
                  <a:lnTo>
                    <a:pt x="354" y="484"/>
                  </a:lnTo>
                  <a:lnTo>
                    <a:pt x="354" y="484"/>
                  </a:lnTo>
                  <a:lnTo>
                    <a:pt x="356" y="486"/>
                  </a:lnTo>
                  <a:lnTo>
                    <a:pt x="356" y="486"/>
                  </a:lnTo>
                  <a:lnTo>
                    <a:pt x="356" y="488"/>
                  </a:lnTo>
                  <a:lnTo>
                    <a:pt x="356" y="488"/>
                  </a:lnTo>
                  <a:lnTo>
                    <a:pt x="356" y="488"/>
                  </a:lnTo>
                  <a:lnTo>
                    <a:pt x="356" y="488"/>
                  </a:lnTo>
                  <a:lnTo>
                    <a:pt x="356" y="490"/>
                  </a:lnTo>
                  <a:lnTo>
                    <a:pt x="354" y="490"/>
                  </a:lnTo>
                  <a:lnTo>
                    <a:pt x="354" y="490"/>
                  </a:lnTo>
                  <a:lnTo>
                    <a:pt x="354" y="490"/>
                  </a:lnTo>
                  <a:lnTo>
                    <a:pt x="354" y="490"/>
                  </a:lnTo>
                  <a:lnTo>
                    <a:pt x="354" y="492"/>
                  </a:lnTo>
                  <a:lnTo>
                    <a:pt x="354" y="492"/>
                  </a:lnTo>
                  <a:lnTo>
                    <a:pt x="356" y="494"/>
                  </a:lnTo>
                  <a:lnTo>
                    <a:pt x="356" y="494"/>
                  </a:lnTo>
                  <a:lnTo>
                    <a:pt x="356" y="496"/>
                  </a:lnTo>
                  <a:lnTo>
                    <a:pt x="356" y="496"/>
                  </a:lnTo>
                  <a:lnTo>
                    <a:pt x="356" y="496"/>
                  </a:lnTo>
                  <a:lnTo>
                    <a:pt x="356" y="498"/>
                  </a:lnTo>
                  <a:lnTo>
                    <a:pt x="358" y="498"/>
                  </a:lnTo>
                  <a:lnTo>
                    <a:pt x="358" y="498"/>
                  </a:lnTo>
                  <a:lnTo>
                    <a:pt x="358" y="500"/>
                  </a:lnTo>
                  <a:lnTo>
                    <a:pt x="358" y="500"/>
                  </a:lnTo>
                  <a:lnTo>
                    <a:pt x="358" y="502"/>
                  </a:lnTo>
                  <a:lnTo>
                    <a:pt x="356" y="502"/>
                  </a:lnTo>
                  <a:lnTo>
                    <a:pt x="356" y="502"/>
                  </a:lnTo>
                  <a:lnTo>
                    <a:pt x="356" y="504"/>
                  </a:lnTo>
                  <a:lnTo>
                    <a:pt x="358" y="504"/>
                  </a:lnTo>
                  <a:lnTo>
                    <a:pt x="358" y="504"/>
                  </a:lnTo>
                  <a:lnTo>
                    <a:pt x="358" y="506"/>
                  </a:lnTo>
                  <a:lnTo>
                    <a:pt x="358" y="506"/>
                  </a:lnTo>
                  <a:lnTo>
                    <a:pt x="358" y="508"/>
                  </a:lnTo>
                  <a:lnTo>
                    <a:pt x="360" y="508"/>
                  </a:lnTo>
                  <a:lnTo>
                    <a:pt x="360" y="508"/>
                  </a:lnTo>
                  <a:lnTo>
                    <a:pt x="360" y="508"/>
                  </a:lnTo>
                  <a:lnTo>
                    <a:pt x="362" y="510"/>
                  </a:lnTo>
                  <a:lnTo>
                    <a:pt x="362" y="510"/>
                  </a:lnTo>
                  <a:lnTo>
                    <a:pt x="362" y="512"/>
                  </a:lnTo>
                  <a:lnTo>
                    <a:pt x="366" y="512"/>
                  </a:lnTo>
                  <a:lnTo>
                    <a:pt x="366" y="514"/>
                  </a:lnTo>
                  <a:lnTo>
                    <a:pt x="366" y="514"/>
                  </a:lnTo>
                  <a:lnTo>
                    <a:pt x="369" y="516"/>
                  </a:lnTo>
                  <a:lnTo>
                    <a:pt x="369" y="516"/>
                  </a:lnTo>
                  <a:lnTo>
                    <a:pt x="371" y="516"/>
                  </a:lnTo>
                  <a:lnTo>
                    <a:pt x="371" y="516"/>
                  </a:lnTo>
                  <a:lnTo>
                    <a:pt x="371" y="516"/>
                  </a:lnTo>
                  <a:lnTo>
                    <a:pt x="371" y="516"/>
                  </a:lnTo>
                  <a:lnTo>
                    <a:pt x="371" y="512"/>
                  </a:lnTo>
                  <a:lnTo>
                    <a:pt x="371" y="512"/>
                  </a:lnTo>
                  <a:lnTo>
                    <a:pt x="371" y="512"/>
                  </a:lnTo>
                  <a:lnTo>
                    <a:pt x="371" y="512"/>
                  </a:lnTo>
                  <a:lnTo>
                    <a:pt x="371" y="510"/>
                  </a:lnTo>
                  <a:lnTo>
                    <a:pt x="371" y="510"/>
                  </a:lnTo>
                  <a:lnTo>
                    <a:pt x="373" y="510"/>
                  </a:lnTo>
                  <a:lnTo>
                    <a:pt x="377" y="506"/>
                  </a:lnTo>
                  <a:lnTo>
                    <a:pt x="377" y="506"/>
                  </a:lnTo>
                  <a:lnTo>
                    <a:pt x="379" y="506"/>
                  </a:lnTo>
                  <a:lnTo>
                    <a:pt x="381" y="506"/>
                  </a:lnTo>
                  <a:lnTo>
                    <a:pt x="381" y="504"/>
                  </a:lnTo>
                  <a:lnTo>
                    <a:pt x="383" y="504"/>
                  </a:lnTo>
                  <a:lnTo>
                    <a:pt x="383" y="504"/>
                  </a:lnTo>
                  <a:lnTo>
                    <a:pt x="385" y="506"/>
                  </a:lnTo>
                  <a:lnTo>
                    <a:pt x="395" y="508"/>
                  </a:lnTo>
                  <a:lnTo>
                    <a:pt x="395" y="508"/>
                  </a:lnTo>
                  <a:lnTo>
                    <a:pt x="395" y="508"/>
                  </a:lnTo>
                  <a:lnTo>
                    <a:pt x="397" y="510"/>
                  </a:lnTo>
                  <a:lnTo>
                    <a:pt x="397" y="510"/>
                  </a:lnTo>
                  <a:lnTo>
                    <a:pt x="399" y="510"/>
                  </a:lnTo>
                  <a:lnTo>
                    <a:pt x="401" y="510"/>
                  </a:lnTo>
                  <a:lnTo>
                    <a:pt x="401" y="510"/>
                  </a:lnTo>
                  <a:lnTo>
                    <a:pt x="403" y="510"/>
                  </a:lnTo>
                  <a:lnTo>
                    <a:pt x="403" y="512"/>
                  </a:lnTo>
                  <a:lnTo>
                    <a:pt x="403" y="512"/>
                  </a:lnTo>
                  <a:lnTo>
                    <a:pt x="403" y="512"/>
                  </a:lnTo>
                  <a:lnTo>
                    <a:pt x="405" y="512"/>
                  </a:lnTo>
                  <a:lnTo>
                    <a:pt x="405" y="512"/>
                  </a:lnTo>
                  <a:lnTo>
                    <a:pt x="407" y="512"/>
                  </a:lnTo>
                  <a:lnTo>
                    <a:pt x="407" y="512"/>
                  </a:lnTo>
                  <a:lnTo>
                    <a:pt x="407" y="512"/>
                  </a:lnTo>
                  <a:lnTo>
                    <a:pt x="409" y="508"/>
                  </a:lnTo>
                  <a:lnTo>
                    <a:pt x="409" y="506"/>
                  </a:lnTo>
                  <a:lnTo>
                    <a:pt x="412" y="506"/>
                  </a:lnTo>
                  <a:lnTo>
                    <a:pt x="412" y="504"/>
                  </a:lnTo>
                  <a:lnTo>
                    <a:pt x="412" y="504"/>
                  </a:lnTo>
                  <a:lnTo>
                    <a:pt x="414" y="504"/>
                  </a:lnTo>
                  <a:lnTo>
                    <a:pt x="414" y="504"/>
                  </a:lnTo>
                  <a:lnTo>
                    <a:pt x="416" y="504"/>
                  </a:lnTo>
                  <a:lnTo>
                    <a:pt x="416" y="504"/>
                  </a:lnTo>
                  <a:lnTo>
                    <a:pt x="418" y="504"/>
                  </a:lnTo>
                  <a:lnTo>
                    <a:pt x="418" y="502"/>
                  </a:lnTo>
                  <a:lnTo>
                    <a:pt x="418" y="502"/>
                  </a:lnTo>
                  <a:lnTo>
                    <a:pt x="420" y="502"/>
                  </a:lnTo>
                  <a:lnTo>
                    <a:pt x="420" y="502"/>
                  </a:lnTo>
                  <a:lnTo>
                    <a:pt x="422" y="504"/>
                  </a:lnTo>
                  <a:lnTo>
                    <a:pt x="422" y="504"/>
                  </a:lnTo>
                  <a:lnTo>
                    <a:pt x="422" y="504"/>
                  </a:lnTo>
                  <a:lnTo>
                    <a:pt x="424" y="504"/>
                  </a:lnTo>
                  <a:lnTo>
                    <a:pt x="426" y="504"/>
                  </a:lnTo>
                  <a:lnTo>
                    <a:pt x="428" y="506"/>
                  </a:lnTo>
                  <a:lnTo>
                    <a:pt x="430" y="506"/>
                  </a:lnTo>
                  <a:lnTo>
                    <a:pt x="430" y="506"/>
                  </a:lnTo>
                  <a:lnTo>
                    <a:pt x="438" y="506"/>
                  </a:lnTo>
                  <a:lnTo>
                    <a:pt x="440" y="506"/>
                  </a:lnTo>
                  <a:lnTo>
                    <a:pt x="440" y="506"/>
                  </a:lnTo>
                  <a:lnTo>
                    <a:pt x="442" y="506"/>
                  </a:lnTo>
                  <a:lnTo>
                    <a:pt x="442" y="506"/>
                  </a:lnTo>
                  <a:lnTo>
                    <a:pt x="442" y="506"/>
                  </a:lnTo>
                  <a:lnTo>
                    <a:pt x="444" y="506"/>
                  </a:lnTo>
                  <a:lnTo>
                    <a:pt x="444" y="506"/>
                  </a:lnTo>
                  <a:lnTo>
                    <a:pt x="448" y="506"/>
                  </a:lnTo>
                  <a:lnTo>
                    <a:pt x="448" y="506"/>
                  </a:lnTo>
                  <a:lnTo>
                    <a:pt x="450" y="508"/>
                  </a:lnTo>
                  <a:lnTo>
                    <a:pt x="450" y="508"/>
                  </a:lnTo>
                  <a:lnTo>
                    <a:pt x="450" y="508"/>
                  </a:lnTo>
                  <a:lnTo>
                    <a:pt x="450" y="510"/>
                  </a:lnTo>
                  <a:lnTo>
                    <a:pt x="450" y="510"/>
                  </a:lnTo>
                  <a:lnTo>
                    <a:pt x="452" y="510"/>
                  </a:lnTo>
                  <a:lnTo>
                    <a:pt x="452" y="510"/>
                  </a:lnTo>
                  <a:lnTo>
                    <a:pt x="452" y="510"/>
                  </a:lnTo>
                  <a:lnTo>
                    <a:pt x="455" y="510"/>
                  </a:lnTo>
                  <a:lnTo>
                    <a:pt x="455" y="510"/>
                  </a:lnTo>
                  <a:lnTo>
                    <a:pt x="457" y="510"/>
                  </a:lnTo>
                  <a:lnTo>
                    <a:pt x="459" y="510"/>
                  </a:lnTo>
                  <a:lnTo>
                    <a:pt x="459" y="510"/>
                  </a:lnTo>
                  <a:lnTo>
                    <a:pt x="463" y="508"/>
                  </a:lnTo>
                  <a:lnTo>
                    <a:pt x="463" y="508"/>
                  </a:lnTo>
                  <a:lnTo>
                    <a:pt x="473" y="508"/>
                  </a:lnTo>
                  <a:lnTo>
                    <a:pt x="473" y="508"/>
                  </a:lnTo>
                  <a:lnTo>
                    <a:pt x="475" y="510"/>
                  </a:lnTo>
                  <a:lnTo>
                    <a:pt x="477" y="510"/>
                  </a:lnTo>
                  <a:lnTo>
                    <a:pt x="477" y="510"/>
                  </a:lnTo>
                  <a:lnTo>
                    <a:pt x="477" y="510"/>
                  </a:lnTo>
                  <a:lnTo>
                    <a:pt x="479" y="510"/>
                  </a:lnTo>
                  <a:lnTo>
                    <a:pt x="479" y="510"/>
                  </a:lnTo>
                  <a:lnTo>
                    <a:pt x="481" y="510"/>
                  </a:lnTo>
                  <a:lnTo>
                    <a:pt x="481" y="510"/>
                  </a:lnTo>
                  <a:lnTo>
                    <a:pt x="481" y="510"/>
                  </a:lnTo>
                  <a:lnTo>
                    <a:pt x="479" y="510"/>
                  </a:lnTo>
                  <a:lnTo>
                    <a:pt x="477" y="508"/>
                  </a:lnTo>
                  <a:lnTo>
                    <a:pt x="477" y="508"/>
                  </a:lnTo>
                  <a:lnTo>
                    <a:pt x="477" y="508"/>
                  </a:lnTo>
                  <a:lnTo>
                    <a:pt x="477" y="508"/>
                  </a:lnTo>
                  <a:lnTo>
                    <a:pt x="477" y="508"/>
                  </a:lnTo>
                  <a:lnTo>
                    <a:pt x="477" y="506"/>
                  </a:lnTo>
                  <a:lnTo>
                    <a:pt x="477" y="506"/>
                  </a:lnTo>
                  <a:lnTo>
                    <a:pt x="477" y="506"/>
                  </a:lnTo>
                  <a:lnTo>
                    <a:pt x="477" y="504"/>
                  </a:lnTo>
                  <a:lnTo>
                    <a:pt x="477" y="504"/>
                  </a:lnTo>
                  <a:lnTo>
                    <a:pt x="477" y="504"/>
                  </a:lnTo>
                  <a:lnTo>
                    <a:pt x="477" y="502"/>
                  </a:lnTo>
                  <a:lnTo>
                    <a:pt x="477" y="502"/>
                  </a:lnTo>
                  <a:lnTo>
                    <a:pt x="479" y="500"/>
                  </a:lnTo>
                  <a:lnTo>
                    <a:pt x="479" y="500"/>
                  </a:lnTo>
                  <a:lnTo>
                    <a:pt x="479" y="500"/>
                  </a:lnTo>
                  <a:lnTo>
                    <a:pt x="481" y="500"/>
                  </a:lnTo>
                  <a:lnTo>
                    <a:pt x="481" y="500"/>
                  </a:lnTo>
                  <a:lnTo>
                    <a:pt x="481" y="498"/>
                  </a:lnTo>
                  <a:lnTo>
                    <a:pt x="481" y="498"/>
                  </a:lnTo>
                  <a:lnTo>
                    <a:pt x="481" y="498"/>
                  </a:lnTo>
                  <a:lnTo>
                    <a:pt x="481" y="498"/>
                  </a:lnTo>
                  <a:lnTo>
                    <a:pt x="481" y="496"/>
                  </a:lnTo>
                  <a:lnTo>
                    <a:pt x="481" y="496"/>
                  </a:lnTo>
                  <a:lnTo>
                    <a:pt x="481" y="496"/>
                  </a:lnTo>
                  <a:lnTo>
                    <a:pt x="481" y="496"/>
                  </a:lnTo>
                  <a:lnTo>
                    <a:pt x="481" y="494"/>
                  </a:lnTo>
                  <a:lnTo>
                    <a:pt x="481" y="494"/>
                  </a:lnTo>
                  <a:lnTo>
                    <a:pt x="481" y="494"/>
                  </a:lnTo>
                  <a:lnTo>
                    <a:pt x="483" y="494"/>
                  </a:lnTo>
                  <a:lnTo>
                    <a:pt x="483" y="492"/>
                  </a:lnTo>
                  <a:lnTo>
                    <a:pt x="483" y="492"/>
                  </a:lnTo>
                  <a:lnTo>
                    <a:pt x="485" y="492"/>
                  </a:lnTo>
                  <a:lnTo>
                    <a:pt x="487" y="492"/>
                  </a:lnTo>
                  <a:lnTo>
                    <a:pt x="487" y="492"/>
                  </a:lnTo>
                  <a:lnTo>
                    <a:pt x="489" y="490"/>
                  </a:lnTo>
                  <a:lnTo>
                    <a:pt x="489" y="490"/>
                  </a:lnTo>
                  <a:lnTo>
                    <a:pt x="489" y="490"/>
                  </a:lnTo>
                  <a:lnTo>
                    <a:pt x="491" y="490"/>
                  </a:lnTo>
                  <a:lnTo>
                    <a:pt x="493" y="492"/>
                  </a:lnTo>
                  <a:lnTo>
                    <a:pt x="493" y="494"/>
                  </a:lnTo>
                  <a:lnTo>
                    <a:pt x="493" y="496"/>
                  </a:lnTo>
                  <a:lnTo>
                    <a:pt x="498" y="500"/>
                  </a:lnTo>
                  <a:lnTo>
                    <a:pt x="498" y="502"/>
                  </a:lnTo>
                  <a:lnTo>
                    <a:pt x="498" y="502"/>
                  </a:lnTo>
                  <a:lnTo>
                    <a:pt x="500" y="502"/>
                  </a:lnTo>
                  <a:lnTo>
                    <a:pt x="500" y="502"/>
                  </a:lnTo>
                  <a:lnTo>
                    <a:pt x="500" y="504"/>
                  </a:lnTo>
                  <a:lnTo>
                    <a:pt x="500" y="504"/>
                  </a:lnTo>
                  <a:lnTo>
                    <a:pt x="500" y="504"/>
                  </a:lnTo>
                  <a:lnTo>
                    <a:pt x="500" y="506"/>
                  </a:lnTo>
                  <a:lnTo>
                    <a:pt x="500" y="506"/>
                  </a:lnTo>
                  <a:lnTo>
                    <a:pt x="500" y="508"/>
                  </a:lnTo>
                  <a:lnTo>
                    <a:pt x="500" y="508"/>
                  </a:lnTo>
                  <a:lnTo>
                    <a:pt x="500" y="508"/>
                  </a:lnTo>
                  <a:lnTo>
                    <a:pt x="500" y="508"/>
                  </a:lnTo>
                  <a:lnTo>
                    <a:pt x="502" y="510"/>
                  </a:lnTo>
                  <a:lnTo>
                    <a:pt x="502" y="510"/>
                  </a:lnTo>
                  <a:lnTo>
                    <a:pt x="504" y="510"/>
                  </a:lnTo>
                  <a:lnTo>
                    <a:pt x="504" y="512"/>
                  </a:lnTo>
                  <a:lnTo>
                    <a:pt x="506" y="514"/>
                  </a:lnTo>
                  <a:lnTo>
                    <a:pt x="508" y="516"/>
                  </a:lnTo>
                  <a:lnTo>
                    <a:pt x="508" y="519"/>
                  </a:lnTo>
                  <a:lnTo>
                    <a:pt x="512" y="521"/>
                  </a:lnTo>
                  <a:lnTo>
                    <a:pt x="512" y="521"/>
                  </a:lnTo>
                  <a:close/>
                </a:path>
              </a:pathLst>
            </a:custGeom>
            <a:solidFill>
              <a:schemeClr val="bg1">
                <a:lumMod val="75000"/>
              </a:schemeClr>
            </a:solidFill>
            <a:ln w="3175" cap="rnd">
              <a:solidFill>
                <a:schemeClr val="bg1"/>
              </a:solidFill>
              <a:prstDash val="solid"/>
              <a:round/>
              <a:headEnd/>
              <a:tailEnd/>
            </a:ln>
          </p:spPr>
          <p:txBody>
            <a:bodyPr vert="horz" wrap="square" lIns="0" tIns="0" rIns="0" bIns="240000" numCol="1" anchor="b"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ID</a:t>
              </a:r>
            </a:p>
          </p:txBody>
        </p:sp>
        <p:sp>
          <p:nvSpPr>
            <p:cNvPr id="102" name="Freeform 43">
              <a:extLst>
                <a:ext uri="{FF2B5EF4-FFF2-40B4-BE49-F238E27FC236}">
                  <a16:creationId xmlns:a16="http://schemas.microsoft.com/office/drawing/2014/main" id="{93017E24-D90A-B321-F755-EA3B8D33E049}"/>
                </a:ext>
              </a:extLst>
            </p:cNvPr>
            <p:cNvSpPr>
              <a:spLocks/>
            </p:cNvSpPr>
            <p:nvPr/>
          </p:nvSpPr>
          <p:spPr bwMode="auto">
            <a:xfrm>
              <a:off x="3001" y="723"/>
              <a:ext cx="534" cy="330"/>
            </a:xfrm>
            <a:custGeom>
              <a:avLst/>
              <a:gdLst>
                <a:gd name="T0" fmla="*/ 504 w 534"/>
                <a:gd name="T1" fmla="*/ 113 h 330"/>
                <a:gd name="T2" fmla="*/ 516 w 534"/>
                <a:gd name="T3" fmla="*/ 130 h 330"/>
                <a:gd name="T4" fmla="*/ 530 w 534"/>
                <a:gd name="T5" fmla="*/ 140 h 330"/>
                <a:gd name="T6" fmla="*/ 532 w 534"/>
                <a:gd name="T7" fmla="*/ 169 h 330"/>
                <a:gd name="T8" fmla="*/ 522 w 534"/>
                <a:gd name="T9" fmla="*/ 183 h 330"/>
                <a:gd name="T10" fmla="*/ 522 w 534"/>
                <a:gd name="T11" fmla="*/ 193 h 330"/>
                <a:gd name="T12" fmla="*/ 502 w 534"/>
                <a:gd name="T13" fmla="*/ 205 h 330"/>
                <a:gd name="T14" fmla="*/ 463 w 534"/>
                <a:gd name="T15" fmla="*/ 230 h 330"/>
                <a:gd name="T16" fmla="*/ 475 w 534"/>
                <a:gd name="T17" fmla="*/ 250 h 330"/>
                <a:gd name="T18" fmla="*/ 467 w 534"/>
                <a:gd name="T19" fmla="*/ 283 h 330"/>
                <a:gd name="T20" fmla="*/ 450 w 534"/>
                <a:gd name="T21" fmla="*/ 304 h 330"/>
                <a:gd name="T22" fmla="*/ 444 w 534"/>
                <a:gd name="T23" fmla="*/ 314 h 330"/>
                <a:gd name="T24" fmla="*/ 442 w 534"/>
                <a:gd name="T25" fmla="*/ 330 h 330"/>
                <a:gd name="T26" fmla="*/ 432 w 534"/>
                <a:gd name="T27" fmla="*/ 322 h 330"/>
                <a:gd name="T28" fmla="*/ 428 w 534"/>
                <a:gd name="T29" fmla="*/ 318 h 330"/>
                <a:gd name="T30" fmla="*/ 422 w 534"/>
                <a:gd name="T31" fmla="*/ 314 h 330"/>
                <a:gd name="T32" fmla="*/ 416 w 534"/>
                <a:gd name="T33" fmla="*/ 308 h 330"/>
                <a:gd name="T34" fmla="*/ 303 w 534"/>
                <a:gd name="T35" fmla="*/ 316 h 330"/>
                <a:gd name="T36" fmla="*/ 141 w 534"/>
                <a:gd name="T37" fmla="*/ 324 h 330"/>
                <a:gd name="T38" fmla="*/ 80 w 534"/>
                <a:gd name="T39" fmla="*/ 328 h 330"/>
                <a:gd name="T40" fmla="*/ 80 w 534"/>
                <a:gd name="T41" fmla="*/ 328 h 330"/>
                <a:gd name="T42" fmla="*/ 74 w 534"/>
                <a:gd name="T43" fmla="*/ 320 h 330"/>
                <a:gd name="T44" fmla="*/ 74 w 534"/>
                <a:gd name="T45" fmla="*/ 310 h 330"/>
                <a:gd name="T46" fmla="*/ 74 w 534"/>
                <a:gd name="T47" fmla="*/ 296 h 330"/>
                <a:gd name="T48" fmla="*/ 69 w 534"/>
                <a:gd name="T49" fmla="*/ 283 h 330"/>
                <a:gd name="T50" fmla="*/ 69 w 534"/>
                <a:gd name="T51" fmla="*/ 279 h 330"/>
                <a:gd name="T52" fmla="*/ 69 w 534"/>
                <a:gd name="T53" fmla="*/ 267 h 330"/>
                <a:gd name="T54" fmla="*/ 67 w 534"/>
                <a:gd name="T55" fmla="*/ 253 h 330"/>
                <a:gd name="T56" fmla="*/ 63 w 534"/>
                <a:gd name="T57" fmla="*/ 236 h 330"/>
                <a:gd name="T58" fmla="*/ 57 w 534"/>
                <a:gd name="T59" fmla="*/ 230 h 330"/>
                <a:gd name="T60" fmla="*/ 51 w 534"/>
                <a:gd name="T61" fmla="*/ 228 h 330"/>
                <a:gd name="T62" fmla="*/ 49 w 534"/>
                <a:gd name="T63" fmla="*/ 214 h 330"/>
                <a:gd name="T64" fmla="*/ 51 w 534"/>
                <a:gd name="T65" fmla="*/ 201 h 330"/>
                <a:gd name="T66" fmla="*/ 45 w 534"/>
                <a:gd name="T67" fmla="*/ 187 h 330"/>
                <a:gd name="T68" fmla="*/ 33 w 534"/>
                <a:gd name="T69" fmla="*/ 166 h 330"/>
                <a:gd name="T70" fmla="*/ 26 w 534"/>
                <a:gd name="T71" fmla="*/ 152 h 330"/>
                <a:gd name="T72" fmla="*/ 20 w 534"/>
                <a:gd name="T73" fmla="*/ 130 h 330"/>
                <a:gd name="T74" fmla="*/ 12 w 534"/>
                <a:gd name="T75" fmla="*/ 119 h 330"/>
                <a:gd name="T76" fmla="*/ 10 w 534"/>
                <a:gd name="T77" fmla="*/ 115 h 330"/>
                <a:gd name="T78" fmla="*/ 10 w 534"/>
                <a:gd name="T79" fmla="*/ 111 h 330"/>
                <a:gd name="T80" fmla="*/ 0 w 534"/>
                <a:gd name="T81" fmla="*/ 103 h 330"/>
                <a:gd name="T82" fmla="*/ 4 w 534"/>
                <a:gd name="T83" fmla="*/ 95 h 330"/>
                <a:gd name="T84" fmla="*/ 6 w 534"/>
                <a:gd name="T85" fmla="*/ 91 h 330"/>
                <a:gd name="T86" fmla="*/ 8 w 534"/>
                <a:gd name="T87" fmla="*/ 85 h 330"/>
                <a:gd name="T88" fmla="*/ 10 w 534"/>
                <a:gd name="T89" fmla="*/ 76 h 330"/>
                <a:gd name="T90" fmla="*/ 10 w 534"/>
                <a:gd name="T91" fmla="*/ 72 h 330"/>
                <a:gd name="T92" fmla="*/ 14 w 534"/>
                <a:gd name="T93" fmla="*/ 62 h 330"/>
                <a:gd name="T94" fmla="*/ 10 w 534"/>
                <a:gd name="T95" fmla="*/ 52 h 330"/>
                <a:gd name="T96" fmla="*/ 4 w 534"/>
                <a:gd name="T97" fmla="*/ 52 h 330"/>
                <a:gd name="T98" fmla="*/ 4 w 534"/>
                <a:gd name="T99" fmla="*/ 48 h 330"/>
                <a:gd name="T100" fmla="*/ 8 w 534"/>
                <a:gd name="T101" fmla="*/ 44 h 330"/>
                <a:gd name="T102" fmla="*/ 2 w 534"/>
                <a:gd name="T103" fmla="*/ 31 h 330"/>
                <a:gd name="T104" fmla="*/ 2 w 534"/>
                <a:gd name="T105" fmla="*/ 23 h 330"/>
                <a:gd name="T106" fmla="*/ 170 w 534"/>
                <a:gd name="T107" fmla="*/ 17 h 330"/>
                <a:gd name="T108" fmla="*/ 379 w 534"/>
                <a:gd name="T109" fmla="*/ 5 h 330"/>
                <a:gd name="T110" fmla="*/ 434 w 534"/>
                <a:gd name="T111" fmla="*/ 7 h 330"/>
                <a:gd name="T112" fmla="*/ 446 w 534"/>
                <a:gd name="T113" fmla="*/ 21 h 330"/>
                <a:gd name="T114" fmla="*/ 444 w 534"/>
                <a:gd name="T115" fmla="*/ 52 h 330"/>
                <a:gd name="T116" fmla="*/ 450 w 534"/>
                <a:gd name="T117" fmla="*/ 72 h 330"/>
                <a:gd name="T118" fmla="*/ 483 w 534"/>
                <a:gd name="T119" fmla="*/ 85 h 330"/>
                <a:gd name="T120" fmla="*/ 489 w 534"/>
                <a:gd name="T121" fmla="*/ 99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4" h="330">
                  <a:moveTo>
                    <a:pt x="489" y="99"/>
                  </a:moveTo>
                  <a:lnTo>
                    <a:pt x="487" y="103"/>
                  </a:lnTo>
                  <a:lnTo>
                    <a:pt x="489" y="103"/>
                  </a:lnTo>
                  <a:lnTo>
                    <a:pt x="491" y="105"/>
                  </a:lnTo>
                  <a:lnTo>
                    <a:pt x="493" y="105"/>
                  </a:lnTo>
                  <a:lnTo>
                    <a:pt x="493" y="107"/>
                  </a:lnTo>
                  <a:lnTo>
                    <a:pt x="498" y="109"/>
                  </a:lnTo>
                  <a:lnTo>
                    <a:pt x="504" y="113"/>
                  </a:lnTo>
                  <a:lnTo>
                    <a:pt x="508" y="115"/>
                  </a:lnTo>
                  <a:lnTo>
                    <a:pt x="510" y="119"/>
                  </a:lnTo>
                  <a:lnTo>
                    <a:pt x="510" y="117"/>
                  </a:lnTo>
                  <a:lnTo>
                    <a:pt x="510" y="123"/>
                  </a:lnTo>
                  <a:lnTo>
                    <a:pt x="510" y="125"/>
                  </a:lnTo>
                  <a:lnTo>
                    <a:pt x="514" y="128"/>
                  </a:lnTo>
                  <a:lnTo>
                    <a:pt x="516" y="130"/>
                  </a:lnTo>
                  <a:lnTo>
                    <a:pt x="516" y="130"/>
                  </a:lnTo>
                  <a:lnTo>
                    <a:pt x="518" y="130"/>
                  </a:lnTo>
                  <a:lnTo>
                    <a:pt x="524" y="134"/>
                  </a:lnTo>
                  <a:lnTo>
                    <a:pt x="526" y="134"/>
                  </a:lnTo>
                  <a:lnTo>
                    <a:pt x="528" y="138"/>
                  </a:lnTo>
                  <a:lnTo>
                    <a:pt x="528" y="138"/>
                  </a:lnTo>
                  <a:lnTo>
                    <a:pt x="530" y="138"/>
                  </a:lnTo>
                  <a:lnTo>
                    <a:pt x="530" y="138"/>
                  </a:lnTo>
                  <a:lnTo>
                    <a:pt x="530" y="140"/>
                  </a:lnTo>
                  <a:lnTo>
                    <a:pt x="530" y="142"/>
                  </a:lnTo>
                  <a:lnTo>
                    <a:pt x="532" y="142"/>
                  </a:lnTo>
                  <a:lnTo>
                    <a:pt x="534" y="146"/>
                  </a:lnTo>
                  <a:lnTo>
                    <a:pt x="534" y="148"/>
                  </a:lnTo>
                  <a:lnTo>
                    <a:pt x="534" y="152"/>
                  </a:lnTo>
                  <a:lnTo>
                    <a:pt x="532" y="156"/>
                  </a:lnTo>
                  <a:lnTo>
                    <a:pt x="532" y="162"/>
                  </a:lnTo>
                  <a:lnTo>
                    <a:pt x="532" y="169"/>
                  </a:lnTo>
                  <a:lnTo>
                    <a:pt x="530" y="171"/>
                  </a:lnTo>
                  <a:lnTo>
                    <a:pt x="530" y="171"/>
                  </a:lnTo>
                  <a:lnTo>
                    <a:pt x="528" y="173"/>
                  </a:lnTo>
                  <a:lnTo>
                    <a:pt x="526" y="175"/>
                  </a:lnTo>
                  <a:lnTo>
                    <a:pt x="524" y="177"/>
                  </a:lnTo>
                  <a:lnTo>
                    <a:pt x="524" y="179"/>
                  </a:lnTo>
                  <a:lnTo>
                    <a:pt x="522" y="181"/>
                  </a:lnTo>
                  <a:lnTo>
                    <a:pt x="522" y="183"/>
                  </a:lnTo>
                  <a:lnTo>
                    <a:pt x="522" y="185"/>
                  </a:lnTo>
                  <a:lnTo>
                    <a:pt x="520" y="187"/>
                  </a:lnTo>
                  <a:lnTo>
                    <a:pt x="520" y="187"/>
                  </a:lnTo>
                  <a:lnTo>
                    <a:pt x="522" y="189"/>
                  </a:lnTo>
                  <a:lnTo>
                    <a:pt x="522" y="189"/>
                  </a:lnTo>
                  <a:lnTo>
                    <a:pt x="522" y="191"/>
                  </a:lnTo>
                  <a:lnTo>
                    <a:pt x="522" y="193"/>
                  </a:lnTo>
                  <a:lnTo>
                    <a:pt x="522" y="193"/>
                  </a:lnTo>
                  <a:lnTo>
                    <a:pt x="520" y="195"/>
                  </a:lnTo>
                  <a:lnTo>
                    <a:pt x="516" y="197"/>
                  </a:lnTo>
                  <a:lnTo>
                    <a:pt x="516" y="197"/>
                  </a:lnTo>
                  <a:lnTo>
                    <a:pt x="516" y="199"/>
                  </a:lnTo>
                  <a:lnTo>
                    <a:pt x="514" y="201"/>
                  </a:lnTo>
                  <a:lnTo>
                    <a:pt x="510" y="201"/>
                  </a:lnTo>
                  <a:lnTo>
                    <a:pt x="502" y="205"/>
                  </a:lnTo>
                  <a:lnTo>
                    <a:pt x="502" y="205"/>
                  </a:lnTo>
                  <a:lnTo>
                    <a:pt x="498" y="210"/>
                  </a:lnTo>
                  <a:lnTo>
                    <a:pt x="498" y="212"/>
                  </a:lnTo>
                  <a:lnTo>
                    <a:pt x="493" y="212"/>
                  </a:lnTo>
                  <a:lnTo>
                    <a:pt x="469" y="216"/>
                  </a:lnTo>
                  <a:lnTo>
                    <a:pt x="467" y="218"/>
                  </a:lnTo>
                  <a:lnTo>
                    <a:pt x="465" y="222"/>
                  </a:lnTo>
                  <a:lnTo>
                    <a:pt x="463" y="226"/>
                  </a:lnTo>
                  <a:lnTo>
                    <a:pt x="463" y="230"/>
                  </a:lnTo>
                  <a:lnTo>
                    <a:pt x="463" y="236"/>
                  </a:lnTo>
                  <a:lnTo>
                    <a:pt x="463" y="238"/>
                  </a:lnTo>
                  <a:lnTo>
                    <a:pt x="463" y="240"/>
                  </a:lnTo>
                  <a:lnTo>
                    <a:pt x="465" y="242"/>
                  </a:lnTo>
                  <a:lnTo>
                    <a:pt x="467" y="242"/>
                  </a:lnTo>
                  <a:lnTo>
                    <a:pt x="467" y="244"/>
                  </a:lnTo>
                  <a:lnTo>
                    <a:pt x="471" y="246"/>
                  </a:lnTo>
                  <a:lnTo>
                    <a:pt x="475" y="250"/>
                  </a:lnTo>
                  <a:lnTo>
                    <a:pt x="477" y="255"/>
                  </a:lnTo>
                  <a:lnTo>
                    <a:pt x="477" y="259"/>
                  </a:lnTo>
                  <a:lnTo>
                    <a:pt x="477" y="263"/>
                  </a:lnTo>
                  <a:lnTo>
                    <a:pt x="475" y="267"/>
                  </a:lnTo>
                  <a:lnTo>
                    <a:pt x="469" y="277"/>
                  </a:lnTo>
                  <a:lnTo>
                    <a:pt x="467" y="279"/>
                  </a:lnTo>
                  <a:lnTo>
                    <a:pt x="467" y="281"/>
                  </a:lnTo>
                  <a:lnTo>
                    <a:pt x="467" y="283"/>
                  </a:lnTo>
                  <a:lnTo>
                    <a:pt x="467" y="287"/>
                  </a:lnTo>
                  <a:lnTo>
                    <a:pt x="467" y="289"/>
                  </a:lnTo>
                  <a:lnTo>
                    <a:pt x="465" y="296"/>
                  </a:lnTo>
                  <a:lnTo>
                    <a:pt x="463" y="298"/>
                  </a:lnTo>
                  <a:lnTo>
                    <a:pt x="461" y="300"/>
                  </a:lnTo>
                  <a:lnTo>
                    <a:pt x="457" y="302"/>
                  </a:lnTo>
                  <a:lnTo>
                    <a:pt x="454" y="302"/>
                  </a:lnTo>
                  <a:lnTo>
                    <a:pt x="450" y="304"/>
                  </a:lnTo>
                  <a:lnTo>
                    <a:pt x="448" y="306"/>
                  </a:lnTo>
                  <a:lnTo>
                    <a:pt x="444" y="308"/>
                  </a:lnTo>
                  <a:lnTo>
                    <a:pt x="442" y="310"/>
                  </a:lnTo>
                  <a:lnTo>
                    <a:pt x="442" y="310"/>
                  </a:lnTo>
                  <a:lnTo>
                    <a:pt x="442" y="312"/>
                  </a:lnTo>
                  <a:lnTo>
                    <a:pt x="442" y="312"/>
                  </a:lnTo>
                  <a:lnTo>
                    <a:pt x="442" y="314"/>
                  </a:lnTo>
                  <a:lnTo>
                    <a:pt x="444" y="314"/>
                  </a:lnTo>
                  <a:lnTo>
                    <a:pt x="446" y="316"/>
                  </a:lnTo>
                  <a:lnTo>
                    <a:pt x="446" y="318"/>
                  </a:lnTo>
                  <a:lnTo>
                    <a:pt x="446" y="322"/>
                  </a:lnTo>
                  <a:lnTo>
                    <a:pt x="446" y="324"/>
                  </a:lnTo>
                  <a:lnTo>
                    <a:pt x="446" y="326"/>
                  </a:lnTo>
                  <a:lnTo>
                    <a:pt x="446" y="328"/>
                  </a:lnTo>
                  <a:lnTo>
                    <a:pt x="446" y="328"/>
                  </a:lnTo>
                  <a:lnTo>
                    <a:pt x="442" y="330"/>
                  </a:lnTo>
                  <a:lnTo>
                    <a:pt x="440" y="330"/>
                  </a:lnTo>
                  <a:lnTo>
                    <a:pt x="438" y="330"/>
                  </a:lnTo>
                  <a:lnTo>
                    <a:pt x="436" y="328"/>
                  </a:lnTo>
                  <a:lnTo>
                    <a:pt x="434" y="326"/>
                  </a:lnTo>
                  <a:lnTo>
                    <a:pt x="432" y="324"/>
                  </a:lnTo>
                  <a:lnTo>
                    <a:pt x="432" y="324"/>
                  </a:lnTo>
                  <a:lnTo>
                    <a:pt x="432" y="324"/>
                  </a:lnTo>
                  <a:lnTo>
                    <a:pt x="432" y="322"/>
                  </a:lnTo>
                  <a:lnTo>
                    <a:pt x="432" y="322"/>
                  </a:lnTo>
                  <a:lnTo>
                    <a:pt x="432" y="322"/>
                  </a:lnTo>
                  <a:lnTo>
                    <a:pt x="430" y="320"/>
                  </a:lnTo>
                  <a:lnTo>
                    <a:pt x="428" y="320"/>
                  </a:lnTo>
                  <a:lnTo>
                    <a:pt x="428" y="320"/>
                  </a:lnTo>
                  <a:lnTo>
                    <a:pt x="428" y="320"/>
                  </a:lnTo>
                  <a:lnTo>
                    <a:pt x="428" y="318"/>
                  </a:lnTo>
                  <a:lnTo>
                    <a:pt x="428" y="318"/>
                  </a:lnTo>
                  <a:lnTo>
                    <a:pt x="426" y="318"/>
                  </a:lnTo>
                  <a:lnTo>
                    <a:pt x="426" y="318"/>
                  </a:lnTo>
                  <a:lnTo>
                    <a:pt x="426" y="318"/>
                  </a:lnTo>
                  <a:lnTo>
                    <a:pt x="426" y="318"/>
                  </a:lnTo>
                  <a:lnTo>
                    <a:pt x="426" y="316"/>
                  </a:lnTo>
                  <a:lnTo>
                    <a:pt x="424" y="316"/>
                  </a:lnTo>
                  <a:lnTo>
                    <a:pt x="422" y="314"/>
                  </a:lnTo>
                  <a:lnTo>
                    <a:pt x="422" y="314"/>
                  </a:lnTo>
                  <a:lnTo>
                    <a:pt x="420" y="314"/>
                  </a:lnTo>
                  <a:lnTo>
                    <a:pt x="420" y="314"/>
                  </a:lnTo>
                  <a:lnTo>
                    <a:pt x="420" y="312"/>
                  </a:lnTo>
                  <a:lnTo>
                    <a:pt x="418" y="312"/>
                  </a:lnTo>
                  <a:lnTo>
                    <a:pt x="418" y="310"/>
                  </a:lnTo>
                  <a:lnTo>
                    <a:pt x="418" y="310"/>
                  </a:lnTo>
                  <a:lnTo>
                    <a:pt x="416" y="308"/>
                  </a:lnTo>
                  <a:lnTo>
                    <a:pt x="416" y="308"/>
                  </a:lnTo>
                  <a:lnTo>
                    <a:pt x="416" y="306"/>
                  </a:lnTo>
                  <a:lnTo>
                    <a:pt x="411" y="308"/>
                  </a:lnTo>
                  <a:lnTo>
                    <a:pt x="403" y="308"/>
                  </a:lnTo>
                  <a:lnTo>
                    <a:pt x="383" y="310"/>
                  </a:lnTo>
                  <a:lnTo>
                    <a:pt x="364" y="310"/>
                  </a:lnTo>
                  <a:lnTo>
                    <a:pt x="344" y="312"/>
                  </a:lnTo>
                  <a:lnTo>
                    <a:pt x="323" y="314"/>
                  </a:lnTo>
                  <a:lnTo>
                    <a:pt x="303" y="316"/>
                  </a:lnTo>
                  <a:lnTo>
                    <a:pt x="282" y="316"/>
                  </a:lnTo>
                  <a:lnTo>
                    <a:pt x="262" y="318"/>
                  </a:lnTo>
                  <a:lnTo>
                    <a:pt x="241" y="320"/>
                  </a:lnTo>
                  <a:lnTo>
                    <a:pt x="223" y="320"/>
                  </a:lnTo>
                  <a:lnTo>
                    <a:pt x="203" y="322"/>
                  </a:lnTo>
                  <a:lnTo>
                    <a:pt x="182" y="322"/>
                  </a:lnTo>
                  <a:lnTo>
                    <a:pt x="162" y="324"/>
                  </a:lnTo>
                  <a:lnTo>
                    <a:pt x="141" y="324"/>
                  </a:lnTo>
                  <a:lnTo>
                    <a:pt x="121" y="326"/>
                  </a:lnTo>
                  <a:lnTo>
                    <a:pt x="100" y="326"/>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8"/>
                  </a:lnTo>
                  <a:lnTo>
                    <a:pt x="80" y="326"/>
                  </a:lnTo>
                  <a:lnTo>
                    <a:pt x="80" y="324"/>
                  </a:lnTo>
                  <a:lnTo>
                    <a:pt x="80" y="322"/>
                  </a:lnTo>
                  <a:lnTo>
                    <a:pt x="78" y="320"/>
                  </a:lnTo>
                  <a:lnTo>
                    <a:pt x="74" y="320"/>
                  </a:lnTo>
                  <a:lnTo>
                    <a:pt x="72" y="318"/>
                  </a:lnTo>
                  <a:lnTo>
                    <a:pt x="72" y="316"/>
                  </a:lnTo>
                  <a:lnTo>
                    <a:pt x="72" y="316"/>
                  </a:lnTo>
                  <a:lnTo>
                    <a:pt x="72" y="314"/>
                  </a:lnTo>
                  <a:lnTo>
                    <a:pt x="72" y="314"/>
                  </a:lnTo>
                  <a:lnTo>
                    <a:pt x="72" y="312"/>
                  </a:lnTo>
                  <a:lnTo>
                    <a:pt x="72" y="312"/>
                  </a:lnTo>
                  <a:lnTo>
                    <a:pt x="74" y="310"/>
                  </a:lnTo>
                  <a:lnTo>
                    <a:pt x="74" y="308"/>
                  </a:lnTo>
                  <a:lnTo>
                    <a:pt x="74" y="308"/>
                  </a:lnTo>
                  <a:lnTo>
                    <a:pt x="74" y="306"/>
                  </a:lnTo>
                  <a:lnTo>
                    <a:pt x="74" y="304"/>
                  </a:lnTo>
                  <a:lnTo>
                    <a:pt x="74" y="302"/>
                  </a:lnTo>
                  <a:lnTo>
                    <a:pt x="74" y="300"/>
                  </a:lnTo>
                  <a:lnTo>
                    <a:pt x="74" y="298"/>
                  </a:lnTo>
                  <a:lnTo>
                    <a:pt x="74" y="296"/>
                  </a:lnTo>
                  <a:lnTo>
                    <a:pt x="74" y="291"/>
                  </a:lnTo>
                  <a:lnTo>
                    <a:pt x="72" y="291"/>
                  </a:lnTo>
                  <a:lnTo>
                    <a:pt x="74" y="289"/>
                  </a:lnTo>
                  <a:lnTo>
                    <a:pt x="74" y="287"/>
                  </a:lnTo>
                  <a:lnTo>
                    <a:pt x="72" y="287"/>
                  </a:lnTo>
                  <a:lnTo>
                    <a:pt x="72" y="285"/>
                  </a:lnTo>
                  <a:lnTo>
                    <a:pt x="69" y="285"/>
                  </a:lnTo>
                  <a:lnTo>
                    <a:pt x="69" y="283"/>
                  </a:lnTo>
                  <a:lnTo>
                    <a:pt x="69" y="283"/>
                  </a:lnTo>
                  <a:lnTo>
                    <a:pt x="69" y="281"/>
                  </a:lnTo>
                  <a:lnTo>
                    <a:pt x="69" y="281"/>
                  </a:lnTo>
                  <a:lnTo>
                    <a:pt x="69" y="281"/>
                  </a:lnTo>
                  <a:lnTo>
                    <a:pt x="69" y="279"/>
                  </a:lnTo>
                  <a:lnTo>
                    <a:pt x="69" y="279"/>
                  </a:lnTo>
                  <a:lnTo>
                    <a:pt x="69" y="279"/>
                  </a:lnTo>
                  <a:lnTo>
                    <a:pt x="69" y="279"/>
                  </a:lnTo>
                  <a:lnTo>
                    <a:pt x="69" y="279"/>
                  </a:lnTo>
                  <a:lnTo>
                    <a:pt x="69" y="277"/>
                  </a:lnTo>
                  <a:lnTo>
                    <a:pt x="69" y="275"/>
                  </a:lnTo>
                  <a:lnTo>
                    <a:pt x="69" y="273"/>
                  </a:lnTo>
                  <a:lnTo>
                    <a:pt x="69" y="269"/>
                  </a:lnTo>
                  <a:lnTo>
                    <a:pt x="69" y="269"/>
                  </a:lnTo>
                  <a:lnTo>
                    <a:pt x="72" y="267"/>
                  </a:lnTo>
                  <a:lnTo>
                    <a:pt x="69" y="267"/>
                  </a:lnTo>
                  <a:lnTo>
                    <a:pt x="65" y="265"/>
                  </a:lnTo>
                  <a:lnTo>
                    <a:pt x="65" y="265"/>
                  </a:lnTo>
                  <a:lnTo>
                    <a:pt x="65" y="263"/>
                  </a:lnTo>
                  <a:lnTo>
                    <a:pt x="65" y="259"/>
                  </a:lnTo>
                  <a:lnTo>
                    <a:pt x="65" y="257"/>
                  </a:lnTo>
                  <a:lnTo>
                    <a:pt x="67" y="255"/>
                  </a:lnTo>
                  <a:lnTo>
                    <a:pt x="69" y="253"/>
                  </a:lnTo>
                  <a:lnTo>
                    <a:pt x="67" y="253"/>
                  </a:lnTo>
                  <a:lnTo>
                    <a:pt x="67" y="253"/>
                  </a:lnTo>
                  <a:lnTo>
                    <a:pt x="63" y="250"/>
                  </a:lnTo>
                  <a:lnTo>
                    <a:pt x="61" y="250"/>
                  </a:lnTo>
                  <a:lnTo>
                    <a:pt x="63" y="244"/>
                  </a:lnTo>
                  <a:lnTo>
                    <a:pt x="63" y="242"/>
                  </a:lnTo>
                  <a:lnTo>
                    <a:pt x="63" y="238"/>
                  </a:lnTo>
                  <a:lnTo>
                    <a:pt x="63" y="236"/>
                  </a:lnTo>
                  <a:lnTo>
                    <a:pt x="63" y="236"/>
                  </a:lnTo>
                  <a:lnTo>
                    <a:pt x="61" y="236"/>
                  </a:lnTo>
                  <a:lnTo>
                    <a:pt x="59" y="236"/>
                  </a:lnTo>
                  <a:lnTo>
                    <a:pt x="57" y="236"/>
                  </a:lnTo>
                  <a:lnTo>
                    <a:pt x="57" y="234"/>
                  </a:lnTo>
                  <a:lnTo>
                    <a:pt x="57" y="234"/>
                  </a:lnTo>
                  <a:lnTo>
                    <a:pt x="57" y="232"/>
                  </a:lnTo>
                  <a:lnTo>
                    <a:pt x="57" y="230"/>
                  </a:lnTo>
                  <a:lnTo>
                    <a:pt x="57" y="230"/>
                  </a:lnTo>
                  <a:lnTo>
                    <a:pt x="57" y="230"/>
                  </a:lnTo>
                  <a:lnTo>
                    <a:pt x="57" y="228"/>
                  </a:lnTo>
                  <a:lnTo>
                    <a:pt x="57" y="228"/>
                  </a:lnTo>
                  <a:lnTo>
                    <a:pt x="55" y="228"/>
                  </a:lnTo>
                  <a:lnTo>
                    <a:pt x="55" y="228"/>
                  </a:lnTo>
                  <a:lnTo>
                    <a:pt x="53" y="230"/>
                  </a:lnTo>
                  <a:lnTo>
                    <a:pt x="53" y="230"/>
                  </a:lnTo>
                  <a:lnTo>
                    <a:pt x="51" y="228"/>
                  </a:lnTo>
                  <a:lnTo>
                    <a:pt x="51" y="226"/>
                  </a:lnTo>
                  <a:lnTo>
                    <a:pt x="51" y="224"/>
                  </a:lnTo>
                  <a:lnTo>
                    <a:pt x="51" y="224"/>
                  </a:lnTo>
                  <a:lnTo>
                    <a:pt x="49" y="222"/>
                  </a:lnTo>
                  <a:lnTo>
                    <a:pt x="49" y="220"/>
                  </a:lnTo>
                  <a:lnTo>
                    <a:pt x="49" y="218"/>
                  </a:lnTo>
                  <a:lnTo>
                    <a:pt x="49" y="214"/>
                  </a:lnTo>
                  <a:lnTo>
                    <a:pt x="49" y="214"/>
                  </a:lnTo>
                  <a:lnTo>
                    <a:pt x="49" y="212"/>
                  </a:lnTo>
                  <a:lnTo>
                    <a:pt x="49" y="212"/>
                  </a:lnTo>
                  <a:lnTo>
                    <a:pt x="49" y="210"/>
                  </a:lnTo>
                  <a:lnTo>
                    <a:pt x="49" y="210"/>
                  </a:lnTo>
                  <a:lnTo>
                    <a:pt x="49" y="207"/>
                  </a:lnTo>
                  <a:lnTo>
                    <a:pt x="49" y="205"/>
                  </a:lnTo>
                  <a:lnTo>
                    <a:pt x="51" y="203"/>
                  </a:lnTo>
                  <a:lnTo>
                    <a:pt x="51" y="201"/>
                  </a:lnTo>
                  <a:lnTo>
                    <a:pt x="49" y="199"/>
                  </a:lnTo>
                  <a:lnTo>
                    <a:pt x="45" y="195"/>
                  </a:lnTo>
                  <a:lnTo>
                    <a:pt x="45" y="195"/>
                  </a:lnTo>
                  <a:lnTo>
                    <a:pt x="43" y="191"/>
                  </a:lnTo>
                  <a:lnTo>
                    <a:pt x="43" y="191"/>
                  </a:lnTo>
                  <a:lnTo>
                    <a:pt x="43" y="189"/>
                  </a:lnTo>
                  <a:lnTo>
                    <a:pt x="43" y="187"/>
                  </a:lnTo>
                  <a:lnTo>
                    <a:pt x="45" y="187"/>
                  </a:lnTo>
                  <a:lnTo>
                    <a:pt x="43" y="183"/>
                  </a:lnTo>
                  <a:lnTo>
                    <a:pt x="39" y="179"/>
                  </a:lnTo>
                  <a:lnTo>
                    <a:pt x="37" y="179"/>
                  </a:lnTo>
                  <a:lnTo>
                    <a:pt x="35" y="175"/>
                  </a:lnTo>
                  <a:lnTo>
                    <a:pt x="33" y="173"/>
                  </a:lnTo>
                  <a:lnTo>
                    <a:pt x="33" y="171"/>
                  </a:lnTo>
                  <a:lnTo>
                    <a:pt x="33" y="169"/>
                  </a:lnTo>
                  <a:lnTo>
                    <a:pt x="33" y="166"/>
                  </a:lnTo>
                  <a:lnTo>
                    <a:pt x="31" y="164"/>
                  </a:lnTo>
                  <a:lnTo>
                    <a:pt x="28" y="164"/>
                  </a:lnTo>
                  <a:lnTo>
                    <a:pt x="26" y="162"/>
                  </a:lnTo>
                  <a:lnTo>
                    <a:pt x="26" y="160"/>
                  </a:lnTo>
                  <a:lnTo>
                    <a:pt x="26" y="158"/>
                  </a:lnTo>
                  <a:lnTo>
                    <a:pt x="26" y="156"/>
                  </a:lnTo>
                  <a:lnTo>
                    <a:pt x="26" y="154"/>
                  </a:lnTo>
                  <a:lnTo>
                    <a:pt x="26" y="152"/>
                  </a:lnTo>
                  <a:lnTo>
                    <a:pt x="26" y="150"/>
                  </a:lnTo>
                  <a:lnTo>
                    <a:pt x="24" y="148"/>
                  </a:lnTo>
                  <a:lnTo>
                    <a:pt x="24" y="148"/>
                  </a:lnTo>
                  <a:lnTo>
                    <a:pt x="24" y="146"/>
                  </a:lnTo>
                  <a:lnTo>
                    <a:pt x="20" y="142"/>
                  </a:lnTo>
                  <a:lnTo>
                    <a:pt x="22" y="138"/>
                  </a:lnTo>
                  <a:lnTo>
                    <a:pt x="22" y="134"/>
                  </a:lnTo>
                  <a:lnTo>
                    <a:pt x="20" y="130"/>
                  </a:lnTo>
                  <a:lnTo>
                    <a:pt x="20" y="128"/>
                  </a:lnTo>
                  <a:lnTo>
                    <a:pt x="18" y="128"/>
                  </a:lnTo>
                  <a:lnTo>
                    <a:pt x="14" y="128"/>
                  </a:lnTo>
                  <a:lnTo>
                    <a:pt x="14" y="123"/>
                  </a:lnTo>
                  <a:lnTo>
                    <a:pt x="14" y="121"/>
                  </a:lnTo>
                  <a:lnTo>
                    <a:pt x="12" y="121"/>
                  </a:lnTo>
                  <a:lnTo>
                    <a:pt x="12" y="121"/>
                  </a:lnTo>
                  <a:lnTo>
                    <a:pt x="12" y="119"/>
                  </a:lnTo>
                  <a:lnTo>
                    <a:pt x="12" y="119"/>
                  </a:lnTo>
                  <a:lnTo>
                    <a:pt x="12" y="119"/>
                  </a:lnTo>
                  <a:lnTo>
                    <a:pt x="12" y="117"/>
                  </a:lnTo>
                  <a:lnTo>
                    <a:pt x="12" y="117"/>
                  </a:lnTo>
                  <a:lnTo>
                    <a:pt x="12" y="117"/>
                  </a:lnTo>
                  <a:lnTo>
                    <a:pt x="10" y="117"/>
                  </a:lnTo>
                  <a:lnTo>
                    <a:pt x="10" y="115"/>
                  </a:lnTo>
                  <a:lnTo>
                    <a:pt x="10" y="115"/>
                  </a:lnTo>
                  <a:lnTo>
                    <a:pt x="8" y="115"/>
                  </a:lnTo>
                  <a:lnTo>
                    <a:pt x="8" y="115"/>
                  </a:lnTo>
                  <a:lnTo>
                    <a:pt x="10" y="115"/>
                  </a:lnTo>
                  <a:lnTo>
                    <a:pt x="10" y="113"/>
                  </a:lnTo>
                  <a:lnTo>
                    <a:pt x="10" y="113"/>
                  </a:lnTo>
                  <a:lnTo>
                    <a:pt x="10" y="113"/>
                  </a:lnTo>
                  <a:lnTo>
                    <a:pt x="10" y="113"/>
                  </a:lnTo>
                  <a:lnTo>
                    <a:pt x="10" y="111"/>
                  </a:lnTo>
                  <a:lnTo>
                    <a:pt x="10" y="111"/>
                  </a:lnTo>
                  <a:lnTo>
                    <a:pt x="8" y="111"/>
                  </a:lnTo>
                  <a:lnTo>
                    <a:pt x="4" y="107"/>
                  </a:lnTo>
                  <a:lnTo>
                    <a:pt x="4" y="107"/>
                  </a:lnTo>
                  <a:lnTo>
                    <a:pt x="2" y="107"/>
                  </a:lnTo>
                  <a:lnTo>
                    <a:pt x="2" y="105"/>
                  </a:lnTo>
                  <a:lnTo>
                    <a:pt x="2" y="103"/>
                  </a:lnTo>
                  <a:lnTo>
                    <a:pt x="0" y="103"/>
                  </a:lnTo>
                  <a:lnTo>
                    <a:pt x="2" y="101"/>
                  </a:lnTo>
                  <a:lnTo>
                    <a:pt x="2" y="101"/>
                  </a:lnTo>
                  <a:lnTo>
                    <a:pt x="2" y="99"/>
                  </a:lnTo>
                  <a:lnTo>
                    <a:pt x="4" y="97"/>
                  </a:lnTo>
                  <a:lnTo>
                    <a:pt x="4" y="97"/>
                  </a:lnTo>
                  <a:lnTo>
                    <a:pt x="4" y="95"/>
                  </a:lnTo>
                  <a:lnTo>
                    <a:pt x="4" y="95"/>
                  </a:lnTo>
                  <a:lnTo>
                    <a:pt x="4" y="95"/>
                  </a:lnTo>
                  <a:lnTo>
                    <a:pt x="4" y="95"/>
                  </a:lnTo>
                  <a:lnTo>
                    <a:pt x="4" y="93"/>
                  </a:lnTo>
                  <a:lnTo>
                    <a:pt x="4" y="93"/>
                  </a:lnTo>
                  <a:lnTo>
                    <a:pt x="4" y="93"/>
                  </a:lnTo>
                  <a:lnTo>
                    <a:pt x="6" y="93"/>
                  </a:lnTo>
                  <a:lnTo>
                    <a:pt x="6" y="93"/>
                  </a:lnTo>
                  <a:lnTo>
                    <a:pt x="6" y="93"/>
                  </a:lnTo>
                  <a:lnTo>
                    <a:pt x="6" y="91"/>
                  </a:lnTo>
                  <a:lnTo>
                    <a:pt x="6" y="91"/>
                  </a:lnTo>
                  <a:lnTo>
                    <a:pt x="6" y="89"/>
                  </a:lnTo>
                  <a:lnTo>
                    <a:pt x="8" y="89"/>
                  </a:lnTo>
                  <a:lnTo>
                    <a:pt x="8" y="89"/>
                  </a:lnTo>
                  <a:lnTo>
                    <a:pt x="8" y="89"/>
                  </a:lnTo>
                  <a:lnTo>
                    <a:pt x="8" y="89"/>
                  </a:lnTo>
                  <a:lnTo>
                    <a:pt x="8" y="87"/>
                  </a:lnTo>
                  <a:lnTo>
                    <a:pt x="8" y="85"/>
                  </a:lnTo>
                  <a:lnTo>
                    <a:pt x="8" y="82"/>
                  </a:lnTo>
                  <a:lnTo>
                    <a:pt x="8" y="82"/>
                  </a:lnTo>
                  <a:lnTo>
                    <a:pt x="10" y="80"/>
                  </a:lnTo>
                  <a:lnTo>
                    <a:pt x="10" y="80"/>
                  </a:lnTo>
                  <a:lnTo>
                    <a:pt x="10" y="80"/>
                  </a:lnTo>
                  <a:lnTo>
                    <a:pt x="10" y="78"/>
                  </a:lnTo>
                  <a:lnTo>
                    <a:pt x="10" y="76"/>
                  </a:lnTo>
                  <a:lnTo>
                    <a:pt x="10" y="76"/>
                  </a:lnTo>
                  <a:lnTo>
                    <a:pt x="10" y="76"/>
                  </a:lnTo>
                  <a:lnTo>
                    <a:pt x="10" y="76"/>
                  </a:lnTo>
                  <a:lnTo>
                    <a:pt x="10" y="74"/>
                  </a:lnTo>
                  <a:lnTo>
                    <a:pt x="12" y="74"/>
                  </a:lnTo>
                  <a:lnTo>
                    <a:pt x="10" y="74"/>
                  </a:lnTo>
                  <a:lnTo>
                    <a:pt x="10" y="72"/>
                  </a:lnTo>
                  <a:lnTo>
                    <a:pt x="10" y="72"/>
                  </a:lnTo>
                  <a:lnTo>
                    <a:pt x="10" y="72"/>
                  </a:lnTo>
                  <a:lnTo>
                    <a:pt x="10" y="72"/>
                  </a:lnTo>
                  <a:lnTo>
                    <a:pt x="10" y="70"/>
                  </a:lnTo>
                  <a:lnTo>
                    <a:pt x="12" y="68"/>
                  </a:lnTo>
                  <a:lnTo>
                    <a:pt x="14" y="68"/>
                  </a:lnTo>
                  <a:lnTo>
                    <a:pt x="14" y="68"/>
                  </a:lnTo>
                  <a:lnTo>
                    <a:pt x="14" y="62"/>
                  </a:lnTo>
                  <a:lnTo>
                    <a:pt x="14" y="62"/>
                  </a:lnTo>
                  <a:lnTo>
                    <a:pt x="14" y="62"/>
                  </a:lnTo>
                  <a:lnTo>
                    <a:pt x="14" y="60"/>
                  </a:lnTo>
                  <a:lnTo>
                    <a:pt x="14" y="60"/>
                  </a:lnTo>
                  <a:lnTo>
                    <a:pt x="12" y="56"/>
                  </a:lnTo>
                  <a:lnTo>
                    <a:pt x="12" y="54"/>
                  </a:lnTo>
                  <a:lnTo>
                    <a:pt x="12" y="54"/>
                  </a:lnTo>
                  <a:lnTo>
                    <a:pt x="12" y="54"/>
                  </a:lnTo>
                  <a:lnTo>
                    <a:pt x="12" y="52"/>
                  </a:lnTo>
                  <a:lnTo>
                    <a:pt x="10" y="52"/>
                  </a:lnTo>
                  <a:lnTo>
                    <a:pt x="10" y="54"/>
                  </a:lnTo>
                  <a:lnTo>
                    <a:pt x="10" y="54"/>
                  </a:lnTo>
                  <a:lnTo>
                    <a:pt x="8" y="52"/>
                  </a:lnTo>
                  <a:lnTo>
                    <a:pt x="6" y="52"/>
                  </a:lnTo>
                  <a:lnTo>
                    <a:pt x="6" y="52"/>
                  </a:lnTo>
                  <a:lnTo>
                    <a:pt x="6" y="52"/>
                  </a:lnTo>
                  <a:lnTo>
                    <a:pt x="4" y="52"/>
                  </a:lnTo>
                  <a:lnTo>
                    <a:pt x="4" y="52"/>
                  </a:lnTo>
                  <a:lnTo>
                    <a:pt x="4" y="52"/>
                  </a:lnTo>
                  <a:lnTo>
                    <a:pt x="4" y="50"/>
                  </a:lnTo>
                  <a:lnTo>
                    <a:pt x="6" y="50"/>
                  </a:lnTo>
                  <a:lnTo>
                    <a:pt x="6" y="50"/>
                  </a:lnTo>
                  <a:lnTo>
                    <a:pt x="6" y="50"/>
                  </a:lnTo>
                  <a:lnTo>
                    <a:pt x="6" y="48"/>
                  </a:lnTo>
                  <a:lnTo>
                    <a:pt x="4" y="48"/>
                  </a:lnTo>
                  <a:lnTo>
                    <a:pt x="4" y="48"/>
                  </a:lnTo>
                  <a:lnTo>
                    <a:pt x="4" y="46"/>
                  </a:lnTo>
                  <a:lnTo>
                    <a:pt x="4" y="46"/>
                  </a:lnTo>
                  <a:lnTo>
                    <a:pt x="4" y="46"/>
                  </a:lnTo>
                  <a:lnTo>
                    <a:pt x="6" y="46"/>
                  </a:lnTo>
                  <a:lnTo>
                    <a:pt x="6" y="46"/>
                  </a:lnTo>
                  <a:lnTo>
                    <a:pt x="6" y="46"/>
                  </a:lnTo>
                  <a:lnTo>
                    <a:pt x="6" y="46"/>
                  </a:lnTo>
                  <a:lnTo>
                    <a:pt x="8" y="44"/>
                  </a:lnTo>
                  <a:lnTo>
                    <a:pt x="8" y="41"/>
                  </a:lnTo>
                  <a:lnTo>
                    <a:pt x="8" y="35"/>
                  </a:lnTo>
                  <a:lnTo>
                    <a:pt x="6" y="35"/>
                  </a:lnTo>
                  <a:lnTo>
                    <a:pt x="6" y="35"/>
                  </a:lnTo>
                  <a:lnTo>
                    <a:pt x="6" y="33"/>
                  </a:lnTo>
                  <a:lnTo>
                    <a:pt x="4" y="33"/>
                  </a:lnTo>
                  <a:lnTo>
                    <a:pt x="4" y="31"/>
                  </a:lnTo>
                  <a:lnTo>
                    <a:pt x="2" y="31"/>
                  </a:lnTo>
                  <a:lnTo>
                    <a:pt x="2" y="29"/>
                  </a:lnTo>
                  <a:lnTo>
                    <a:pt x="2" y="29"/>
                  </a:lnTo>
                  <a:lnTo>
                    <a:pt x="2" y="27"/>
                  </a:lnTo>
                  <a:lnTo>
                    <a:pt x="2" y="27"/>
                  </a:lnTo>
                  <a:lnTo>
                    <a:pt x="2" y="25"/>
                  </a:lnTo>
                  <a:lnTo>
                    <a:pt x="2" y="25"/>
                  </a:lnTo>
                  <a:lnTo>
                    <a:pt x="2" y="25"/>
                  </a:lnTo>
                  <a:lnTo>
                    <a:pt x="2" y="23"/>
                  </a:lnTo>
                  <a:lnTo>
                    <a:pt x="2" y="23"/>
                  </a:lnTo>
                  <a:lnTo>
                    <a:pt x="14" y="23"/>
                  </a:lnTo>
                  <a:lnTo>
                    <a:pt x="39" y="23"/>
                  </a:lnTo>
                  <a:lnTo>
                    <a:pt x="65" y="21"/>
                  </a:lnTo>
                  <a:lnTo>
                    <a:pt x="92" y="21"/>
                  </a:lnTo>
                  <a:lnTo>
                    <a:pt x="119" y="19"/>
                  </a:lnTo>
                  <a:lnTo>
                    <a:pt x="143" y="17"/>
                  </a:lnTo>
                  <a:lnTo>
                    <a:pt x="170" y="17"/>
                  </a:lnTo>
                  <a:lnTo>
                    <a:pt x="196" y="15"/>
                  </a:lnTo>
                  <a:lnTo>
                    <a:pt x="223" y="13"/>
                  </a:lnTo>
                  <a:lnTo>
                    <a:pt x="248" y="13"/>
                  </a:lnTo>
                  <a:lnTo>
                    <a:pt x="274" y="11"/>
                  </a:lnTo>
                  <a:lnTo>
                    <a:pt x="301" y="9"/>
                  </a:lnTo>
                  <a:lnTo>
                    <a:pt x="328" y="7"/>
                  </a:lnTo>
                  <a:lnTo>
                    <a:pt x="352" y="5"/>
                  </a:lnTo>
                  <a:lnTo>
                    <a:pt x="379" y="5"/>
                  </a:lnTo>
                  <a:lnTo>
                    <a:pt x="405" y="3"/>
                  </a:lnTo>
                  <a:lnTo>
                    <a:pt x="432" y="0"/>
                  </a:lnTo>
                  <a:lnTo>
                    <a:pt x="432" y="0"/>
                  </a:lnTo>
                  <a:lnTo>
                    <a:pt x="432" y="0"/>
                  </a:lnTo>
                  <a:lnTo>
                    <a:pt x="432" y="3"/>
                  </a:lnTo>
                  <a:lnTo>
                    <a:pt x="432" y="5"/>
                  </a:lnTo>
                  <a:lnTo>
                    <a:pt x="432" y="5"/>
                  </a:lnTo>
                  <a:lnTo>
                    <a:pt x="434" y="7"/>
                  </a:lnTo>
                  <a:lnTo>
                    <a:pt x="434" y="9"/>
                  </a:lnTo>
                  <a:lnTo>
                    <a:pt x="434" y="9"/>
                  </a:lnTo>
                  <a:lnTo>
                    <a:pt x="434" y="13"/>
                  </a:lnTo>
                  <a:lnTo>
                    <a:pt x="436" y="13"/>
                  </a:lnTo>
                  <a:lnTo>
                    <a:pt x="436" y="13"/>
                  </a:lnTo>
                  <a:lnTo>
                    <a:pt x="444" y="15"/>
                  </a:lnTo>
                  <a:lnTo>
                    <a:pt x="446" y="17"/>
                  </a:lnTo>
                  <a:lnTo>
                    <a:pt x="446" y="21"/>
                  </a:lnTo>
                  <a:lnTo>
                    <a:pt x="444" y="25"/>
                  </a:lnTo>
                  <a:lnTo>
                    <a:pt x="442" y="31"/>
                  </a:lnTo>
                  <a:lnTo>
                    <a:pt x="440" y="35"/>
                  </a:lnTo>
                  <a:lnTo>
                    <a:pt x="442" y="41"/>
                  </a:lnTo>
                  <a:lnTo>
                    <a:pt x="442" y="46"/>
                  </a:lnTo>
                  <a:lnTo>
                    <a:pt x="442" y="50"/>
                  </a:lnTo>
                  <a:lnTo>
                    <a:pt x="442" y="52"/>
                  </a:lnTo>
                  <a:lnTo>
                    <a:pt x="444" y="52"/>
                  </a:lnTo>
                  <a:lnTo>
                    <a:pt x="444" y="58"/>
                  </a:lnTo>
                  <a:lnTo>
                    <a:pt x="444" y="60"/>
                  </a:lnTo>
                  <a:lnTo>
                    <a:pt x="446" y="60"/>
                  </a:lnTo>
                  <a:lnTo>
                    <a:pt x="448" y="64"/>
                  </a:lnTo>
                  <a:lnTo>
                    <a:pt x="448" y="64"/>
                  </a:lnTo>
                  <a:lnTo>
                    <a:pt x="450" y="66"/>
                  </a:lnTo>
                  <a:lnTo>
                    <a:pt x="450" y="72"/>
                  </a:lnTo>
                  <a:lnTo>
                    <a:pt x="450" y="72"/>
                  </a:lnTo>
                  <a:lnTo>
                    <a:pt x="454" y="78"/>
                  </a:lnTo>
                  <a:lnTo>
                    <a:pt x="454" y="80"/>
                  </a:lnTo>
                  <a:lnTo>
                    <a:pt x="457" y="80"/>
                  </a:lnTo>
                  <a:lnTo>
                    <a:pt x="461" y="82"/>
                  </a:lnTo>
                  <a:lnTo>
                    <a:pt x="475" y="82"/>
                  </a:lnTo>
                  <a:lnTo>
                    <a:pt x="479" y="85"/>
                  </a:lnTo>
                  <a:lnTo>
                    <a:pt x="481" y="85"/>
                  </a:lnTo>
                  <a:lnTo>
                    <a:pt x="483" y="85"/>
                  </a:lnTo>
                  <a:lnTo>
                    <a:pt x="483" y="87"/>
                  </a:lnTo>
                  <a:lnTo>
                    <a:pt x="485" y="91"/>
                  </a:lnTo>
                  <a:lnTo>
                    <a:pt x="487" y="93"/>
                  </a:lnTo>
                  <a:lnTo>
                    <a:pt x="489" y="95"/>
                  </a:lnTo>
                  <a:lnTo>
                    <a:pt x="489" y="97"/>
                  </a:lnTo>
                  <a:lnTo>
                    <a:pt x="489" y="97"/>
                  </a:lnTo>
                  <a:lnTo>
                    <a:pt x="489" y="99"/>
                  </a:lnTo>
                  <a:lnTo>
                    <a:pt x="489" y="99"/>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IA</a:t>
              </a:r>
            </a:p>
          </p:txBody>
        </p:sp>
        <p:sp>
          <p:nvSpPr>
            <p:cNvPr id="103" name="Freeform 44">
              <a:extLst>
                <a:ext uri="{FF2B5EF4-FFF2-40B4-BE49-F238E27FC236}">
                  <a16:creationId xmlns:a16="http://schemas.microsoft.com/office/drawing/2014/main" id="{F8CB8FFE-52E3-EE65-80BD-CAE45778701A}"/>
                </a:ext>
              </a:extLst>
            </p:cNvPr>
            <p:cNvSpPr>
              <a:spLocks noEditPoints="1"/>
            </p:cNvSpPr>
            <p:nvPr/>
          </p:nvSpPr>
          <p:spPr bwMode="auto">
            <a:xfrm>
              <a:off x="3435" y="2477"/>
              <a:ext cx="645" cy="391"/>
            </a:xfrm>
            <a:custGeom>
              <a:avLst/>
              <a:gdLst>
                <a:gd name="T0" fmla="*/ 485 w 645"/>
                <a:gd name="T1" fmla="*/ 161 h 391"/>
                <a:gd name="T2" fmla="*/ 471 w 645"/>
                <a:gd name="T3" fmla="*/ 153 h 391"/>
                <a:gd name="T4" fmla="*/ 457 w 645"/>
                <a:gd name="T5" fmla="*/ 155 h 391"/>
                <a:gd name="T6" fmla="*/ 438 w 645"/>
                <a:gd name="T7" fmla="*/ 147 h 391"/>
                <a:gd name="T8" fmla="*/ 426 w 645"/>
                <a:gd name="T9" fmla="*/ 143 h 391"/>
                <a:gd name="T10" fmla="*/ 426 w 645"/>
                <a:gd name="T11" fmla="*/ 168 h 391"/>
                <a:gd name="T12" fmla="*/ 440 w 645"/>
                <a:gd name="T13" fmla="*/ 170 h 391"/>
                <a:gd name="T14" fmla="*/ 448 w 645"/>
                <a:gd name="T15" fmla="*/ 190 h 391"/>
                <a:gd name="T16" fmla="*/ 469 w 645"/>
                <a:gd name="T17" fmla="*/ 194 h 391"/>
                <a:gd name="T18" fmla="*/ 502 w 645"/>
                <a:gd name="T19" fmla="*/ 180 h 391"/>
                <a:gd name="T20" fmla="*/ 422 w 645"/>
                <a:gd name="T21" fmla="*/ 204 h 391"/>
                <a:gd name="T22" fmla="*/ 635 w 645"/>
                <a:gd name="T23" fmla="*/ 313 h 391"/>
                <a:gd name="T24" fmla="*/ 612 w 645"/>
                <a:gd name="T25" fmla="*/ 295 h 391"/>
                <a:gd name="T26" fmla="*/ 561 w 645"/>
                <a:gd name="T27" fmla="*/ 252 h 391"/>
                <a:gd name="T28" fmla="*/ 545 w 645"/>
                <a:gd name="T29" fmla="*/ 245 h 391"/>
                <a:gd name="T30" fmla="*/ 522 w 645"/>
                <a:gd name="T31" fmla="*/ 233 h 391"/>
                <a:gd name="T32" fmla="*/ 524 w 645"/>
                <a:gd name="T33" fmla="*/ 262 h 391"/>
                <a:gd name="T34" fmla="*/ 504 w 645"/>
                <a:gd name="T35" fmla="*/ 284 h 391"/>
                <a:gd name="T36" fmla="*/ 506 w 645"/>
                <a:gd name="T37" fmla="*/ 309 h 391"/>
                <a:gd name="T38" fmla="*/ 512 w 645"/>
                <a:gd name="T39" fmla="*/ 325 h 391"/>
                <a:gd name="T40" fmla="*/ 514 w 645"/>
                <a:gd name="T41" fmla="*/ 370 h 391"/>
                <a:gd name="T42" fmla="*/ 526 w 645"/>
                <a:gd name="T43" fmla="*/ 381 h 391"/>
                <a:gd name="T44" fmla="*/ 547 w 645"/>
                <a:gd name="T45" fmla="*/ 387 h 391"/>
                <a:gd name="T46" fmla="*/ 575 w 645"/>
                <a:gd name="T47" fmla="*/ 358 h 391"/>
                <a:gd name="T48" fmla="*/ 608 w 645"/>
                <a:gd name="T49" fmla="*/ 348 h 391"/>
                <a:gd name="T50" fmla="*/ 643 w 645"/>
                <a:gd name="T51" fmla="*/ 323 h 391"/>
                <a:gd name="T52" fmla="*/ 410 w 645"/>
                <a:gd name="T53" fmla="*/ 127 h 391"/>
                <a:gd name="T54" fmla="*/ 389 w 645"/>
                <a:gd name="T55" fmla="*/ 123 h 391"/>
                <a:gd name="T56" fmla="*/ 362 w 645"/>
                <a:gd name="T57" fmla="*/ 123 h 391"/>
                <a:gd name="T58" fmla="*/ 354 w 645"/>
                <a:gd name="T59" fmla="*/ 123 h 391"/>
                <a:gd name="T60" fmla="*/ 354 w 645"/>
                <a:gd name="T61" fmla="*/ 137 h 391"/>
                <a:gd name="T62" fmla="*/ 403 w 645"/>
                <a:gd name="T63" fmla="*/ 139 h 391"/>
                <a:gd name="T64" fmla="*/ 111 w 645"/>
                <a:gd name="T65" fmla="*/ 8 h 391"/>
                <a:gd name="T66" fmla="*/ 98 w 645"/>
                <a:gd name="T67" fmla="*/ 2 h 391"/>
                <a:gd name="T68" fmla="*/ 72 w 645"/>
                <a:gd name="T69" fmla="*/ 6 h 391"/>
                <a:gd name="T70" fmla="*/ 53 w 645"/>
                <a:gd name="T71" fmla="*/ 22 h 391"/>
                <a:gd name="T72" fmla="*/ 68 w 645"/>
                <a:gd name="T73" fmla="*/ 34 h 391"/>
                <a:gd name="T74" fmla="*/ 94 w 645"/>
                <a:gd name="T75" fmla="*/ 45 h 391"/>
                <a:gd name="T76" fmla="*/ 108 w 645"/>
                <a:gd name="T77" fmla="*/ 26 h 391"/>
                <a:gd name="T78" fmla="*/ 12 w 645"/>
                <a:gd name="T79" fmla="*/ 32 h 391"/>
                <a:gd name="T80" fmla="*/ 4 w 645"/>
                <a:gd name="T81" fmla="*/ 53 h 391"/>
                <a:gd name="T82" fmla="*/ 16 w 645"/>
                <a:gd name="T83" fmla="*/ 41 h 391"/>
                <a:gd name="T84" fmla="*/ 301 w 645"/>
                <a:gd name="T85" fmla="*/ 104 h 391"/>
                <a:gd name="T86" fmla="*/ 293 w 645"/>
                <a:gd name="T87" fmla="*/ 92 h 391"/>
                <a:gd name="T88" fmla="*/ 285 w 645"/>
                <a:gd name="T89" fmla="*/ 90 h 391"/>
                <a:gd name="T90" fmla="*/ 278 w 645"/>
                <a:gd name="T91" fmla="*/ 75 h 391"/>
                <a:gd name="T92" fmla="*/ 268 w 645"/>
                <a:gd name="T93" fmla="*/ 63 h 391"/>
                <a:gd name="T94" fmla="*/ 252 w 645"/>
                <a:gd name="T95" fmla="*/ 75 h 391"/>
                <a:gd name="T96" fmla="*/ 233 w 645"/>
                <a:gd name="T97" fmla="*/ 79 h 391"/>
                <a:gd name="T98" fmla="*/ 246 w 645"/>
                <a:gd name="T99" fmla="*/ 100 h 391"/>
                <a:gd name="T100" fmla="*/ 256 w 645"/>
                <a:gd name="T101" fmla="*/ 112 h 391"/>
                <a:gd name="T102" fmla="*/ 264 w 645"/>
                <a:gd name="T103" fmla="*/ 102 h 391"/>
                <a:gd name="T104" fmla="*/ 272 w 645"/>
                <a:gd name="T105" fmla="*/ 102 h 391"/>
                <a:gd name="T106" fmla="*/ 278 w 645"/>
                <a:gd name="T107" fmla="*/ 108 h 391"/>
                <a:gd name="T108" fmla="*/ 293 w 645"/>
                <a:gd name="T109" fmla="*/ 114 h 391"/>
                <a:gd name="T110" fmla="*/ 401 w 645"/>
                <a:gd name="T111" fmla="*/ 161 h 391"/>
                <a:gd name="T112" fmla="*/ 385 w 645"/>
                <a:gd name="T113" fmla="*/ 170 h 391"/>
                <a:gd name="T114" fmla="*/ 407 w 645"/>
                <a:gd name="T115" fmla="*/ 166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5" h="391">
                  <a:moveTo>
                    <a:pt x="502" y="180"/>
                  </a:moveTo>
                  <a:lnTo>
                    <a:pt x="504" y="174"/>
                  </a:lnTo>
                  <a:lnTo>
                    <a:pt x="502" y="170"/>
                  </a:lnTo>
                  <a:lnTo>
                    <a:pt x="496" y="168"/>
                  </a:lnTo>
                  <a:lnTo>
                    <a:pt x="494" y="166"/>
                  </a:lnTo>
                  <a:lnTo>
                    <a:pt x="487" y="166"/>
                  </a:lnTo>
                  <a:lnTo>
                    <a:pt x="487" y="164"/>
                  </a:lnTo>
                  <a:lnTo>
                    <a:pt x="485" y="161"/>
                  </a:lnTo>
                  <a:lnTo>
                    <a:pt x="485" y="161"/>
                  </a:lnTo>
                  <a:lnTo>
                    <a:pt x="481" y="159"/>
                  </a:lnTo>
                  <a:lnTo>
                    <a:pt x="479" y="159"/>
                  </a:lnTo>
                  <a:lnTo>
                    <a:pt x="477" y="157"/>
                  </a:lnTo>
                  <a:lnTo>
                    <a:pt x="477" y="157"/>
                  </a:lnTo>
                  <a:lnTo>
                    <a:pt x="475" y="155"/>
                  </a:lnTo>
                  <a:lnTo>
                    <a:pt x="473" y="153"/>
                  </a:lnTo>
                  <a:lnTo>
                    <a:pt x="471" y="155"/>
                  </a:lnTo>
                  <a:lnTo>
                    <a:pt x="471" y="153"/>
                  </a:lnTo>
                  <a:lnTo>
                    <a:pt x="471" y="153"/>
                  </a:lnTo>
                  <a:lnTo>
                    <a:pt x="471" y="153"/>
                  </a:lnTo>
                  <a:lnTo>
                    <a:pt x="471" y="153"/>
                  </a:lnTo>
                  <a:lnTo>
                    <a:pt x="469" y="153"/>
                  </a:lnTo>
                  <a:lnTo>
                    <a:pt x="467" y="153"/>
                  </a:lnTo>
                  <a:lnTo>
                    <a:pt x="465" y="153"/>
                  </a:lnTo>
                  <a:lnTo>
                    <a:pt x="463" y="153"/>
                  </a:lnTo>
                  <a:lnTo>
                    <a:pt x="461" y="153"/>
                  </a:lnTo>
                  <a:lnTo>
                    <a:pt x="457" y="155"/>
                  </a:lnTo>
                  <a:lnTo>
                    <a:pt x="457" y="155"/>
                  </a:lnTo>
                  <a:lnTo>
                    <a:pt x="453" y="157"/>
                  </a:lnTo>
                  <a:lnTo>
                    <a:pt x="451" y="157"/>
                  </a:lnTo>
                  <a:lnTo>
                    <a:pt x="448" y="157"/>
                  </a:lnTo>
                  <a:lnTo>
                    <a:pt x="446" y="157"/>
                  </a:lnTo>
                  <a:lnTo>
                    <a:pt x="446" y="159"/>
                  </a:lnTo>
                  <a:lnTo>
                    <a:pt x="444" y="157"/>
                  </a:lnTo>
                  <a:lnTo>
                    <a:pt x="440" y="149"/>
                  </a:lnTo>
                  <a:lnTo>
                    <a:pt x="440" y="149"/>
                  </a:lnTo>
                  <a:lnTo>
                    <a:pt x="438" y="147"/>
                  </a:lnTo>
                  <a:lnTo>
                    <a:pt x="434" y="143"/>
                  </a:lnTo>
                  <a:lnTo>
                    <a:pt x="432" y="143"/>
                  </a:lnTo>
                  <a:lnTo>
                    <a:pt x="432" y="141"/>
                  </a:lnTo>
                  <a:lnTo>
                    <a:pt x="430" y="141"/>
                  </a:lnTo>
                  <a:lnTo>
                    <a:pt x="430" y="141"/>
                  </a:lnTo>
                  <a:lnTo>
                    <a:pt x="430" y="143"/>
                  </a:lnTo>
                  <a:lnTo>
                    <a:pt x="428" y="143"/>
                  </a:lnTo>
                  <a:lnTo>
                    <a:pt x="428" y="143"/>
                  </a:lnTo>
                  <a:lnTo>
                    <a:pt x="426" y="143"/>
                  </a:lnTo>
                  <a:lnTo>
                    <a:pt x="426" y="143"/>
                  </a:lnTo>
                  <a:lnTo>
                    <a:pt x="426" y="145"/>
                  </a:lnTo>
                  <a:lnTo>
                    <a:pt x="426" y="145"/>
                  </a:lnTo>
                  <a:lnTo>
                    <a:pt x="426" y="145"/>
                  </a:lnTo>
                  <a:lnTo>
                    <a:pt x="424" y="145"/>
                  </a:lnTo>
                  <a:lnTo>
                    <a:pt x="424" y="145"/>
                  </a:lnTo>
                  <a:lnTo>
                    <a:pt x="422" y="147"/>
                  </a:lnTo>
                  <a:lnTo>
                    <a:pt x="418" y="155"/>
                  </a:lnTo>
                  <a:lnTo>
                    <a:pt x="426" y="168"/>
                  </a:lnTo>
                  <a:lnTo>
                    <a:pt x="426" y="168"/>
                  </a:lnTo>
                  <a:lnTo>
                    <a:pt x="428" y="168"/>
                  </a:lnTo>
                  <a:lnTo>
                    <a:pt x="430" y="168"/>
                  </a:lnTo>
                  <a:lnTo>
                    <a:pt x="432" y="170"/>
                  </a:lnTo>
                  <a:lnTo>
                    <a:pt x="436" y="172"/>
                  </a:lnTo>
                  <a:lnTo>
                    <a:pt x="438" y="172"/>
                  </a:lnTo>
                  <a:lnTo>
                    <a:pt x="438" y="172"/>
                  </a:lnTo>
                  <a:lnTo>
                    <a:pt x="440" y="172"/>
                  </a:lnTo>
                  <a:lnTo>
                    <a:pt x="440" y="170"/>
                  </a:lnTo>
                  <a:lnTo>
                    <a:pt x="444" y="170"/>
                  </a:lnTo>
                  <a:lnTo>
                    <a:pt x="444" y="172"/>
                  </a:lnTo>
                  <a:lnTo>
                    <a:pt x="446" y="172"/>
                  </a:lnTo>
                  <a:lnTo>
                    <a:pt x="446" y="174"/>
                  </a:lnTo>
                  <a:lnTo>
                    <a:pt x="446" y="176"/>
                  </a:lnTo>
                  <a:lnTo>
                    <a:pt x="446" y="176"/>
                  </a:lnTo>
                  <a:lnTo>
                    <a:pt x="448" y="178"/>
                  </a:lnTo>
                  <a:lnTo>
                    <a:pt x="448" y="180"/>
                  </a:lnTo>
                  <a:lnTo>
                    <a:pt x="448" y="190"/>
                  </a:lnTo>
                  <a:lnTo>
                    <a:pt x="451" y="194"/>
                  </a:lnTo>
                  <a:lnTo>
                    <a:pt x="453" y="196"/>
                  </a:lnTo>
                  <a:lnTo>
                    <a:pt x="459" y="196"/>
                  </a:lnTo>
                  <a:lnTo>
                    <a:pt x="461" y="194"/>
                  </a:lnTo>
                  <a:lnTo>
                    <a:pt x="463" y="194"/>
                  </a:lnTo>
                  <a:lnTo>
                    <a:pt x="463" y="194"/>
                  </a:lnTo>
                  <a:lnTo>
                    <a:pt x="463" y="194"/>
                  </a:lnTo>
                  <a:lnTo>
                    <a:pt x="465" y="194"/>
                  </a:lnTo>
                  <a:lnTo>
                    <a:pt x="469" y="194"/>
                  </a:lnTo>
                  <a:lnTo>
                    <a:pt x="475" y="190"/>
                  </a:lnTo>
                  <a:lnTo>
                    <a:pt x="477" y="190"/>
                  </a:lnTo>
                  <a:lnTo>
                    <a:pt x="481" y="190"/>
                  </a:lnTo>
                  <a:lnTo>
                    <a:pt x="483" y="190"/>
                  </a:lnTo>
                  <a:lnTo>
                    <a:pt x="485" y="190"/>
                  </a:lnTo>
                  <a:lnTo>
                    <a:pt x="487" y="190"/>
                  </a:lnTo>
                  <a:lnTo>
                    <a:pt x="496" y="186"/>
                  </a:lnTo>
                  <a:lnTo>
                    <a:pt x="500" y="184"/>
                  </a:lnTo>
                  <a:lnTo>
                    <a:pt x="502" y="180"/>
                  </a:lnTo>
                  <a:close/>
                  <a:moveTo>
                    <a:pt x="436" y="194"/>
                  </a:moveTo>
                  <a:lnTo>
                    <a:pt x="434" y="192"/>
                  </a:lnTo>
                  <a:lnTo>
                    <a:pt x="432" y="194"/>
                  </a:lnTo>
                  <a:lnTo>
                    <a:pt x="430" y="194"/>
                  </a:lnTo>
                  <a:lnTo>
                    <a:pt x="426" y="196"/>
                  </a:lnTo>
                  <a:lnTo>
                    <a:pt x="422" y="198"/>
                  </a:lnTo>
                  <a:lnTo>
                    <a:pt x="420" y="200"/>
                  </a:lnTo>
                  <a:lnTo>
                    <a:pt x="420" y="202"/>
                  </a:lnTo>
                  <a:lnTo>
                    <a:pt x="422" y="204"/>
                  </a:lnTo>
                  <a:lnTo>
                    <a:pt x="424" y="204"/>
                  </a:lnTo>
                  <a:lnTo>
                    <a:pt x="428" y="202"/>
                  </a:lnTo>
                  <a:lnTo>
                    <a:pt x="428" y="202"/>
                  </a:lnTo>
                  <a:lnTo>
                    <a:pt x="434" y="202"/>
                  </a:lnTo>
                  <a:lnTo>
                    <a:pt x="436" y="202"/>
                  </a:lnTo>
                  <a:lnTo>
                    <a:pt x="438" y="200"/>
                  </a:lnTo>
                  <a:lnTo>
                    <a:pt x="436" y="200"/>
                  </a:lnTo>
                  <a:lnTo>
                    <a:pt x="436" y="194"/>
                  </a:lnTo>
                  <a:close/>
                  <a:moveTo>
                    <a:pt x="635" y="313"/>
                  </a:moveTo>
                  <a:lnTo>
                    <a:pt x="629" y="311"/>
                  </a:lnTo>
                  <a:lnTo>
                    <a:pt x="625" y="307"/>
                  </a:lnTo>
                  <a:lnTo>
                    <a:pt x="625" y="305"/>
                  </a:lnTo>
                  <a:lnTo>
                    <a:pt x="623" y="299"/>
                  </a:lnTo>
                  <a:lnTo>
                    <a:pt x="623" y="297"/>
                  </a:lnTo>
                  <a:lnTo>
                    <a:pt x="620" y="295"/>
                  </a:lnTo>
                  <a:lnTo>
                    <a:pt x="618" y="295"/>
                  </a:lnTo>
                  <a:lnTo>
                    <a:pt x="612" y="297"/>
                  </a:lnTo>
                  <a:lnTo>
                    <a:pt x="612" y="295"/>
                  </a:lnTo>
                  <a:lnTo>
                    <a:pt x="610" y="293"/>
                  </a:lnTo>
                  <a:lnTo>
                    <a:pt x="610" y="284"/>
                  </a:lnTo>
                  <a:lnTo>
                    <a:pt x="610" y="280"/>
                  </a:lnTo>
                  <a:lnTo>
                    <a:pt x="610" y="278"/>
                  </a:lnTo>
                  <a:lnTo>
                    <a:pt x="600" y="268"/>
                  </a:lnTo>
                  <a:lnTo>
                    <a:pt x="596" y="266"/>
                  </a:lnTo>
                  <a:lnTo>
                    <a:pt x="580" y="258"/>
                  </a:lnTo>
                  <a:lnTo>
                    <a:pt x="567" y="254"/>
                  </a:lnTo>
                  <a:lnTo>
                    <a:pt x="561" y="252"/>
                  </a:lnTo>
                  <a:lnTo>
                    <a:pt x="557" y="250"/>
                  </a:lnTo>
                  <a:lnTo>
                    <a:pt x="555" y="248"/>
                  </a:lnTo>
                  <a:lnTo>
                    <a:pt x="555" y="250"/>
                  </a:lnTo>
                  <a:lnTo>
                    <a:pt x="553" y="250"/>
                  </a:lnTo>
                  <a:lnTo>
                    <a:pt x="551" y="250"/>
                  </a:lnTo>
                  <a:lnTo>
                    <a:pt x="551" y="250"/>
                  </a:lnTo>
                  <a:lnTo>
                    <a:pt x="549" y="248"/>
                  </a:lnTo>
                  <a:lnTo>
                    <a:pt x="547" y="248"/>
                  </a:lnTo>
                  <a:lnTo>
                    <a:pt x="545" y="245"/>
                  </a:lnTo>
                  <a:lnTo>
                    <a:pt x="543" y="243"/>
                  </a:lnTo>
                  <a:lnTo>
                    <a:pt x="534" y="241"/>
                  </a:lnTo>
                  <a:lnTo>
                    <a:pt x="534" y="239"/>
                  </a:lnTo>
                  <a:lnTo>
                    <a:pt x="534" y="239"/>
                  </a:lnTo>
                  <a:lnTo>
                    <a:pt x="534" y="237"/>
                  </a:lnTo>
                  <a:lnTo>
                    <a:pt x="534" y="237"/>
                  </a:lnTo>
                  <a:lnTo>
                    <a:pt x="532" y="237"/>
                  </a:lnTo>
                  <a:lnTo>
                    <a:pt x="530" y="235"/>
                  </a:lnTo>
                  <a:lnTo>
                    <a:pt x="522" y="233"/>
                  </a:lnTo>
                  <a:lnTo>
                    <a:pt x="518" y="233"/>
                  </a:lnTo>
                  <a:lnTo>
                    <a:pt x="516" y="235"/>
                  </a:lnTo>
                  <a:lnTo>
                    <a:pt x="514" y="239"/>
                  </a:lnTo>
                  <a:lnTo>
                    <a:pt x="514" y="243"/>
                  </a:lnTo>
                  <a:lnTo>
                    <a:pt x="514" y="248"/>
                  </a:lnTo>
                  <a:lnTo>
                    <a:pt x="516" y="252"/>
                  </a:lnTo>
                  <a:lnTo>
                    <a:pt x="522" y="260"/>
                  </a:lnTo>
                  <a:lnTo>
                    <a:pt x="524" y="260"/>
                  </a:lnTo>
                  <a:lnTo>
                    <a:pt x="524" y="262"/>
                  </a:lnTo>
                  <a:lnTo>
                    <a:pt x="524" y="264"/>
                  </a:lnTo>
                  <a:lnTo>
                    <a:pt x="524" y="266"/>
                  </a:lnTo>
                  <a:lnTo>
                    <a:pt x="520" y="268"/>
                  </a:lnTo>
                  <a:lnTo>
                    <a:pt x="518" y="268"/>
                  </a:lnTo>
                  <a:lnTo>
                    <a:pt x="514" y="276"/>
                  </a:lnTo>
                  <a:lnTo>
                    <a:pt x="514" y="276"/>
                  </a:lnTo>
                  <a:lnTo>
                    <a:pt x="510" y="280"/>
                  </a:lnTo>
                  <a:lnTo>
                    <a:pt x="506" y="282"/>
                  </a:lnTo>
                  <a:lnTo>
                    <a:pt x="504" y="284"/>
                  </a:lnTo>
                  <a:lnTo>
                    <a:pt x="504" y="286"/>
                  </a:lnTo>
                  <a:lnTo>
                    <a:pt x="502" y="286"/>
                  </a:lnTo>
                  <a:lnTo>
                    <a:pt x="500" y="289"/>
                  </a:lnTo>
                  <a:lnTo>
                    <a:pt x="498" y="291"/>
                  </a:lnTo>
                  <a:lnTo>
                    <a:pt x="496" y="295"/>
                  </a:lnTo>
                  <a:lnTo>
                    <a:pt x="498" y="299"/>
                  </a:lnTo>
                  <a:lnTo>
                    <a:pt x="500" y="303"/>
                  </a:lnTo>
                  <a:lnTo>
                    <a:pt x="502" y="305"/>
                  </a:lnTo>
                  <a:lnTo>
                    <a:pt x="506" y="309"/>
                  </a:lnTo>
                  <a:lnTo>
                    <a:pt x="506" y="313"/>
                  </a:lnTo>
                  <a:lnTo>
                    <a:pt x="506" y="315"/>
                  </a:lnTo>
                  <a:lnTo>
                    <a:pt x="508" y="317"/>
                  </a:lnTo>
                  <a:lnTo>
                    <a:pt x="508" y="319"/>
                  </a:lnTo>
                  <a:lnTo>
                    <a:pt x="508" y="321"/>
                  </a:lnTo>
                  <a:lnTo>
                    <a:pt x="510" y="325"/>
                  </a:lnTo>
                  <a:lnTo>
                    <a:pt x="510" y="325"/>
                  </a:lnTo>
                  <a:lnTo>
                    <a:pt x="512" y="325"/>
                  </a:lnTo>
                  <a:lnTo>
                    <a:pt x="512" y="325"/>
                  </a:lnTo>
                  <a:lnTo>
                    <a:pt x="512" y="325"/>
                  </a:lnTo>
                  <a:lnTo>
                    <a:pt x="512" y="327"/>
                  </a:lnTo>
                  <a:lnTo>
                    <a:pt x="512" y="327"/>
                  </a:lnTo>
                  <a:lnTo>
                    <a:pt x="514" y="338"/>
                  </a:lnTo>
                  <a:lnTo>
                    <a:pt x="516" y="340"/>
                  </a:lnTo>
                  <a:lnTo>
                    <a:pt x="516" y="342"/>
                  </a:lnTo>
                  <a:lnTo>
                    <a:pt x="516" y="342"/>
                  </a:lnTo>
                  <a:lnTo>
                    <a:pt x="514" y="362"/>
                  </a:lnTo>
                  <a:lnTo>
                    <a:pt x="514" y="370"/>
                  </a:lnTo>
                  <a:lnTo>
                    <a:pt x="514" y="375"/>
                  </a:lnTo>
                  <a:lnTo>
                    <a:pt x="516" y="375"/>
                  </a:lnTo>
                  <a:lnTo>
                    <a:pt x="516" y="375"/>
                  </a:lnTo>
                  <a:lnTo>
                    <a:pt x="516" y="377"/>
                  </a:lnTo>
                  <a:lnTo>
                    <a:pt x="518" y="379"/>
                  </a:lnTo>
                  <a:lnTo>
                    <a:pt x="518" y="379"/>
                  </a:lnTo>
                  <a:lnTo>
                    <a:pt x="518" y="381"/>
                  </a:lnTo>
                  <a:lnTo>
                    <a:pt x="522" y="379"/>
                  </a:lnTo>
                  <a:lnTo>
                    <a:pt x="526" y="381"/>
                  </a:lnTo>
                  <a:lnTo>
                    <a:pt x="532" y="383"/>
                  </a:lnTo>
                  <a:lnTo>
                    <a:pt x="537" y="385"/>
                  </a:lnTo>
                  <a:lnTo>
                    <a:pt x="539" y="387"/>
                  </a:lnTo>
                  <a:lnTo>
                    <a:pt x="541" y="391"/>
                  </a:lnTo>
                  <a:lnTo>
                    <a:pt x="541" y="391"/>
                  </a:lnTo>
                  <a:lnTo>
                    <a:pt x="543" y="391"/>
                  </a:lnTo>
                  <a:lnTo>
                    <a:pt x="545" y="389"/>
                  </a:lnTo>
                  <a:lnTo>
                    <a:pt x="547" y="389"/>
                  </a:lnTo>
                  <a:lnTo>
                    <a:pt x="547" y="387"/>
                  </a:lnTo>
                  <a:lnTo>
                    <a:pt x="553" y="381"/>
                  </a:lnTo>
                  <a:lnTo>
                    <a:pt x="555" y="375"/>
                  </a:lnTo>
                  <a:lnTo>
                    <a:pt x="555" y="373"/>
                  </a:lnTo>
                  <a:lnTo>
                    <a:pt x="561" y="366"/>
                  </a:lnTo>
                  <a:lnTo>
                    <a:pt x="563" y="366"/>
                  </a:lnTo>
                  <a:lnTo>
                    <a:pt x="569" y="364"/>
                  </a:lnTo>
                  <a:lnTo>
                    <a:pt x="569" y="362"/>
                  </a:lnTo>
                  <a:lnTo>
                    <a:pt x="573" y="360"/>
                  </a:lnTo>
                  <a:lnTo>
                    <a:pt x="575" y="358"/>
                  </a:lnTo>
                  <a:lnTo>
                    <a:pt x="577" y="358"/>
                  </a:lnTo>
                  <a:lnTo>
                    <a:pt x="577" y="358"/>
                  </a:lnTo>
                  <a:lnTo>
                    <a:pt x="582" y="354"/>
                  </a:lnTo>
                  <a:lnTo>
                    <a:pt x="586" y="352"/>
                  </a:lnTo>
                  <a:lnTo>
                    <a:pt x="586" y="350"/>
                  </a:lnTo>
                  <a:lnTo>
                    <a:pt x="588" y="350"/>
                  </a:lnTo>
                  <a:lnTo>
                    <a:pt x="598" y="350"/>
                  </a:lnTo>
                  <a:lnTo>
                    <a:pt x="600" y="350"/>
                  </a:lnTo>
                  <a:lnTo>
                    <a:pt x="608" y="348"/>
                  </a:lnTo>
                  <a:lnTo>
                    <a:pt x="612" y="346"/>
                  </a:lnTo>
                  <a:lnTo>
                    <a:pt x="614" y="346"/>
                  </a:lnTo>
                  <a:lnTo>
                    <a:pt x="616" y="344"/>
                  </a:lnTo>
                  <a:lnTo>
                    <a:pt x="618" y="344"/>
                  </a:lnTo>
                  <a:lnTo>
                    <a:pt x="631" y="336"/>
                  </a:lnTo>
                  <a:lnTo>
                    <a:pt x="631" y="334"/>
                  </a:lnTo>
                  <a:lnTo>
                    <a:pt x="641" y="329"/>
                  </a:lnTo>
                  <a:lnTo>
                    <a:pt x="641" y="327"/>
                  </a:lnTo>
                  <a:lnTo>
                    <a:pt x="643" y="323"/>
                  </a:lnTo>
                  <a:lnTo>
                    <a:pt x="643" y="321"/>
                  </a:lnTo>
                  <a:lnTo>
                    <a:pt x="645" y="319"/>
                  </a:lnTo>
                  <a:lnTo>
                    <a:pt x="635" y="313"/>
                  </a:lnTo>
                  <a:close/>
                  <a:moveTo>
                    <a:pt x="418" y="127"/>
                  </a:moveTo>
                  <a:lnTo>
                    <a:pt x="414" y="127"/>
                  </a:lnTo>
                  <a:lnTo>
                    <a:pt x="412" y="127"/>
                  </a:lnTo>
                  <a:lnTo>
                    <a:pt x="412" y="127"/>
                  </a:lnTo>
                  <a:lnTo>
                    <a:pt x="410" y="127"/>
                  </a:lnTo>
                  <a:lnTo>
                    <a:pt x="410" y="127"/>
                  </a:lnTo>
                  <a:lnTo>
                    <a:pt x="410" y="127"/>
                  </a:lnTo>
                  <a:lnTo>
                    <a:pt x="407" y="127"/>
                  </a:lnTo>
                  <a:lnTo>
                    <a:pt x="407" y="127"/>
                  </a:lnTo>
                  <a:lnTo>
                    <a:pt x="405" y="127"/>
                  </a:lnTo>
                  <a:lnTo>
                    <a:pt x="405" y="127"/>
                  </a:lnTo>
                  <a:lnTo>
                    <a:pt x="397" y="127"/>
                  </a:lnTo>
                  <a:lnTo>
                    <a:pt x="395" y="127"/>
                  </a:lnTo>
                  <a:lnTo>
                    <a:pt x="393" y="127"/>
                  </a:lnTo>
                  <a:lnTo>
                    <a:pt x="389" y="123"/>
                  </a:lnTo>
                  <a:lnTo>
                    <a:pt x="387" y="123"/>
                  </a:lnTo>
                  <a:lnTo>
                    <a:pt x="387" y="123"/>
                  </a:lnTo>
                  <a:lnTo>
                    <a:pt x="387" y="125"/>
                  </a:lnTo>
                  <a:lnTo>
                    <a:pt x="387" y="125"/>
                  </a:lnTo>
                  <a:lnTo>
                    <a:pt x="385" y="125"/>
                  </a:lnTo>
                  <a:lnTo>
                    <a:pt x="381" y="125"/>
                  </a:lnTo>
                  <a:lnTo>
                    <a:pt x="379" y="123"/>
                  </a:lnTo>
                  <a:lnTo>
                    <a:pt x="362" y="123"/>
                  </a:lnTo>
                  <a:lnTo>
                    <a:pt x="362" y="123"/>
                  </a:lnTo>
                  <a:lnTo>
                    <a:pt x="360" y="120"/>
                  </a:lnTo>
                  <a:lnTo>
                    <a:pt x="358" y="120"/>
                  </a:lnTo>
                  <a:lnTo>
                    <a:pt x="358" y="120"/>
                  </a:lnTo>
                  <a:lnTo>
                    <a:pt x="356" y="120"/>
                  </a:lnTo>
                  <a:lnTo>
                    <a:pt x="356" y="120"/>
                  </a:lnTo>
                  <a:lnTo>
                    <a:pt x="354" y="120"/>
                  </a:lnTo>
                  <a:lnTo>
                    <a:pt x="354" y="120"/>
                  </a:lnTo>
                  <a:lnTo>
                    <a:pt x="354" y="123"/>
                  </a:lnTo>
                  <a:lnTo>
                    <a:pt x="354" y="123"/>
                  </a:lnTo>
                  <a:lnTo>
                    <a:pt x="354" y="125"/>
                  </a:lnTo>
                  <a:lnTo>
                    <a:pt x="350" y="127"/>
                  </a:lnTo>
                  <a:lnTo>
                    <a:pt x="350" y="129"/>
                  </a:lnTo>
                  <a:lnTo>
                    <a:pt x="348" y="131"/>
                  </a:lnTo>
                  <a:lnTo>
                    <a:pt x="348" y="133"/>
                  </a:lnTo>
                  <a:lnTo>
                    <a:pt x="348" y="135"/>
                  </a:lnTo>
                  <a:lnTo>
                    <a:pt x="350" y="135"/>
                  </a:lnTo>
                  <a:lnTo>
                    <a:pt x="352" y="137"/>
                  </a:lnTo>
                  <a:lnTo>
                    <a:pt x="354" y="137"/>
                  </a:lnTo>
                  <a:lnTo>
                    <a:pt x="356" y="135"/>
                  </a:lnTo>
                  <a:lnTo>
                    <a:pt x="358" y="135"/>
                  </a:lnTo>
                  <a:lnTo>
                    <a:pt x="367" y="135"/>
                  </a:lnTo>
                  <a:lnTo>
                    <a:pt x="377" y="135"/>
                  </a:lnTo>
                  <a:lnTo>
                    <a:pt x="379" y="135"/>
                  </a:lnTo>
                  <a:lnTo>
                    <a:pt x="389" y="139"/>
                  </a:lnTo>
                  <a:lnTo>
                    <a:pt x="395" y="141"/>
                  </a:lnTo>
                  <a:lnTo>
                    <a:pt x="399" y="141"/>
                  </a:lnTo>
                  <a:lnTo>
                    <a:pt x="403" y="139"/>
                  </a:lnTo>
                  <a:lnTo>
                    <a:pt x="407" y="139"/>
                  </a:lnTo>
                  <a:lnTo>
                    <a:pt x="414" y="135"/>
                  </a:lnTo>
                  <a:lnTo>
                    <a:pt x="416" y="133"/>
                  </a:lnTo>
                  <a:lnTo>
                    <a:pt x="418" y="127"/>
                  </a:lnTo>
                  <a:lnTo>
                    <a:pt x="418" y="127"/>
                  </a:lnTo>
                  <a:close/>
                  <a:moveTo>
                    <a:pt x="113" y="10"/>
                  </a:moveTo>
                  <a:lnTo>
                    <a:pt x="111" y="10"/>
                  </a:lnTo>
                  <a:lnTo>
                    <a:pt x="111" y="10"/>
                  </a:lnTo>
                  <a:lnTo>
                    <a:pt x="111" y="8"/>
                  </a:lnTo>
                  <a:lnTo>
                    <a:pt x="111" y="6"/>
                  </a:lnTo>
                  <a:lnTo>
                    <a:pt x="108" y="6"/>
                  </a:lnTo>
                  <a:lnTo>
                    <a:pt x="106" y="4"/>
                  </a:lnTo>
                  <a:lnTo>
                    <a:pt x="104" y="2"/>
                  </a:lnTo>
                  <a:lnTo>
                    <a:pt x="102" y="2"/>
                  </a:lnTo>
                  <a:lnTo>
                    <a:pt x="100" y="2"/>
                  </a:lnTo>
                  <a:lnTo>
                    <a:pt x="100" y="0"/>
                  </a:lnTo>
                  <a:lnTo>
                    <a:pt x="98" y="2"/>
                  </a:lnTo>
                  <a:lnTo>
                    <a:pt x="98" y="2"/>
                  </a:lnTo>
                  <a:lnTo>
                    <a:pt x="96" y="2"/>
                  </a:lnTo>
                  <a:lnTo>
                    <a:pt x="88" y="4"/>
                  </a:lnTo>
                  <a:lnTo>
                    <a:pt x="86" y="4"/>
                  </a:lnTo>
                  <a:lnTo>
                    <a:pt x="86" y="2"/>
                  </a:lnTo>
                  <a:lnTo>
                    <a:pt x="84" y="2"/>
                  </a:lnTo>
                  <a:lnTo>
                    <a:pt x="82" y="2"/>
                  </a:lnTo>
                  <a:lnTo>
                    <a:pt x="80" y="2"/>
                  </a:lnTo>
                  <a:lnTo>
                    <a:pt x="78" y="2"/>
                  </a:lnTo>
                  <a:lnTo>
                    <a:pt x="72" y="6"/>
                  </a:lnTo>
                  <a:lnTo>
                    <a:pt x="61" y="12"/>
                  </a:lnTo>
                  <a:lnTo>
                    <a:pt x="61" y="12"/>
                  </a:lnTo>
                  <a:lnTo>
                    <a:pt x="61" y="12"/>
                  </a:lnTo>
                  <a:lnTo>
                    <a:pt x="61" y="12"/>
                  </a:lnTo>
                  <a:lnTo>
                    <a:pt x="61" y="14"/>
                  </a:lnTo>
                  <a:lnTo>
                    <a:pt x="59" y="14"/>
                  </a:lnTo>
                  <a:lnTo>
                    <a:pt x="55" y="20"/>
                  </a:lnTo>
                  <a:lnTo>
                    <a:pt x="55" y="22"/>
                  </a:lnTo>
                  <a:lnTo>
                    <a:pt x="53" y="22"/>
                  </a:lnTo>
                  <a:lnTo>
                    <a:pt x="55" y="26"/>
                  </a:lnTo>
                  <a:lnTo>
                    <a:pt x="55" y="28"/>
                  </a:lnTo>
                  <a:lnTo>
                    <a:pt x="57" y="28"/>
                  </a:lnTo>
                  <a:lnTo>
                    <a:pt x="57" y="30"/>
                  </a:lnTo>
                  <a:lnTo>
                    <a:pt x="59" y="30"/>
                  </a:lnTo>
                  <a:lnTo>
                    <a:pt x="61" y="32"/>
                  </a:lnTo>
                  <a:lnTo>
                    <a:pt x="63" y="32"/>
                  </a:lnTo>
                  <a:lnTo>
                    <a:pt x="65" y="34"/>
                  </a:lnTo>
                  <a:lnTo>
                    <a:pt x="68" y="34"/>
                  </a:lnTo>
                  <a:lnTo>
                    <a:pt x="70" y="34"/>
                  </a:lnTo>
                  <a:lnTo>
                    <a:pt x="72" y="36"/>
                  </a:lnTo>
                  <a:lnTo>
                    <a:pt x="76" y="41"/>
                  </a:lnTo>
                  <a:lnTo>
                    <a:pt x="76" y="41"/>
                  </a:lnTo>
                  <a:lnTo>
                    <a:pt x="78" y="41"/>
                  </a:lnTo>
                  <a:lnTo>
                    <a:pt x="80" y="41"/>
                  </a:lnTo>
                  <a:lnTo>
                    <a:pt x="86" y="41"/>
                  </a:lnTo>
                  <a:lnTo>
                    <a:pt x="90" y="43"/>
                  </a:lnTo>
                  <a:lnTo>
                    <a:pt x="94" y="45"/>
                  </a:lnTo>
                  <a:lnTo>
                    <a:pt x="100" y="41"/>
                  </a:lnTo>
                  <a:lnTo>
                    <a:pt x="106" y="34"/>
                  </a:lnTo>
                  <a:lnTo>
                    <a:pt x="106" y="32"/>
                  </a:lnTo>
                  <a:lnTo>
                    <a:pt x="106" y="32"/>
                  </a:lnTo>
                  <a:lnTo>
                    <a:pt x="106" y="32"/>
                  </a:lnTo>
                  <a:lnTo>
                    <a:pt x="108" y="32"/>
                  </a:lnTo>
                  <a:lnTo>
                    <a:pt x="108" y="30"/>
                  </a:lnTo>
                  <a:lnTo>
                    <a:pt x="108" y="28"/>
                  </a:lnTo>
                  <a:lnTo>
                    <a:pt x="108" y="26"/>
                  </a:lnTo>
                  <a:lnTo>
                    <a:pt x="106" y="24"/>
                  </a:lnTo>
                  <a:lnTo>
                    <a:pt x="111" y="18"/>
                  </a:lnTo>
                  <a:lnTo>
                    <a:pt x="113" y="12"/>
                  </a:lnTo>
                  <a:lnTo>
                    <a:pt x="113" y="12"/>
                  </a:lnTo>
                  <a:lnTo>
                    <a:pt x="113" y="10"/>
                  </a:lnTo>
                  <a:close/>
                  <a:moveTo>
                    <a:pt x="18" y="26"/>
                  </a:moveTo>
                  <a:lnTo>
                    <a:pt x="16" y="28"/>
                  </a:lnTo>
                  <a:lnTo>
                    <a:pt x="16" y="28"/>
                  </a:lnTo>
                  <a:lnTo>
                    <a:pt x="12" y="32"/>
                  </a:lnTo>
                  <a:lnTo>
                    <a:pt x="12" y="32"/>
                  </a:lnTo>
                  <a:lnTo>
                    <a:pt x="10" y="34"/>
                  </a:lnTo>
                  <a:lnTo>
                    <a:pt x="10" y="36"/>
                  </a:lnTo>
                  <a:lnTo>
                    <a:pt x="6" y="36"/>
                  </a:lnTo>
                  <a:lnTo>
                    <a:pt x="2" y="43"/>
                  </a:lnTo>
                  <a:lnTo>
                    <a:pt x="0" y="45"/>
                  </a:lnTo>
                  <a:lnTo>
                    <a:pt x="0" y="49"/>
                  </a:lnTo>
                  <a:lnTo>
                    <a:pt x="0" y="51"/>
                  </a:lnTo>
                  <a:lnTo>
                    <a:pt x="4" y="53"/>
                  </a:lnTo>
                  <a:lnTo>
                    <a:pt x="4" y="53"/>
                  </a:lnTo>
                  <a:lnTo>
                    <a:pt x="6" y="53"/>
                  </a:lnTo>
                  <a:lnTo>
                    <a:pt x="6" y="51"/>
                  </a:lnTo>
                  <a:lnTo>
                    <a:pt x="8" y="49"/>
                  </a:lnTo>
                  <a:lnTo>
                    <a:pt x="8" y="47"/>
                  </a:lnTo>
                  <a:lnTo>
                    <a:pt x="12" y="43"/>
                  </a:lnTo>
                  <a:lnTo>
                    <a:pt x="12" y="43"/>
                  </a:lnTo>
                  <a:lnTo>
                    <a:pt x="16" y="43"/>
                  </a:lnTo>
                  <a:lnTo>
                    <a:pt x="16" y="41"/>
                  </a:lnTo>
                  <a:lnTo>
                    <a:pt x="18" y="41"/>
                  </a:lnTo>
                  <a:lnTo>
                    <a:pt x="20" y="38"/>
                  </a:lnTo>
                  <a:lnTo>
                    <a:pt x="20" y="36"/>
                  </a:lnTo>
                  <a:lnTo>
                    <a:pt x="20" y="32"/>
                  </a:lnTo>
                  <a:lnTo>
                    <a:pt x="22" y="30"/>
                  </a:lnTo>
                  <a:lnTo>
                    <a:pt x="25" y="28"/>
                  </a:lnTo>
                  <a:lnTo>
                    <a:pt x="22" y="26"/>
                  </a:lnTo>
                  <a:lnTo>
                    <a:pt x="18" y="26"/>
                  </a:lnTo>
                  <a:close/>
                  <a:moveTo>
                    <a:pt x="301" y="104"/>
                  </a:moveTo>
                  <a:lnTo>
                    <a:pt x="301" y="102"/>
                  </a:lnTo>
                  <a:lnTo>
                    <a:pt x="301" y="100"/>
                  </a:lnTo>
                  <a:lnTo>
                    <a:pt x="301" y="98"/>
                  </a:lnTo>
                  <a:lnTo>
                    <a:pt x="299" y="98"/>
                  </a:lnTo>
                  <a:lnTo>
                    <a:pt x="297" y="98"/>
                  </a:lnTo>
                  <a:lnTo>
                    <a:pt x="297" y="96"/>
                  </a:lnTo>
                  <a:lnTo>
                    <a:pt x="297" y="94"/>
                  </a:lnTo>
                  <a:lnTo>
                    <a:pt x="299" y="92"/>
                  </a:lnTo>
                  <a:lnTo>
                    <a:pt x="293" y="92"/>
                  </a:lnTo>
                  <a:lnTo>
                    <a:pt x="291" y="92"/>
                  </a:lnTo>
                  <a:lnTo>
                    <a:pt x="295" y="96"/>
                  </a:lnTo>
                  <a:lnTo>
                    <a:pt x="293" y="96"/>
                  </a:lnTo>
                  <a:lnTo>
                    <a:pt x="291" y="96"/>
                  </a:lnTo>
                  <a:lnTo>
                    <a:pt x="291" y="96"/>
                  </a:lnTo>
                  <a:lnTo>
                    <a:pt x="291" y="96"/>
                  </a:lnTo>
                  <a:lnTo>
                    <a:pt x="287" y="92"/>
                  </a:lnTo>
                  <a:lnTo>
                    <a:pt x="285" y="92"/>
                  </a:lnTo>
                  <a:lnTo>
                    <a:pt x="285" y="90"/>
                  </a:lnTo>
                  <a:lnTo>
                    <a:pt x="283" y="86"/>
                  </a:lnTo>
                  <a:lnTo>
                    <a:pt x="283" y="86"/>
                  </a:lnTo>
                  <a:lnTo>
                    <a:pt x="283" y="86"/>
                  </a:lnTo>
                  <a:lnTo>
                    <a:pt x="285" y="86"/>
                  </a:lnTo>
                  <a:lnTo>
                    <a:pt x="285" y="84"/>
                  </a:lnTo>
                  <a:lnTo>
                    <a:pt x="285" y="82"/>
                  </a:lnTo>
                  <a:lnTo>
                    <a:pt x="283" y="82"/>
                  </a:lnTo>
                  <a:lnTo>
                    <a:pt x="281" y="79"/>
                  </a:lnTo>
                  <a:lnTo>
                    <a:pt x="278" y="75"/>
                  </a:lnTo>
                  <a:lnTo>
                    <a:pt x="276" y="73"/>
                  </a:lnTo>
                  <a:lnTo>
                    <a:pt x="276" y="71"/>
                  </a:lnTo>
                  <a:lnTo>
                    <a:pt x="274" y="69"/>
                  </a:lnTo>
                  <a:lnTo>
                    <a:pt x="272" y="67"/>
                  </a:lnTo>
                  <a:lnTo>
                    <a:pt x="272" y="65"/>
                  </a:lnTo>
                  <a:lnTo>
                    <a:pt x="270" y="65"/>
                  </a:lnTo>
                  <a:lnTo>
                    <a:pt x="268" y="63"/>
                  </a:lnTo>
                  <a:lnTo>
                    <a:pt x="268" y="63"/>
                  </a:lnTo>
                  <a:lnTo>
                    <a:pt x="268" y="63"/>
                  </a:lnTo>
                  <a:lnTo>
                    <a:pt x="268" y="63"/>
                  </a:lnTo>
                  <a:lnTo>
                    <a:pt x="262" y="65"/>
                  </a:lnTo>
                  <a:lnTo>
                    <a:pt x="260" y="67"/>
                  </a:lnTo>
                  <a:lnTo>
                    <a:pt x="258" y="69"/>
                  </a:lnTo>
                  <a:lnTo>
                    <a:pt x="258" y="71"/>
                  </a:lnTo>
                  <a:lnTo>
                    <a:pt x="256" y="71"/>
                  </a:lnTo>
                  <a:lnTo>
                    <a:pt x="256" y="71"/>
                  </a:lnTo>
                  <a:lnTo>
                    <a:pt x="252" y="73"/>
                  </a:lnTo>
                  <a:lnTo>
                    <a:pt x="252" y="75"/>
                  </a:lnTo>
                  <a:lnTo>
                    <a:pt x="252" y="75"/>
                  </a:lnTo>
                  <a:lnTo>
                    <a:pt x="252" y="77"/>
                  </a:lnTo>
                  <a:lnTo>
                    <a:pt x="250" y="77"/>
                  </a:lnTo>
                  <a:lnTo>
                    <a:pt x="248" y="77"/>
                  </a:lnTo>
                  <a:lnTo>
                    <a:pt x="246" y="77"/>
                  </a:lnTo>
                  <a:lnTo>
                    <a:pt x="240" y="75"/>
                  </a:lnTo>
                  <a:lnTo>
                    <a:pt x="238" y="77"/>
                  </a:lnTo>
                  <a:lnTo>
                    <a:pt x="235" y="77"/>
                  </a:lnTo>
                  <a:lnTo>
                    <a:pt x="233" y="79"/>
                  </a:lnTo>
                  <a:lnTo>
                    <a:pt x="238" y="84"/>
                  </a:lnTo>
                  <a:lnTo>
                    <a:pt x="238" y="86"/>
                  </a:lnTo>
                  <a:lnTo>
                    <a:pt x="235" y="88"/>
                  </a:lnTo>
                  <a:lnTo>
                    <a:pt x="238" y="90"/>
                  </a:lnTo>
                  <a:lnTo>
                    <a:pt x="240" y="92"/>
                  </a:lnTo>
                  <a:lnTo>
                    <a:pt x="242" y="92"/>
                  </a:lnTo>
                  <a:lnTo>
                    <a:pt x="242" y="94"/>
                  </a:lnTo>
                  <a:lnTo>
                    <a:pt x="244" y="98"/>
                  </a:lnTo>
                  <a:lnTo>
                    <a:pt x="246" y="100"/>
                  </a:lnTo>
                  <a:lnTo>
                    <a:pt x="248" y="102"/>
                  </a:lnTo>
                  <a:lnTo>
                    <a:pt x="250" y="102"/>
                  </a:lnTo>
                  <a:lnTo>
                    <a:pt x="250" y="102"/>
                  </a:lnTo>
                  <a:lnTo>
                    <a:pt x="250" y="104"/>
                  </a:lnTo>
                  <a:lnTo>
                    <a:pt x="252" y="112"/>
                  </a:lnTo>
                  <a:lnTo>
                    <a:pt x="254" y="112"/>
                  </a:lnTo>
                  <a:lnTo>
                    <a:pt x="254" y="112"/>
                  </a:lnTo>
                  <a:lnTo>
                    <a:pt x="254" y="112"/>
                  </a:lnTo>
                  <a:lnTo>
                    <a:pt x="256" y="112"/>
                  </a:lnTo>
                  <a:lnTo>
                    <a:pt x="258" y="110"/>
                  </a:lnTo>
                  <a:lnTo>
                    <a:pt x="262" y="110"/>
                  </a:lnTo>
                  <a:lnTo>
                    <a:pt x="266" y="110"/>
                  </a:lnTo>
                  <a:lnTo>
                    <a:pt x="268" y="110"/>
                  </a:lnTo>
                  <a:lnTo>
                    <a:pt x="268" y="106"/>
                  </a:lnTo>
                  <a:lnTo>
                    <a:pt x="266" y="106"/>
                  </a:lnTo>
                  <a:lnTo>
                    <a:pt x="264" y="104"/>
                  </a:lnTo>
                  <a:lnTo>
                    <a:pt x="262" y="102"/>
                  </a:lnTo>
                  <a:lnTo>
                    <a:pt x="264" y="102"/>
                  </a:lnTo>
                  <a:lnTo>
                    <a:pt x="266" y="104"/>
                  </a:lnTo>
                  <a:lnTo>
                    <a:pt x="268" y="104"/>
                  </a:lnTo>
                  <a:lnTo>
                    <a:pt x="266" y="100"/>
                  </a:lnTo>
                  <a:lnTo>
                    <a:pt x="268" y="102"/>
                  </a:lnTo>
                  <a:lnTo>
                    <a:pt x="270" y="102"/>
                  </a:lnTo>
                  <a:lnTo>
                    <a:pt x="270" y="100"/>
                  </a:lnTo>
                  <a:lnTo>
                    <a:pt x="270" y="100"/>
                  </a:lnTo>
                  <a:lnTo>
                    <a:pt x="272" y="102"/>
                  </a:lnTo>
                  <a:lnTo>
                    <a:pt x="272" y="102"/>
                  </a:lnTo>
                  <a:lnTo>
                    <a:pt x="272" y="104"/>
                  </a:lnTo>
                  <a:lnTo>
                    <a:pt x="272" y="104"/>
                  </a:lnTo>
                  <a:lnTo>
                    <a:pt x="270" y="104"/>
                  </a:lnTo>
                  <a:lnTo>
                    <a:pt x="270" y="106"/>
                  </a:lnTo>
                  <a:lnTo>
                    <a:pt x="270" y="108"/>
                  </a:lnTo>
                  <a:lnTo>
                    <a:pt x="272" y="108"/>
                  </a:lnTo>
                  <a:lnTo>
                    <a:pt x="274" y="108"/>
                  </a:lnTo>
                  <a:lnTo>
                    <a:pt x="276" y="106"/>
                  </a:lnTo>
                  <a:lnTo>
                    <a:pt x="278" y="108"/>
                  </a:lnTo>
                  <a:lnTo>
                    <a:pt x="281" y="108"/>
                  </a:lnTo>
                  <a:lnTo>
                    <a:pt x="281" y="110"/>
                  </a:lnTo>
                  <a:lnTo>
                    <a:pt x="281" y="110"/>
                  </a:lnTo>
                  <a:lnTo>
                    <a:pt x="283" y="112"/>
                  </a:lnTo>
                  <a:lnTo>
                    <a:pt x="285" y="114"/>
                  </a:lnTo>
                  <a:lnTo>
                    <a:pt x="287" y="114"/>
                  </a:lnTo>
                  <a:lnTo>
                    <a:pt x="289" y="116"/>
                  </a:lnTo>
                  <a:lnTo>
                    <a:pt x="291" y="116"/>
                  </a:lnTo>
                  <a:lnTo>
                    <a:pt x="293" y="114"/>
                  </a:lnTo>
                  <a:lnTo>
                    <a:pt x="295" y="114"/>
                  </a:lnTo>
                  <a:lnTo>
                    <a:pt x="299" y="112"/>
                  </a:lnTo>
                  <a:lnTo>
                    <a:pt x="301" y="116"/>
                  </a:lnTo>
                  <a:lnTo>
                    <a:pt x="301" y="114"/>
                  </a:lnTo>
                  <a:lnTo>
                    <a:pt x="307" y="110"/>
                  </a:lnTo>
                  <a:lnTo>
                    <a:pt x="307" y="108"/>
                  </a:lnTo>
                  <a:lnTo>
                    <a:pt x="301" y="104"/>
                  </a:lnTo>
                  <a:close/>
                  <a:moveTo>
                    <a:pt x="403" y="161"/>
                  </a:moveTo>
                  <a:lnTo>
                    <a:pt x="401" y="161"/>
                  </a:lnTo>
                  <a:lnTo>
                    <a:pt x="399" y="161"/>
                  </a:lnTo>
                  <a:lnTo>
                    <a:pt x="393" y="155"/>
                  </a:lnTo>
                  <a:lnTo>
                    <a:pt x="381" y="155"/>
                  </a:lnTo>
                  <a:lnTo>
                    <a:pt x="377" y="157"/>
                  </a:lnTo>
                  <a:lnTo>
                    <a:pt x="379" y="161"/>
                  </a:lnTo>
                  <a:lnTo>
                    <a:pt x="383" y="164"/>
                  </a:lnTo>
                  <a:lnTo>
                    <a:pt x="385" y="166"/>
                  </a:lnTo>
                  <a:lnTo>
                    <a:pt x="385" y="168"/>
                  </a:lnTo>
                  <a:lnTo>
                    <a:pt x="385" y="170"/>
                  </a:lnTo>
                  <a:lnTo>
                    <a:pt x="385" y="174"/>
                  </a:lnTo>
                  <a:lnTo>
                    <a:pt x="387" y="176"/>
                  </a:lnTo>
                  <a:lnTo>
                    <a:pt x="389" y="178"/>
                  </a:lnTo>
                  <a:lnTo>
                    <a:pt x="393" y="178"/>
                  </a:lnTo>
                  <a:lnTo>
                    <a:pt x="399" y="176"/>
                  </a:lnTo>
                  <a:lnTo>
                    <a:pt x="403" y="174"/>
                  </a:lnTo>
                  <a:lnTo>
                    <a:pt x="405" y="170"/>
                  </a:lnTo>
                  <a:lnTo>
                    <a:pt x="407" y="168"/>
                  </a:lnTo>
                  <a:lnTo>
                    <a:pt x="407" y="166"/>
                  </a:lnTo>
                  <a:lnTo>
                    <a:pt x="405" y="166"/>
                  </a:lnTo>
                  <a:lnTo>
                    <a:pt x="403" y="161"/>
                  </a:lnTo>
                  <a:close/>
                </a:path>
              </a:pathLst>
            </a:custGeom>
            <a:solidFill>
              <a:schemeClr val="accent1">
                <a:lumMod val="60000"/>
                <a:lumOff val="40000"/>
              </a:schemeClr>
            </a:solidFill>
            <a:ln w="3175" cap="flat">
              <a:solidFill>
                <a:schemeClr val="bg1"/>
              </a:solidFill>
              <a:prstDash val="solid"/>
              <a:miter lim="800000"/>
              <a:headEnd/>
              <a:tailEnd/>
            </a:ln>
          </p:spPr>
          <p:txBody>
            <a:bodyPr vert="horz" wrap="square" lIns="0" tIns="0" rIns="72000" bIns="72000" numCol="1" anchor="b" anchorCtr="0" compatLnSpc="1">
              <a:prstTxWarp prst="textNoShape">
                <a:avLst/>
              </a:prstTxWarp>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HI</a:t>
              </a:r>
            </a:p>
          </p:txBody>
        </p:sp>
        <p:sp>
          <p:nvSpPr>
            <p:cNvPr id="104" name="Freeform 45">
              <a:extLst>
                <a:ext uri="{FF2B5EF4-FFF2-40B4-BE49-F238E27FC236}">
                  <a16:creationId xmlns:a16="http://schemas.microsoft.com/office/drawing/2014/main" id="{1AE5C10C-31DB-1A10-F4F7-9C0B84402ECA}"/>
                </a:ext>
              </a:extLst>
            </p:cNvPr>
            <p:cNvSpPr>
              <a:spLocks noEditPoints="1"/>
            </p:cNvSpPr>
            <p:nvPr/>
          </p:nvSpPr>
          <p:spPr bwMode="auto">
            <a:xfrm>
              <a:off x="4002" y="1545"/>
              <a:ext cx="475" cy="480"/>
            </a:xfrm>
            <a:custGeom>
              <a:avLst/>
              <a:gdLst>
                <a:gd name="T0" fmla="*/ 437 w 475"/>
                <a:gd name="T1" fmla="*/ 416 h 480"/>
                <a:gd name="T2" fmla="*/ 471 w 475"/>
                <a:gd name="T3" fmla="*/ 283 h 480"/>
                <a:gd name="T4" fmla="*/ 451 w 475"/>
                <a:gd name="T5" fmla="*/ 281 h 480"/>
                <a:gd name="T6" fmla="*/ 443 w 475"/>
                <a:gd name="T7" fmla="*/ 269 h 480"/>
                <a:gd name="T8" fmla="*/ 434 w 475"/>
                <a:gd name="T9" fmla="*/ 246 h 480"/>
                <a:gd name="T10" fmla="*/ 424 w 475"/>
                <a:gd name="T11" fmla="*/ 234 h 480"/>
                <a:gd name="T12" fmla="*/ 412 w 475"/>
                <a:gd name="T13" fmla="*/ 222 h 480"/>
                <a:gd name="T14" fmla="*/ 408 w 475"/>
                <a:gd name="T15" fmla="*/ 209 h 480"/>
                <a:gd name="T16" fmla="*/ 389 w 475"/>
                <a:gd name="T17" fmla="*/ 185 h 480"/>
                <a:gd name="T18" fmla="*/ 363 w 475"/>
                <a:gd name="T19" fmla="*/ 166 h 480"/>
                <a:gd name="T20" fmla="*/ 353 w 475"/>
                <a:gd name="T21" fmla="*/ 158 h 480"/>
                <a:gd name="T22" fmla="*/ 340 w 475"/>
                <a:gd name="T23" fmla="*/ 138 h 480"/>
                <a:gd name="T24" fmla="*/ 310 w 475"/>
                <a:gd name="T25" fmla="*/ 115 h 480"/>
                <a:gd name="T26" fmla="*/ 283 w 475"/>
                <a:gd name="T27" fmla="*/ 97 h 480"/>
                <a:gd name="T28" fmla="*/ 267 w 475"/>
                <a:gd name="T29" fmla="*/ 82 h 480"/>
                <a:gd name="T30" fmla="*/ 232 w 475"/>
                <a:gd name="T31" fmla="*/ 51 h 480"/>
                <a:gd name="T32" fmla="*/ 203 w 475"/>
                <a:gd name="T33" fmla="*/ 29 h 480"/>
                <a:gd name="T34" fmla="*/ 211 w 475"/>
                <a:gd name="T35" fmla="*/ 13 h 480"/>
                <a:gd name="T36" fmla="*/ 207 w 475"/>
                <a:gd name="T37" fmla="*/ 2 h 480"/>
                <a:gd name="T38" fmla="*/ 121 w 475"/>
                <a:gd name="T39" fmla="*/ 17 h 480"/>
                <a:gd name="T40" fmla="*/ 23 w 475"/>
                <a:gd name="T41" fmla="*/ 29 h 480"/>
                <a:gd name="T42" fmla="*/ 15 w 475"/>
                <a:gd name="T43" fmla="*/ 80 h 480"/>
                <a:gd name="T44" fmla="*/ 49 w 475"/>
                <a:gd name="T45" fmla="*/ 193 h 480"/>
                <a:gd name="T46" fmla="*/ 66 w 475"/>
                <a:gd name="T47" fmla="*/ 246 h 480"/>
                <a:gd name="T48" fmla="*/ 76 w 475"/>
                <a:gd name="T49" fmla="*/ 267 h 480"/>
                <a:gd name="T50" fmla="*/ 92 w 475"/>
                <a:gd name="T51" fmla="*/ 293 h 480"/>
                <a:gd name="T52" fmla="*/ 94 w 475"/>
                <a:gd name="T53" fmla="*/ 308 h 480"/>
                <a:gd name="T54" fmla="*/ 101 w 475"/>
                <a:gd name="T55" fmla="*/ 316 h 480"/>
                <a:gd name="T56" fmla="*/ 94 w 475"/>
                <a:gd name="T57" fmla="*/ 326 h 480"/>
                <a:gd name="T58" fmla="*/ 92 w 475"/>
                <a:gd name="T59" fmla="*/ 347 h 480"/>
                <a:gd name="T60" fmla="*/ 99 w 475"/>
                <a:gd name="T61" fmla="*/ 386 h 480"/>
                <a:gd name="T62" fmla="*/ 101 w 475"/>
                <a:gd name="T63" fmla="*/ 412 h 480"/>
                <a:gd name="T64" fmla="*/ 107 w 475"/>
                <a:gd name="T65" fmla="*/ 439 h 480"/>
                <a:gd name="T66" fmla="*/ 115 w 475"/>
                <a:gd name="T67" fmla="*/ 455 h 480"/>
                <a:gd name="T68" fmla="*/ 135 w 475"/>
                <a:gd name="T69" fmla="*/ 480 h 480"/>
                <a:gd name="T70" fmla="*/ 219 w 475"/>
                <a:gd name="T71" fmla="*/ 474 h 480"/>
                <a:gd name="T72" fmla="*/ 336 w 475"/>
                <a:gd name="T73" fmla="*/ 463 h 480"/>
                <a:gd name="T74" fmla="*/ 373 w 475"/>
                <a:gd name="T75" fmla="*/ 463 h 480"/>
                <a:gd name="T76" fmla="*/ 377 w 475"/>
                <a:gd name="T77" fmla="*/ 474 h 480"/>
                <a:gd name="T78" fmla="*/ 389 w 475"/>
                <a:gd name="T79" fmla="*/ 480 h 480"/>
                <a:gd name="T80" fmla="*/ 394 w 475"/>
                <a:gd name="T81" fmla="*/ 457 h 480"/>
                <a:gd name="T82" fmla="*/ 389 w 475"/>
                <a:gd name="T83" fmla="*/ 443 h 480"/>
                <a:gd name="T84" fmla="*/ 391 w 475"/>
                <a:gd name="T85" fmla="*/ 433 h 480"/>
                <a:gd name="T86" fmla="*/ 396 w 475"/>
                <a:gd name="T87" fmla="*/ 429 h 480"/>
                <a:gd name="T88" fmla="*/ 414 w 475"/>
                <a:gd name="T89" fmla="*/ 433 h 480"/>
                <a:gd name="T90" fmla="*/ 432 w 475"/>
                <a:gd name="T91" fmla="*/ 435 h 480"/>
                <a:gd name="T92" fmla="*/ 434 w 475"/>
                <a:gd name="T93" fmla="*/ 420 h 480"/>
                <a:gd name="T94" fmla="*/ 434 w 475"/>
                <a:gd name="T95" fmla="*/ 414 h 480"/>
                <a:gd name="T96" fmla="*/ 437 w 475"/>
                <a:gd name="T97" fmla="*/ 398 h 480"/>
                <a:gd name="T98" fmla="*/ 439 w 475"/>
                <a:gd name="T99" fmla="*/ 394 h 480"/>
                <a:gd name="T100" fmla="*/ 437 w 475"/>
                <a:gd name="T101" fmla="*/ 377 h 480"/>
                <a:gd name="T102" fmla="*/ 449 w 475"/>
                <a:gd name="T103" fmla="*/ 369 h 480"/>
                <a:gd name="T104" fmla="*/ 443 w 475"/>
                <a:gd name="T105" fmla="*/ 365 h 480"/>
                <a:gd name="T106" fmla="*/ 443 w 475"/>
                <a:gd name="T107" fmla="*/ 355 h 480"/>
                <a:gd name="T108" fmla="*/ 451 w 475"/>
                <a:gd name="T109" fmla="*/ 340 h 480"/>
                <a:gd name="T110" fmla="*/ 439 w 475"/>
                <a:gd name="T111" fmla="*/ 340 h 480"/>
                <a:gd name="T112" fmla="*/ 449 w 475"/>
                <a:gd name="T113" fmla="*/ 330 h 480"/>
                <a:gd name="T114" fmla="*/ 451 w 475"/>
                <a:gd name="T115" fmla="*/ 324 h 480"/>
                <a:gd name="T116" fmla="*/ 443 w 475"/>
                <a:gd name="T117" fmla="*/ 318 h 480"/>
                <a:gd name="T118" fmla="*/ 459 w 475"/>
                <a:gd name="T119" fmla="*/ 308 h 480"/>
                <a:gd name="T120" fmla="*/ 455 w 475"/>
                <a:gd name="T121" fmla="*/ 302 h 480"/>
                <a:gd name="T122" fmla="*/ 465 w 475"/>
                <a:gd name="T123" fmla="*/ 291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5" h="480">
                  <a:moveTo>
                    <a:pt x="441" y="424"/>
                  </a:moveTo>
                  <a:lnTo>
                    <a:pt x="441" y="424"/>
                  </a:lnTo>
                  <a:lnTo>
                    <a:pt x="443" y="420"/>
                  </a:lnTo>
                  <a:lnTo>
                    <a:pt x="443" y="416"/>
                  </a:lnTo>
                  <a:lnTo>
                    <a:pt x="443" y="412"/>
                  </a:lnTo>
                  <a:lnTo>
                    <a:pt x="443" y="410"/>
                  </a:lnTo>
                  <a:lnTo>
                    <a:pt x="443" y="406"/>
                  </a:lnTo>
                  <a:lnTo>
                    <a:pt x="441" y="404"/>
                  </a:lnTo>
                  <a:lnTo>
                    <a:pt x="441" y="404"/>
                  </a:lnTo>
                  <a:lnTo>
                    <a:pt x="441" y="408"/>
                  </a:lnTo>
                  <a:lnTo>
                    <a:pt x="437" y="412"/>
                  </a:lnTo>
                  <a:lnTo>
                    <a:pt x="437" y="416"/>
                  </a:lnTo>
                  <a:lnTo>
                    <a:pt x="437" y="416"/>
                  </a:lnTo>
                  <a:lnTo>
                    <a:pt x="439" y="418"/>
                  </a:lnTo>
                  <a:lnTo>
                    <a:pt x="439" y="420"/>
                  </a:lnTo>
                  <a:lnTo>
                    <a:pt x="439" y="420"/>
                  </a:lnTo>
                  <a:lnTo>
                    <a:pt x="439" y="422"/>
                  </a:lnTo>
                  <a:lnTo>
                    <a:pt x="441" y="431"/>
                  </a:lnTo>
                  <a:lnTo>
                    <a:pt x="443" y="431"/>
                  </a:lnTo>
                  <a:lnTo>
                    <a:pt x="443" y="431"/>
                  </a:lnTo>
                  <a:lnTo>
                    <a:pt x="443" y="429"/>
                  </a:lnTo>
                  <a:lnTo>
                    <a:pt x="441" y="424"/>
                  </a:lnTo>
                  <a:close/>
                  <a:moveTo>
                    <a:pt x="473" y="283"/>
                  </a:moveTo>
                  <a:lnTo>
                    <a:pt x="471" y="283"/>
                  </a:lnTo>
                  <a:lnTo>
                    <a:pt x="471" y="283"/>
                  </a:lnTo>
                  <a:lnTo>
                    <a:pt x="469" y="283"/>
                  </a:lnTo>
                  <a:lnTo>
                    <a:pt x="469" y="283"/>
                  </a:lnTo>
                  <a:lnTo>
                    <a:pt x="469" y="283"/>
                  </a:lnTo>
                  <a:lnTo>
                    <a:pt x="467" y="283"/>
                  </a:lnTo>
                  <a:lnTo>
                    <a:pt x="465" y="283"/>
                  </a:lnTo>
                  <a:lnTo>
                    <a:pt x="465" y="283"/>
                  </a:lnTo>
                  <a:lnTo>
                    <a:pt x="463" y="281"/>
                  </a:lnTo>
                  <a:lnTo>
                    <a:pt x="463" y="281"/>
                  </a:lnTo>
                  <a:lnTo>
                    <a:pt x="459" y="279"/>
                  </a:lnTo>
                  <a:lnTo>
                    <a:pt x="457" y="279"/>
                  </a:lnTo>
                  <a:lnTo>
                    <a:pt x="451" y="281"/>
                  </a:lnTo>
                  <a:lnTo>
                    <a:pt x="451" y="281"/>
                  </a:lnTo>
                  <a:lnTo>
                    <a:pt x="449" y="277"/>
                  </a:lnTo>
                  <a:lnTo>
                    <a:pt x="447" y="277"/>
                  </a:lnTo>
                  <a:lnTo>
                    <a:pt x="447" y="277"/>
                  </a:lnTo>
                  <a:lnTo>
                    <a:pt x="447" y="277"/>
                  </a:lnTo>
                  <a:lnTo>
                    <a:pt x="445" y="275"/>
                  </a:lnTo>
                  <a:lnTo>
                    <a:pt x="445" y="275"/>
                  </a:lnTo>
                  <a:lnTo>
                    <a:pt x="445" y="275"/>
                  </a:lnTo>
                  <a:lnTo>
                    <a:pt x="445" y="275"/>
                  </a:lnTo>
                  <a:lnTo>
                    <a:pt x="443" y="271"/>
                  </a:lnTo>
                  <a:lnTo>
                    <a:pt x="443" y="271"/>
                  </a:lnTo>
                  <a:lnTo>
                    <a:pt x="443" y="269"/>
                  </a:lnTo>
                  <a:lnTo>
                    <a:pt x="443" y="267"/>
                  </a:lnTo>
                  <a:lnTo>
                    <a:pt x="443" y="267"/>
                  </a:lnTo>
                  <a:lnTo>
                    <a:pt x="443" y="265"/>
                  </a:lnTo>
                  <a:lnTo>
                    <a:pt x="443" y="263"/>
                  </a:lnTo>
                  <a:lnTo>
                    <a:pt x="443" y="263"/>
                  </a:lnTo>
                  <a:lnTo>
                    <a:pt x="443" y="261"/>
                  </a:lnTo>
                  <a:lnTo>
                    <a:pt x="443" y="258"/>
                  </a:lnTo>
                  <a:lnTo>
                    <a:pt x="443" y="256"/>
                  </a:lnTo>
                  <a:lnTo>
                    <a:pt x="443" y="254"/>
                  </a:lnTo>
                  <a:lnTo>
                    <a:pt x="441" y="254"/>
                  </a:lnTo>
                  <a:lnTo>
                    <a:pt x="439" y="254"/>
                  </a:lnTo>
                  <a:lnTo>
                    <a:pt x="434" y="246"/>
                  </a:lnTo>
                  <a:lnTo>
                    <a:pt x="434" y="242"/>
                  </a:lnTo>
                  <a:lnTo>
                    <a:pt x="434" y="240"/>
                  </a:lnTo>
                  <a:lnTo>
                    <a:pt x="432" y="240"/>
                  </a:lnTo>
                  <a:lnTo>
                    <a:pt x="430" y="240"/>
                  </a:lnTo>
                  <a:lnTo>
                    <a:pt x="430" y="238"/>
                  </a:lnTo>
                  <a:lnTo>
                    <a:pt x="430" y="238"/>
                  </a:lnTo>
                  <a:lnTo>
                    <a:pt x="428" y="236"/>
                  </a:lnTo>
                  <a:lnTo>
                    <a:pt x="428" y="236"/>
                  </a:lnTo>
                  <a:lnTo>
                    <a:pt x="426" y="236"/>
                  </a:lnTo>
                  <a:lnTo>
                    <a:pt x="426" y="236"/>
                  </a:lnTo>
                  <a:lnTo>
                    <a:pt x="426" y="236"/>
                  </a:lnTo>
                  <a:lnTo>
                    <a:pt x="424" y="234"/>
                  </a:lnTo>
                  <a:lnTo>
                    <a:pt x="424" y="234"/>
                  </a:lnTo>
                  <a:lnTo>
                    <a:pt x="422" y="232"/>
                  </a:lnTo>
                  <a:lnTo>
                    <a:pt x="422" y="232"/>
                  </a:lnTo>
                  <a:lnTo>
                    <a:pt x="418" y="232"/>
                  </a:lnTo>
                  <a:lnTo>
                    <a:pt x="416" y="232"/>
                  </a:lnTo>
                  <a:lnTo>
                    <a:pt x="416" y="232"/>
                  </a:lnTo>
                  <a:lnTo>
                    <a:pt x="414" y="230"/>
                  </a:lnTo>
                  <a:lnTo>
                    <a:pt x="412" y="228"/>
                  </a:lnTo>
                  <a:lnTo>
                    <a:pt x="412" y="228"/>
                  </a:lnTo>
                  <a:lnTo>
                    <a:pt x="412" y="226"/>
                  </a:lnTo>
                  <a:lnTo>
                    <a:pt x="412" y="224"/>
                  </a:lnTo>
                  <a:lnTo>
                    <a:pt x="412" y="222"/>
                  </a:lnTo>
                  <a:lnTo>
                    <a:pt x="412" y="222"/>
                  </a:lnTo>
                  <a:lnTo>
                    <a:pt x="412" y="222"/>
                  </a:lnTo>
                  <a:lnTo>
                    <a:pt x="410" y="222"/>
                  </a:lnTo>
                  <a:lnTo>
                    <a:pt x="410" y="220"/>
                  </a:lnTo>
                  <a:lnTo>
                    <a:pt x="410" y="220"/>
                  </a:lnTo>
                  <a:lnTo>
                    <a:pt x="410" y="217"/>
                  </a:lnTo>
                  <a:lnTo>
                    <a:pt x="410" y="217"/>
                  </a:lnTo>
                  <a:lnTo>
                    <a:pt x="410" y="215"/>
                  </a:lnTo>
                  <a:lnTo>
                    <a:pt x="410" y="213"/>
                  </a:lnTo>
                  <a:lnTo>
                    <a:pt x="408" y="213"/>
                  </a:lnTo>
                  <a:lnTo>
                    <a:pt x="408" y="211"/>
                  </a:lnTo>
                  <a:lnTo>
                    <a:pt x="408" y="209"/>
                  </a:lnTo>
                  <a:lnTo>
                    <a:pt x="408" y="207"/>
                  </a:lnTo>
                  <a:lnTo>
                    <a:pt x="406" y="205"/>
                  </a:lnTo>
                  <a:lnTo>
                    <a:pt x="400" y="197"/>
                  </a:lnTo>
                  <a:lnTo>
                    <a:pt x="398" y="197"/>
                  </a:lnTo>
                  <a:lnTo>
                    <a:pt x="398" y="195"/>
                  </a:lnTo>
                  <a:lnTo>
                    <a:pt x="398" y="191"/>
                  </a:lnTo>
                  <a:lnTo>
                    <a:pt x="398" y="189"/>
                  </a:lnTo>
                  <a:lnTo>
                    <a:pt x="396" y="187"/>
                  </a:lnTo>
                  <a:lnTo>
                    <a:pt x="396" y="187"/>
                  </a:lnTo>
                  <a:lnTo>
                    <a:pt x="394" y="185"/>
                  </a:lnTo>
                  <a:lnTo>
                    <a:pt x="391" y="185"/>
                  </a:lnTo>
                  <a:lnTo>
                    <a:pt x="389" y="185"/>
                  </a:lnTo>
                  <a:lnTo>
                    <a:pt x="387" y="183"/>
                  </a:lnTo>
                  <a:lnTo>
                    <a:pt x="383" y="181"/>
                  </a:lnTo>
                  <a:lnTo>
                    <a:pt x="375" y="179"/>
                  </a:lnTo>
                  <a:lnTo>
                    <a:pt x="371" y="176"/>
                  </a:lnTo>
                  <a:lnTo>
                    <a:pt x="371" y="176"/>
                  </a:lnTo>
                  <a:lnTo>
                    <a:pt x="369" y="172"/>
                  </a:lnTo>
                  <a:lnTo>
                    <a:pt x="369" y="170"/>
                  </a:lnTo>
                  <a:lnTo>
                    <a:pt x="367" y="170"/>
                  </a:lnTo>
                  <a:lnTo>
                    <a:pt x="365" y="170"/>
                  </a:lnTo>
                  <a:lnTo>
                    <a:pt x="363" y="170"/>
                  </a:lnTo>
                  <a:lnTo>
                    <a:pt x="361" y="168"/>
                  </a:lnTo>
                  <a:lnTo>
                    <a:pt x="363" y="166"/>
                  </a:lnTo>
                  <a:lnTo>
                    <a:pt x="363" y="166"/>
                  </a:lnTo>
                  <a:lnTo>
                    <a:pt x="363" y="164"/>
                  </a:lnTo>
                  <a:lnTo>
                    <a:pt x="361" y="164"/>
                  </a:lnTo>
                  <a:lnTo>
                    <a:pt x="361" y="162"/>
                  </a:lnTo>
                  <a:lnTo>
                    <a:pt x="361" y="162"/>
                  </a:lnTo>
                  <a:lnTo>
                    <a:pt x="361" y="162"/>
                  </a:lnTo>
                  <a:lnTo>
                    <a:pt x="359" y="160"/>
                  </a:lnTo>
                  <a:lnTo>
                    <a:pt x="359" y="162"/>
                  </a:lnTo>
                  <a:lnTo>
                    <a:pt x="359" y="162"/>
                  </a:lnTo>
                  <a:lnTo>
                    <a:pt x="359" y="162"/>
                  </a:lnTo>
                  <a:lnTo>
                    <a:pt x="357" y="162"/>
                  </a:lnTo>
                  <a:lnTo>
                    <a:pt x="353" y="158"/>
                  </a:lnTo>
                  <a:lnTo>
                    <a:pt x="353" y="156"/>
                  </a:lnTo>
                  <a:lnTo>
                    <a:pt x="353" y="156"/>
                  </a:lnTo>
                  <a:lnTo>
                    <a:pt x="350" y="154"/>
                  </a:lnTo>
                  <a:lnTo>
                    <a:pt x="350" y="152"/>
                  </a:lnTo>
                  <a:lnTo>
                    <a:pt x="353" y="152"/>
                  </a:lnTo>
                  <a:lnTo>
                    <a:pt x="353" y="150"/>
                  </a:lnTo>
                  <a:lnTo>
                    <a:pt x="350" y="150"/>
                  </a:lnTo>
                  <a:lnTo>
                    <a:pt x="350" y="148"/>
                  </a:lnTo>
                  <a:lnTo>
                    <a:pt x="350" y="146"/>
                  </a:lnTo>
                  <a:lnTo>
                    <a:pt x="346" y="144"/>
                  </a:lnTo>
                  <a:lnTo>
                    <a:pt x="344" y="142"/>
                  </a:lnTo>
                  <a:lnTo>
                    <a:pt x="340" y="138"/>
                  </a:lnTo>
                  <a:lnTo>
                    <a:pt x="336" y="138"/>
                  </a:lnTo>
                  <a:lnTo>
                    <a:pt x="336" y="136"/>
                  </a:lnTo>
                  <a:lnTo>
                    <a:pt x="330" y="136"/>
                  </a:lnTo>
                  <a:lnTo>
                    <a:pt x="328" y="136"/>
                  </a:lnTo>
                  <a:lnTo>
                    <a:pt x="326" y="133"/>
                  </a:lnTo>
                  <a:lnTo>
                    <a:pt x="324" y="133"/>
                  </a:lnTo>
                  <a:lnTo>
                    <a:pt x="322" y="129"/>
                  </a:lnTo>
                  <a:lnTo>
                    <a:pt x="322" y="127"/>
                  </a:lnTo>
                  <a:lnTo>
                    <a:pt x="320" y="125"/>
                  </a:lnTo>
                  <a:lnTo>
                    <a:pt x="318" y="121"/>
                  </a:lnTo>
                  <a:lnTo>
                    <a:pt x="316" y="119"/>
                  </a:lnTo>
                  <a:lnTo>
                    <a:pt x="310" y="115"/>
                  </a:lnTo>
                  <a:lnTo>
                    <a:pt x="305" y="113"/>
                  </a:lnTo>
                  <a:lnTo>
                    <a:pt x="301" y="111"/>
                  </a:lnTo>
                  <a:lnTo>
                    <a:pt x="299" y="111"/>
                  </a:lnTo>
                  <a:lnTo>
                    <a:pt x="295" y="109"/>
                  </a:lnTo>
                  <a:lnTo>
                    <a:pt x="293" y="107"/>
                  </a:lnTo>
                  <a:lnTo>
                    <a:pt x="291" y="105"/>
                  </a:lnTo>
                  <a:lnTo>
                    <a:pt x="289" y="103"/>
                  </a:lnTo>
                  <a:lnTo>
                    <a:pt x="289" y="103"/>
                  </a:lnTo>
                  <a:lnTo>
                    <a:pt x="287" y="103"/>
                  </a:lnTo>
                  <a:lnTo>
                    <a:pt x="285" y="103"/>
                  </a:lnTo>
                  <a:lnTo>
                    <a:pt x="285" y="101"/>
                  </a:lnTo>
                  <a:lnTo>
                    <a:pt x="283" y="97"/>
                  </a:lnTo>
                  <a:lnTo>
                    <a:pt x="281" y="95"/>
                  </a:lnTo>
                  <a:lnTo>
                    <a:pt x="281" y="95"/>
                  </a:lnTo>
                  <a:lnTo>
                    <a:pt x="279" y="92"/>
                  </a:lnTo>
                  <a:lnTo>
                    <a:pt x="277" y="90"/>
                  </a:lnTo>
                  <a:lnTo>
                    <a:pt x="277" y="88"/>
                  </a:lnTo>
                  <a:lnTo>
                    <a:pt x="275" y="88"/>
                  </a:lnTo>
                  <a:lnTo>
                    <a:pt x="275" y="86"/>
                  </a:lnTo>
                  <a:lnTo>
                    <a:pt x="273" y="86"/>
                  </a:lnTo>
                  <a:lnTo>
                    <a:pt x="271" y="84"/>
                  </a:lnTo>
                  <a:lnTo>
                    <a:pt x="269" y="84"/>
                  </a:lnTo>
                  <a:lnTo>
                    <a:pt x="269" y="82"/>
                  </a:lnTo>
                  <a:lnTo>
                    <a:pt x="267" y="82"/>
                  </a:lnTo>
                  <a:lnTo>
                    <a:pt x="264" y="72"/>
                  </a:lnTo>
                  <a:lnTo>
                    <a:pt x="262" y="70"/>
                  </a:lnTo>
                  <a:lnTo>
                    <a:pt x="256" y="64"/>
                  </a:lnTo>
                  <a:lnTo>
                    <a:pt x="256" y="62"/>
                  </a:lnTo>
                  <a:lnTo>
                    <a:pt x="254" y="60"/>
                  </a:lnTo>
                  <a:lnTo>
                    <a:pt x="252" y="56"/>
                  </a:lnTo>
                  <a:lnTo>
                    <a:pt x="252" y="54"/>
                  </a:lnTo>
                  <a:lnTo>
                    <a:pt x="248" y="51"/>
                  </a:lnTo>
                  <a:lnTo>
                    <a:pt x="242" y="54"/>
                  </a:lnTo>
                  <a:lnTo>
                    <a:pt x="238" y="54"/>
                  </a:lnTo>
                  <a:lnTo>
                    <a:pt x="234" y="54"/>
                  </a:lnTo>
                  <a:lnTo>
                    <a:pt x="232" y="51"/>
                  </a:lnTo>
                  <a:lnTo>
                    <a:pt x="232" y="49"/>
                  </a:lnTo>
                  <a:lnTo>
                    <a:pt x="230" y="47"/>
                  </a:lnTo>
                  <a:lnTo>
                    <a:pt x="226" y="45"/>
                  </a:lnTo>
                  <a:lnTo>
                    <a:pt x="224" y="45"/>
                  </a:lnTo>
                  <a:lnTo>
                    <a:pt x="221" y="43"/>
                  </a:lnTo>
                  <a:lnTo>
                    <a:pt x="221" y="41"/>
                  </a:lnTo>
                  <a:lnTo>
                    <a:pt x="221" y="41"/>
                  </a:lnTo>
                  <a:lnTo>
                    <a:pt x="219" y="43"/>
                  </a:lnTo>
                  <a:lnTo>
                    <a:pt x="215" y="41"/>
                  </a:lnTo>
                  <a:lnTo>
                    <a:pt x="207" y="37"/>
                  </a:lnTo>
                  <a:lnTo>
                    <a:pt x="203" y="35"/>
                  </a:lnTo>
                  <a:lnTo>
                    <a:pt x="203" y="29"/>
                  </a:lnTo>
                  <a:lnTo>
                    <a:pt x="205" y="27"/>
                  </a:lnTo>
                  <a:lnTo>
                    <a:pt x="205" y="27"/>
                  </a:lnTo>
                  <a:lnTo>
                    <a:pt x="205" y="25"/>
                  </a:lnTo>
                  <a:lnTo>
                    <a:pt x="205" y="25"/>
                  </a:lnTo>
                  <a:lnTo>
                    <a:pt x="205" y="25"/>
                  </a:lnTo>
                  <a:lnTo>
                    <a:pt x="205" y="23"/>
                  </a:lnTo>
                  <a:lnTo>
                    <a:pt x="207" y="21"/>
                  </a:lnTo>
                  <a:lnTo>
                    <a:pt x="207" y="21"/>
                  </a:lnTo>
                  <a:lnTo>
                    <a:pt x="209" y="19"/>
                  </a:lnTo>
                  <a:lnTo>
                    <a:pt x="209" y="19"/>
                  </a:lnTo>
                  <a:lnTo>
                    <a:pt x="209" y="17"/>
                  </a:lnTo>
                  <a:lnTo>
                    <a:pt x="211" y="13"/>
                  </a:lnTo>
                  <a:lnTo>
                    <a:pt x="211" y="10"/>
                  </a:lnTo>
                  <a:lnTo>
                    <a:pt x="211" y="10"/>
                  </a:lnTo>
                  <a:lnTo>
                    <a:pt x="215" y="6"/>
                  </a:lnTo>
                  <a:lnTo>
                    <a:pt x="215" y="6"/>
                  </a:lnTo>
                  <a:lnTo>
                    <a:pt x="219" y="4"/>
                  </a:lnTo>
                  <a:lnTo>
                    <a:pt x="219" y="4"/>
                  </a:lnTo>
                  <a:lnTo>
                    <a:pt x="219" y="2"/>
                  </a:lnTo>
                  <a:lnTo>
                    <a:pt x="219" y="2"/>
                  </a:lnTo>
                  <a:lnTo>
                    <a:pt x="219" y="0"/>
                  </a:lnTo>
                  <a:lnTo>
                    <a:pt x="219" y="0"/>
                  </a:lnTo>
                  <a:lnTo>
                    <a:pt x="213" y="0"/>
                  </a:lnTo>
                  <a:lnTo>
                    <a:pt x="207" y="2"/>
                  </a:lnTo>
                  <a:lnTo>
                    <a:pt x="201" y="2"/>
                  </a:lnTo>
                  <a:lnTo>
                    <a:pt x="193" y="4"/>
                  </a:lnTo>
                  <a:lnTo>
                    <a:pt x="187" y="4"/>
                  </a:lnTo>
                  <a:lnTo>
                    <a:pt x="181" y="6"/>
                  </a:lnTo>
                  <a:lnTo>
                    <a:pt x="174" y="8"/>
                  </a:lnTo>
                  <a:lnTo>
                    <a:pt x="168" y="8"/>
                  </a:lnTo>
                  <a:lnTo>
                    <a:pt x="160" y="10"/>
                  </a:lnTo>
                  <a:lnTo>
                    <a:pt x="148" y="13"/>
                  </a:lnTo>
                  <a:lnTo>
                    <a:pt x="142" y="13"/>
                  </a:lnTo>
                  <a:lnTo>
                    <a:pt x="133" y="15"/>
                  </a:lnTo>
                  <a:lnTo>
                    <a:pt x="127" y="15"/>
                  </a:lnTo>
                  <a:lnTo>
                    <a:pt x="121" y="17"/>
                  </a:lnTo>
                  <a:lnTo>
                    <a:pt x="115" y="17"/>
                  </a:lnTo>
                  <a:lnTo>
                    <a:pt x="107" y="19"/>
                  </a:lnTo>
                  <a:lnTo>
                    <a:pt x="99" y="19"/>
                  </a:lnTo>
                  <a:lnTo>
                    <a:pt x="92" y="19"/>
                  </a:lnTo>
                  <a:lnTo>
                    <a:pt x="90" y="19"/>
                  </a:lnTo>
                  <a:lnTo>
                    <a:pt x="88" y="19"/>
                  </a:lnTo>
                  <a:lnTo>
                    <a:pt x="78" y="21"/>
                  </a:lnTo>
                  <a:lnTo>
                    <a:pt x="66" y="23"/>
                  </a:lnTo>
                  <a:lnTo>
                    <a:pt x="56" y="25"/>
                  </a:lnTo>
                  <a:lnTo>
                    <a:pt x="43" y="25"/>
                  </a:lnTo>
                  <a:lnTo>
                    <a:pt x="33" y="27"/>
                  </a:lnTo>
                  <a:lnTo>
                    <a:pt x="23" y="29"/>
                  </a:lnTo>
                  <a:lnTo>
                    <a:pt x="11" y="29"/>
                  </a:lnTo>
                  <a:lnTo>
                    <a:pt x="0" y="31"/>
                  </a:lnTo>
                  <a:lnTo>
                    <a:pt x="0" y="31"/>
                  </a:lnTo>
                  <a:lnTo>
                    <a:pt x="0" y="33"/>
                  </a:lnTo>
                  <a:lnTo>
                    <a:pt x="2" y="37"/>
                  </a:lnTo>
                  <a:lnTo>
                    <a:pt x="2" y="41"/>
                  </a:lnTo>
                  <a:lnTo>
                    <a:pt x="4" y="45"/>
                  </a:lnTo>
                  <a:lnTo>
                    <a:pt x="6" y="51"/>
                  </a:lnTo>
                  <a:lnTo>
                    <a:pt x="8" y="58"/>
                  </a:lnTo>
                  <a:lnTo>
                    <a:pt x="11" y="64"/>
                  </a:lnTo>
                  <a:lnTo>
                    <a:pt x="13" y="72"/>
                  </a:lnTo>
                  <a:lnTo>
                    <a:pt x="15" y="80"/>
                  </a:lnTo>
                  <a:lnTo>
                    <a:pt x="19" y="88"/>
                  </a:lnTo>
                  <a:lnTo>
                    <a:pt x="21" y="99"/>
                  </a:lnTo>
                  <a:lnTo>
                    <a:pt x="23" y="107"/>
                  </a:lnTo>
                  <a:lnTo>
                    <a:pt x="27" y="117"/>
                  </a:lnTo>
                  <a:lnTo>
                    <a:pt x="29" y="127"/>
                  </a:lnTo>
                  <a:lnTo>
                    <a:pt x="33" y="138"/>
                  </a:lnTo>
                  <a:lnTo>
                    <a:pt x="35" y="146"/>
                  </a:lnTo>
                  <a:lnTo>
                    <a:pt x="39" y="156"/>
                  </a:lnTo>
                  <a:lnTo>
                    <a:pt x="41" y="166"/>
                  </a:lnTo>
                  <a:lnTo>
                    <a:pt x="45" y="174"/>
                  </a:lnTo>
                  <a:lnTo>
                    <a:pt x="47" y="185"/>
                  </a:lnTo>
                  <a:lnTo>
                    <a:pt x="49" y="193"/>
                  </a:lnTo>
                  <a:lnTo>
                    <a:pt x="54" y="201"/>
                  </a:lnTo>
                  <a:lnTo>
                    <a:pt x="56" y="209"/>
                  </a:lnTo>
                  <a:lnTo>
                    <a:pt x="58" y="215"/>
                  </a:lnTo>
                  <a:lnTo>
                    <a:pt x="60" y="222"/>
                  </a:lnTo>
                  <a:lnTo>
                    <a:pt x="62" y="228"/>
                  </a:lnTo>
                  <a:lnTo>
                    <a:pt x="62" y="234"/>
                  </a:lnTo>
                  <a:lnTo>
                    <a:pt x="64" y="236"/>
                  </a:lnTo>
                  <a:lnTo>
                    <a:pt x="66" y="240"/>
                  </a:lnTo>
                  <a:lnTo>
                    <a:pt x="66" y="242"/>
                  </a:lnTo>
                  <a:lnTo>
                    <a:pt x="66" y="242"/>
                  </a:lnTo>
                  <a:lnTo>
                    <a:pt x="66" y="246"/>
                  </a:lnTo>
                  <a:lnTo>
                    <a:pt x="66" y="246"/>
                  </a:lnTo>
                  <a:lnTo>
                    <a:pt x="70" y="254"/>
                  </a:lnTo>
                  <a:lnTo>
                    <a:pt x="70" y="258"/>
                  </a:lnTo>
                  <a:lnTo>
                    <a:pt x="72" y="258"/>
                  </a:lnTo>
                  <a:lnTo>
                    <a:pt x="72" y="258"/>
                  </a:lnTo>
                  <a:lnTo>
                    <a:pt x="72" y="261"/>
                  </a:lnTo>
                  <a:lnTo>
                    <a:pt x="72" y="261"/>
                  </a:lnTo>
                  <a:lnTo>
                    <a:pt x="74" y="263"/>
                  </a:lnTo>
                  <a:lnTo>
                    <a:pt x="76" y="263"/>
                  </a:lnTo>
                  <a:lnTo>
                    <a:pt x="74" y="265"/>
                  </a:lnTo>
                  <a:lnTo>
                    <a:pt x="76" y="265"/>
                  </a:lnTo>
                  <a:lnTo>
                    <a:pt x="76" y="267"/>
                  </a:lnTo>
                  <a:lnTo>
                    <a:pt x="76" y="267"/>
                  </a:lnTo>
                  <a:lnTo>
                    <a:pt x="78" y="271"/>
                  </a:lnTo>
                  <a:lnTo>
                    <a:pt x="80" y="273"/>
                  </a:lnTo>
                  <a:lnTo>
                    <a:pt x="80" y="275"/>
                  </a:lnTo>
                  <a:lnTo>
                    <a:pt x="80" y="277"/>
                  </a:lnTo>
                  <a:lnTo>
                    <a:pt x="80" y="277"/>
                  </a:lnTo>
                  <a:lnTo>
                    <a:pt x="82" y="277"/>
                  </a:lnTo>
                  <a:lnTo>
                    <a:pt x="82" y="279"/>
                  </a:lnTo>
                  <a:lnTo>
                    <a:pt x="82" y="279"/>
                  </a:lnTo>
                  <a:lnTo>
                    <a:pt x="88" y="287"/>
                  </a:lnTo>
                  <a:lnTo>
                    <a:pt x="90" y="289"/>
                  </a:lnTo>
                  <a:lnTo>
                    <a:pt x="90" y="289"/>
                  </a:lnTo>
                  <a:lnTo>
                    <a:pt x="92" y="293"/>
                  </a:lnTo>
                  <a:lnTo>
                    <a:pt x="92" y="295"/>
                  </a:lnTo>
                  <a:lnTo>
                    <a:pt x="94" y="297"/>
                  </a:lnTo>
                  <a:lnTo>
                    <a:pt x="94" y="297"/>
                  </a:lnTo>
                  <a:lnTo>
                    <a:pt x="94" y="299"/>
                  </a:lnTo>
                  <a:lnTo>
                    <a:pt x="94" y="299"/>
                  </a:lnTo>
                  <a:lnTo>
                    <a:pt x="94" y="299"/>
                  </a:lnTo>
                  <a:lnTo>
                    <a:pt x="94" y="299"/>
                  </a:lnTo>
                  <a:lnTo>
                    <a:pt x="94" y="302"/>
                  </a:lnTo>
                  <a:lnTo>
                    <a:pt x="94" y="302"/>
                  </a:lnTo>
                  <a:lnTo>
                    <a:pt x="94" y="304"/>
                  </a:lnTo>
                  <a:lnTo>
                    <a:pt x="94" y="304"/>
                  </a:lnTo>
                  <a:lnTo>
                    <a:pt x="94" y="308"/>
                  </a:lnTo>
                  <a:lnTo>
                    <a:pt x="94" y="308"/>
                  </a:lnTo>
                  <a:lnTo>
                    <a:pt x="97" y="310"/>
                  </a:lnTo>
                  <a:lnTo>
                    <a:pt x="101" y="312"/>
                  </a:lnTo>
                  <a:lnTo>
                    <a:pt x="103" y="312"/>
                  </a:lnTo>
                  <a:lnTo>
                    <a:pt x="103" y="314"/>
                  </a:lnTo>
                  <a:lnTo>
                    <a:pt x="103" y="314"/>
                  </a:lnTo>
                  <a:lnTo>
                    <a:pt x="103" y="314"/>
                  </a:lnTo>
                  <a:lnTo>
                    <a:pt x="105" y="314"/>
                  </a:lnTo>
                  <a:lnTo>
                    <a:pt x="103" y="316"/>
                  </a:lnTo>
                  <a:lnTo>
                    <a:pt x="103" y="316"/>
                  </a:lnTo>
                  <a:lnTo>
                    <a:pt x="103" y="316"/>
                  </a:lnTo>
                  <a:lnTo>
                    <a:pt x="101" y="316"/>
                  </a:lnTo>
                  <a:lnTo>
                    <a:pt x="103" y="318"/>
                  </a:lnTo>
                  <a:lnTo>
                    <a:pt x="103" y="320"/>
                  </a:lnTo>
                  <a:lnTo>
                    <a:pt x="101" y="320"/>
                  </a:lnTo>
                  <a:lnTo>
                    <a:pt x="101" y="320"/>
                  </a:lnTo>
                  <a:lnTo>
                    <a:pt x="99" y="320"/>
                  </a:lnTo>
                  <a:lnTo>
                    <a:pt x="99" y="320"/>
                  </a:lnTo>
                  <a:lnTo>
                    <a:pt x="99" y="322"/>
                  </a:lnTo>
                  <a:lnTo>
                    <a:pt x="99" y="322"/>
                  </a:lnTo>
                  <a:lnTo>
                    <a:pt x="99" y="324"/>
                  </a:lnTo>
                  <a:lnTo>
                    <a:pt x="97" y="324"/>
                  </a:lnTo>
                  <a:lnTo>
                    <a:pt x="94" y="324"/>
                  </a:lnTo>
                  <a:lnTo>
                    <a:pt x="94" y="326"/>
                  </a:lnTo>
                  <a:lnTo>
                    <a:pt x="94" y="326"/>
                  </a:lnTo>
                  <a:lnTo>
                    <a:pt x="92" y="326"/>
                  </a:lnTo>
                  <a:lnTo>
                    <a:pt x="92" y="330"/>
                  </a:lnTo>
                  <a:lnTo>
                    <a:pt x="92" y="332"/>
                  </a:lnTo>
                  <a:lnTo>
                    <a:pt x="92" y="334"/>
                  </a:lnTo>
                  <a:lnTo>
                    <a:pt x="92" y="336"/>
                  </a:lnTo>
                  <a:lnTo>
                    <a:pt x="92" y="338"/>
                  </a:lnTo>
                  <a:lnTo>
                    <a:pt x="92" y="340"/>
                  </a:lnTo>
                  <a:lnTo>
                    <a:pt x="92" y="342"/>
                  </a:lnTo>
                  <a:lnTo>
                    <a:pt x="92" y="345"/>
                  </a:lnTo>
                  <a:lnTo>
                    <a:pt x="92" y="345"/>
                  </a:lnTo>
                  <a:lnTo>
                    <a:pt x="92" y="347"/>
                  </a:lnTo>
                  <a:lnTo>
                    <a:pt x="92" y="349"/>
                  </a:lnTo>
                  <a:lnTo>
                    <a:pt x="90" y="353"/>
                  </a:lnTo>
                  <a:lnTo>
                    <a:pt x="88" y="357"/>
                  </a:lnTo>
                  <a:lnTo>
                    <a:pt x="88" y="361"/>
                  </a:lnTo>
                  <a:lnTo>
                    <a:pt x="88" y="361"/>
                  </a:lnTo>
                  <a:lnTo>
                    <a:pt x="88" y="363"/>
                  </a:lnTo>
                  <a:lnTo>
                    <a:pt x="88" y="363"/>
                  </a:lnTo>
                  <a:lnTo>
                    <a:pt x="88" y="365"/>
                  </a:lnTo>
                  <a:lnTo>
                    <a:pt x="88" y="367"/>
                  </a:lnTo>
                  <a:lnTo>
                    <a:pt x="92" y="379"/>
                  </a:lnTo>
                  <a:lnTo>
                    <a:pt x="94" y="381"/>
                  </a:lnTo>
                  <a:lnTo>
                    <a:pt x="99" y="386"/>
                  </a:lnTo>
                  <a:lnTo>
                    <a:pt x="99" y="386"/>
                  </a:lnTo>
                  <a:lnTo>
                    <a:pt x="99" y="388"/>
                  </a:lnTo>
                  <a:lnTo>
                    <a:pt x="99" y="392"/>
                  </a:lnTo>
                  <a:lnTo>
                    <a:pt x="101" y="392"/>
                  </a:lnTo>
                  <a:lnTo>
                    <a:pt x="101" y="394"/>
                  </a:lnTo>
                  <a:lnTo>
                    <a:pt x="101" y="396"/>
                  </a:lnTo>
                  <a:lnTo>
                    <a:pt x="101" y="398"/>
                  </a:lnTo>
                  <a:lnTo>
                    <a:pt x="101" y="400"/>
                  </a:lnTo>
                  <a:lnTo>
                    <a:pt x="101" y="402"/>
                  </a:lnTo>
                  <a:lnTo>
                    <a:pt x="101" y="404"/>
                  </a:lnTo>
                  <a:lnTo>
                    <a:pt x="101" y="408"/>
                  </a:lnTo>
                  <a:lnTo>
                    <a:pt x="101" y="412"/>
                  </a:lnTo>
                  <a:lnTo>
                    <a:pt x="101" y="420"/>
                  </a:lnTo>
                  <a:lnTo>
                    <a:pt x="101" y="420"/>
                  </a:lnTo>
                  <a:lnTo>
                    <a:pt x="99" y="422"/>
                  </a:lnTo>
                  <a:lnTo>
                    <a:pt x="99" y="424"/>
                  </a:lnTo>
                  <a:lnTo>
                    <a:pt x="99" y="424"/>
                  </a:lnTo>
                  <a:lnTo>
                    <a:pt x="101" y="427"/>
                  </a:lnTo>
                  <a:lnTo>
                    <a:pt x="101" y="429"/>
                  </a:lnTo>
                  <a:lnTo>
                    <a:pt x="101" y="433"/>
                  </a:lnTo>
                  <a:lnTo>
                    <a:pt x="101" y="433"/>
                  </a:lnTo>
                  <a:lnTo>
                    <a:pt x="103" y="435"/>
                  </a:lnTo>
                  <a:lnTo>
                    <a:pt x="105" y="435"/>
                  </a:lnTo>
                  <a:lnTo>
                    <a:pt x="107" y="439"/>
                  </a:lnTo>
                  <a:lnTo>
                    <a:pt x="111" y="443"/>
                  </a:lnTo>
                  <a:lnTo>
                    <a:pt x="113" y="447"/>
                  </a:lnTo>
                  <a:lnTo>
                    <a:pt x="113" y="449"/>
                  </a:lnTo>
                  <a:lnTo>
                    <a:pt x="113" y="449"/>
                  </a:lnTo>
                  <a:lnTo>
                    <a:pt x="113" y="451"/>
                  </a:lnTo>
                  <a:lnTo>
                    <a:pt x="113" y="451"/>
                  </a:lnTo>
                  <a:lnTo>
                    <a:pt x="113" y="451"/>
                  </a:lnTo>
                  <a:lnTo>
                    <a:pt x="113" y="453"/>
                  </a:lnTo>
                  <a:lnTo>
                    <a:pt x="113" y="453"/>
                  </a:lnTo>
                  <a:lnTo>
                    <a:pt x="113" y="453"/>
                  </a:lnTo>
                  <a:lnTo>
                    <a:pt x="115" y="455"/>
                  </a:lnTo>
                  <a:lnTo>
                    <a:pt x="115" y="455"/>
                  </a:lnTo>
                  <a:lnTo>
                    <a:pt x="117" y="457"/>
                  </a:lnTo>
                  <a:lnTo>
                    <a:pt x="117" y="459"/>
                  </a:lnTo>
                  <a:lnTo>
                    <a:pt x="119" y="459"/>
                  </a:lnTo>
                  <a:lnTo>
                    <a:pt x="119" y="463"/>
                  </a:lnTo>
                  <a:lnTo>
                    <a:pt x="121" y="465"/>
                  </a:lnTo>
                  <a:lnTo>
                    <a:pt x="121" y="470"/>
                  </a:lnTo>
                  <a:lnTo>
                    <a:pt x="123" y="476"/>
                  </a:lnTo>
                  <a:lnTo>
                    <a:pt x="129" y="480"/>
                  </a:lnTo>
                  <a:lnTo>
                    <a:pt x="129" y="480"/>
                  </a:lnTo>
                  <a:lnTo>
                    <a:pt x="131" y="480"/>
                  </a:lnTo>
                  <a:lnTo>
                    <a:pt x="133" y="480"/>
                  </a:lnTo>
                  <a:lnTo>
                    <a:pt x="135" y="480"/>
                  </a:lnTo>
                  <a:lnTo>
                    <a:pt x="138" y="480"/>
                  </a:lnTo>
                  <a:lnTo>
                    <a:pt x="142" y="480"/>
                  </a:lnTo>
                  <a:lnTo>
                    <a:pt x="146" y="480"/>
                  </a:lnTo>
                  <a:lnTo>
                    <a:pt x="152" y="478"/>
                  </a:lnTo>
                  <a:lnTo>
                    <a:pt x="158" y="478"/>
                  </a:lnTo>
                  <a:lnTo>
                    <a:pt x="164" y="478"/>
                  </a:lnTo>
                  <a:lnTo>
                    <a:pt x="172" y="478"/>
                  </a:lnTo>
                  <a:lnTo>
                    <a:pt x="181" y="476"/>
                  </a:lnTo>
                  <a:lnTo>
                    <a:pt x="191" y="476"/>
                  </a:lnTo>
                  <a:lnTo>
                    <a:pt x="199" y="476"/>
                  </a:lnTo>
                  <a:lnTo>
                    <a:pt x="209" y="474"/>
                  </a:lnTo>
                  <a:lnTo>
                    <a:pt x="219" y="474"/>
                  </a:lnTo>
                  <a:lnTo>
                    <a:pt x="230" y="474"/>
                  </a:lnTo>
                  <a:lnTo>
                    <a:pt x="240" y="472"/>
                  </a:lnTo>
                  <a:lnTo>
                    <a:pt x="250" y="472"/>
                  </a:lnTo>
                  <a:lnTo>
                    <a:pt x="260" y="470"/>
                  </a:lnTo>
                  <a:lnTo>
                    <a:pt x="271" y="470"/>
                  </a:lnTo>
                  <a:lnTo>
                    <a:pt x="281" y="467"/>
                  </a:lnTo>
                  <a:lnTo>
                    <a:pt x="291" y="467"/>
                  </a:lnTo>
                  <a:lnTo>
                    <a:pt x="301" y="467"/>
                  </a:lnTo>
                  <a:lnTo>
                    <a:pt x="310" y="465"/>
                  </a:lnTo>
                  <a:lnTo>
                    <a:pt x="320" y="465"/>
                  </a:lnTo>
                  <a:lnTo>
                    <a:pt x="328" y="465"/>
                  </a:lnTo>
                  <a:lnTo>
                    <a:pt x="336" y="463"/>
                  </a:lnTo>
                  <a:lnTo>
                    <a:pt x="344" y="463"/>
                  </a:lnTo>
                  <a:lnTo>
                    <a:pt x="350" y="463"/>
                  </a:lnTo>
                  <a:lnTo>
                    <a:pt x="357" y="461"/>
                  </a:lnTo>
                  <a:lnTo>
                    <a:pt x="361" y="461"/>
                  </a:lnTo>
                  <a:lnTo>
                    <a:pt x="367" y="461"/>
                  </a:lnTo>
                  <a:lnTo>
                    <a:pt x="369" y="461"/>
                  </a:lnTo>
                  <a:lnTo>
                    <a:pt x="373" y="461"/>
                  </a:lnTo>
                  <a:lnTo>
                    <a:pt x="373" y="461"/>
                  </a:lnTo>
                  <a:lnTo>
                    <a:pt x="373" y="461"/>
                  </a:lnTo>
                  <a:lnTo>
                    <a:pt x="373" y="461"/>
                  </a:lnTo>
                  <a:lnTo>
                    <a:pt x="373" y="463"/>
                  </a:lnTo>
                  <a:lnTo>
                    <a:pt x="373" y="463"/>
                  </a:lnTo>
                  <a:lnTo>
                    <a:pt x="373" y="463"/>
                  </a:lnTo>
                  <a:lnTo>
                    <a:pt x="373" y="463"/>
                  </a:lnTo>
                  <a:lnTo>
                    <a:pt x="373" y="463"/>
                  </a:lnTo>
                  <a:lnTo>
                    <a:pt x="377" y="467"/>
                  </a:lnTo>
                  <a:lnTo>
                    <a:pt x="377" y="467"/>
                  </a:lnTo>
                  <a:lnTo>
                    <a:pt x="377" y="467"/>
                  </a:lnTo>
                  <a:lnTo>
                    <a:pt x="377" y="470"/>
                  </a:lnTo>
                  <a:lnTo>
                    <a:pt x="377" y="470"/>
                  </a:lnTo>
                  <a:lnTo>
                    <a:pt x="377" y="470"/>
                  </a:lnTo>
                  <a:lnTo>
                    <a:pt x="377" y="470"/>
                  </a:lnTo>
                  <a:lnTo>
                    <a:pt x="377" y="472"/>
                  </a:lnTo>
                  <a:lnTo>
                    <a:pt x="377" y="474"/>
                  </a:lnTo>
                  <a:lnTo>
                    <a:pt x="377" y="474"/>
                  </a:lnTo>
                  <a:lnTo>
                    <a:pt x="377" y="474"/>
                  </a:lnTo>
                  <a:lnTo>
                    <a:pt x="379" y="476"/>
                  </a:lnTo>
                  <a:lnTo>
                    <a:pt x="381" y="480"/>
                  </a:lnTo>
                  <a:lnTo>
                    <a:pt x="381" y="480"/>
                  </a:lnTo>
                  <a:lnTo>
                    <a:pt x="381" y="480"/>
                  </a:lnTo>
                  <a:lnTo>
                    <a:pt x="381" y="480"/>
                  </a:lnTo>
                  <a:lnTo>
                    <a:pt x="383" y="480"/>
                  </a:lnTo>
                  <a:lnTo>
                    <a:pt x="383" y="480"/>
                  </a:lnTo>
                  <a:lnTo>
                    <a:pt x="387" y="480"/>
                  </a:lnTo>
                  <a:lnTo>
                    <a:pt x="387" y="480"/>
                  </a:lnTo>
                  <a:lnTo>
                    <a:pt x="389" y="480"/>
                  </a:lnTo>
                  <a:lnTo>
                    <a:pt x="391" y="480"/>
                  </a:lnTo>
                  <a:lnTo>
                    <a:pt x="391" y="480"/>
                  </a:lnTo>
                  <a:lnTo>
                    <a:pt x="394" y="478"/>
                  </a:lnTo>
                  <a:lnTo>
                    <a:pt x="394" y="478"/>
                  </a:lnTo>
                  <a:lnTo>
                    <a:pt x="394" y="478"/>
                  </a:lnTo>
                  <a:lnTo>
                    <a:pt x="394" y="478"/>
                  </a:lnTo>
                  <a:lnTo>
                    <a:pt x="394" y="476"/>
                  </a:lnTo>
                  <a:lnTo>
                    <a:pt x="394" y="474"/>
                  </a:lnTo>
                  <a:lnTo>
                    <a:pt x="394" y="472"/>
                  </a:lnTo>
                  <a:lnTo>
                    <a:pt x="394" y="472"/>
                  </a:lnTo>
                  <a:lnTo>
                    <a:pt x="394" y="463"/>
                  </a:lnTo>
                  <a:lnTo>
                    <a:pt x="394" y="457"/>
                  </a:lnTo>
                  <a:lnTo>
                    <a:pt x="394" y="455"/>
                  </a:lnTo>
                  <a:lnTo>
                    <a:pt x="394" y="455"/>
                  </a:lnTo>
                  <a:lnTo>
                    <a:pt x="394" y="453"/>
                  </a:lnTo>
                  <a:lnTo>
                    <a:pt x="394" y="453"/>
                  </a:lnTo>
                  <a:lnTo>
                    <a:pt x="391" y="451"/>
                  </a:lnTo>
                  <a:lnTo>
                    <a:pt x="389" y="451"/>
                  </a:lnTo>
                  <a:lnTo>
                    <a:pt x="389" y="449"/>
                  </a:lnTo>
                  <a:lnTo>
                    <a:pt x="389" y="449"/>
                  </a:lnTo>
                  <a:lnTo>
                    <a:pt x="389" y="447"/>
                  </a:lnTo>
                  <a:lnTo>
                    <a:pt x="389" y="447"/>
                  </a:lnTo>
                  <a:lnTo>
                    <a:pt x="389" y="445"/>
                  </a:lnTo>
                  <a:lnTo>
                    <a:pt x="389" y="443"/>
                  </a:lnTo>
                  <a:lnTo>
                    <a:pt x="389" y="443"/>
                  </a:lnTo>
                  <a:lnTo>
                    <a:pt x="389" y="441"/>
                  </a:lnTo>
                  <a:lnTo>
                    <a:pt x="389" y="439"/>
                  </a:lnTo>
                  <a:lnTo>
                    <a:pt x="389" y="439"/>
                  </a:lnTo>
                  <a:lnTo>
                    <a:pt x="389" y="439"/>
                  </a:lnTo>
                  <a:lnTo>
                    <a:pt x="389" y="437"/>
                  </a:lnTo>
                  <a:lnTo>
                    <a:pt x="389" y="437"/>
                  </a:lnTo>
                  <a:lnTo>
                    <a:pt x="389" y="437"/>
                  </a:lnTo>
                  <a:lnTo>
                    <a:pt x="389" y="435"/>
                  </a:lnTo>
                  <a:lnTo>
                    <a:pt x="389" y="435"/>
                  </a:lnTo>
                  <a:lnTo>
                    <a:pt x="389" y="435"/>
                  </a:lnTo>
                  <a:lnTo>
                    <a:pt x="391" y="433"/>
                  </a:lnTo>
                  <a:lnTo>
                    <a:pt x="391" y="433"/>
                  </a:lnTo>
                  <a:lnTo>
                    <a:pt x="391" y="433"/>
                  </a:lnTo>
                  <a:lnTo>
                    <a:pt x="394" y="433"/>
                  </a:lnTo>
                  <a:lnTo>
                    <a:pt x="394" y="433"/>
                  </a:lnTo>
                  <a:lnTo>
                    <a:pt x="394" y="433"/>
                  </a:lnTo>
                  <a:lnTo>
                    <a:pt x="394" y="433"/>
                  </a:lnTo>
                  <a:lnTo>
                    <a:pt x="394" y="431"/>
                  </a:lnTo>
                  <a:lnTo>
                    <a:pt x="394" y="431"/>
                  </a:lnTo>
                  <a:lnTo>
                    <a:pt x="394" y="431"/>
                  </a:lnTo>
                  <a:lnTo>
                    <a:pt x="394" y="431"/>
                  </a:lnTo>
                  <a:lnTo>
                    <a:pt x="394" y="429"/>
                  </a:lnTo>
                  <a:lnTo>
                    <a:pt x="396" y="429"/>
                  </a:lnTo>
                  <a:lnTo>
                    <a:pt x="396" y="429"/>
                  </a:lnTo>
                  <a:lnTo>
                    <a:pt x="398" y="429"/>
                  </a:lnTo>
                  <a:lnTo>
                    <a:pt x="398" y="429"/>
                  </a:lnTo>
                  <a:lnTo>
                    <a:pt x="398" y="429"/>
                  </a:lnTo>
                  <a:lnTo>
                    <a:pt x="400" y="429"/>
                  </a:lnTo>
                  <a:lnTo>
                    <a:pt x="400" y="429"/>
                  </a:lnTo>
                  <a:lnTo>
                    <a:pt x="402" y="429"/>
                  </a:lnTo>
                  <a:lnTo>
                    <a:pt x="404" y="431"/>
                  </a:lnTo>
                  <a:lnTo>
                    <a:pt x="412" y="433"/>
                  </a:lnTo>
                  <a:lnTo>
                    <a:pt x="412" y="433"/>
                  </a:lnTo>
                  <a:lnTo>
                    <a:pt x="414" y="433"/>
                  </a:lnTo>
                  <a:lnTo>
                    <a:pt x="414" y="433"/>
                  </a:lnTo>
                  <a:lnTo>
                    <a:pt x="416" y="433"/>
                  </a:lnTo>
                  <a:lnTo>
                    <a:pt x="416" y="433"/>
                  </a:lnTo>
                  <a:lnTo>
                    <a:pt x="418" y="433"/>
                  </a:lnTo>
                  <a:lnTo>
                    <a:pt x="418" y="433"/>
                  </a:lnTo>
                  <a:lnTo>
                    <a:pt x="424" y="435"/>
                  </a:lnTo>
                  <a:lnTo>
                    <a:pt x="424" y="435"/>
                  </a:lnTo>
                  <a:lnTo>
                    <a:pt x="426" y="435"/>
                  </a:lnTo>
                  <a:lnTo>
                    <a:pt x="426" y="435"/>
                  </a:lnTo>
                  <a:lnTo>
                    <a:pt x="428" y="435"/>
                  </a:lnTo>
                  <a:lnTo>
                    <a:pt x="428" y="435"/>
                  </a:lnTo>
                  <a:lnTo>
                    <a:pt x="432" y="435"/>
                  </a:lnTo>
                  <a:lnTo>
                    <a:pt x="432" y="435"/>
                  </a:lnTo>
                  <a:lnTo>
                    <a:pt x="437" y="433"/>
                  </a:lnTo>
                  <a:lnTo>
                    <a:pt x="439" y="433"/>
                  </a:lnTo>
                  <a:lnTo>
                    <a:pt x="439" y="433"/>
                  </a:lnTo>
                  <a:lnTo>
                    <a:pt x="439" y="433"/>
                  </a:lnTo>
                  <a:lnTo>
                    <a:pt x="439" y="429"/>
                  </a:lnTo>
                  <a:lnTo>
                    <a:pt x="439" y="427"/>
                  </a:lnTo>
                  <a:lnTo>
                    <a:pt x="437" y="427"/>
                  </a:lnTo>
                  <a:lnTo>
                    <a:pt x="437" y="424"/>
                  </a:lnTo>
                  <a:lnTo>
                    <a:pt x="437" y="424"/>
                  </a:lnTo>
                  <a:lnTo>
                    <a:pt x="434" y="422"/>
                  </a:lnTo>
                  <a:lnTo>
                    <a:pt x="434" y="420"/>
                  </a:lnTo>
                  <a:lnTo>
                    <a:pt x="434" y="420"/>
                  </a:lnTo>
                  <a:lnTo>
                    <a:pt x="432" y="420"/>
                  </a:lnTo>
                  <a:lnTo>
                    <a:pt x="432" y="418"/>
                  </a:lnTo>
                  <a:lnTo>
                    <a:pt x="434" y="418"/>
                  </a:lnTo>
                  <a:lnTo>
                    <a:pt x="434" y="418"/>
                  </a:lnTo>
                  <a:lnTo>
                    <a:pt x="437" y="418"/>
                  </a:lnTo>
                  <a:lnTo>
                    <a:pt x="437" y="418"/>
                  </a:lnTo>
                  <a:lnTo>
                    <a:pt x="437" y="418"/>
                  </a:lnTo>
                  <a:lnTo>
                    <a:pt x="437" y="416"/>
                  </a:lnTo>
                  <a:lnTo>
                    <a:pt x="434" y="416"/>
                  </a:lnTo>
                  <a:lnTo>
                    <a:pt x="434" y="416"/>
                  </a:lnTo>
                  <a:lnTo>
                    <a:pt x="434" y="414"/>
                  </a:lnTo>
                  <a:lnTo>
                    <a:pt x="434" y="414"/>
                  </a:lnTo>
                  <a:lnTo>
                    <a:pt x="434" y="412"/>
                  </a:lnTo>
                  <a:lnTo>
                    <a:pt x="434" y="412"/>
                  </a:lnTo>
                  <a:lnTo>
                    <a:pt x="439" y="408"/>
                  </a:lnTo>
                  <a:lnTo>
                    <a:pt x="439" y="406"/>
                  </a:lnTo>
                  <a:lnTo>
                    <a:pt x="437" y="406"/>
                  </a:lnTo>
                  <a:lnTo>
                    <a:pt x="434" y="406"/>
                  </a:lnTo>
                  <a:lnTo>
                    <a:pt x="432" y="406"/>
                  </a:lnTo>
                  <a:lnTo>
                    <a:pt x="432" y="404"/>
                  </a:lnTo>
                  <a:lnTo>
                    <a:pt x="437" y="404"/>
                  </a:lnTo>
                  <a:lnTo>
                    <a:pt x="437" y="402"/>
                  </a:lnTo>
                  <a:lnTo>
                    <a:pt x="437" y="400"/>
                  </a:lnTo>
                  <a:lnTo>
                    <a:pt x="437" y="398"/>
                  </a:lnTo>
                  <a:lnTo>
                    <a:pt x="432" y="396"/>
                  </a:lnTo>
                  <a:lnTo>
                    <a:pt x="430" y="394"/>
                  </a:lnTo>
                  <a:lnTo>
                    <a:pt x="432" y="394"/>
                  </a:lnTo>
                  <a:lnTo>
                    <a:pt x="434" y="396"/>
                  </a:lnTo>
                  <a:lnTo>
                    <a:pt x="439" y="398"/>
                  </a:lnTo>
                  <a:lnTo>
                    <a:pt x="439" y="400"/>
                  </a:lnTo>
                  <a:lnTo>
                    <a:pt x="441" y="400"/>
                  </a:lnTo>
                  <a:lnTo>
                    <a:pt x="441" y="392"/>
                  </a:lnTo>
                  <a:lnTo>
                    <a:pt x="441" y="388"/>
                  </a:lnTo>
                  <a:lnTo>
                    <a:pt x="439" y="390"/>
                  </a:lnTo>
                  <a:lnTo>
                    <a:pt x="439" y="392"/>
                  </a:lnTo>
                  <a:lnTo>
                    <a:pt x="439" y="394"/>
                  </a:lnTo>
                  <a:lnTo>
                    <a:pt x="437" y="394"/>
                  </a:lnTo>
                  <a:lnTo>
                    <a:pt x="434" y="392"/>
                  </a:lnTo>
                  <a:lnTo>
                    <a:pt x="432" y="390"/>
                  </a:lnTo>
                  <a:lnTo>
                    <a:pt x="432" y="390"/>
                  </a:lnTo>
                  <a:lnTo>
                    <a:pt x="432" y="388"/>
                  </a:lnTo>
                  <a:lnTo>
                    <a:pt x="437" y="390"/>
                  </a:lnTo>
                  <a:lnTo>
                    <a:pt x="437" y="388"/>
                  </a:lnTo>
                  <a:lnTo>
                    <a:pt x="434" y="386"/>
                  </a:lnTo>
                  <a:lnTo>
                    <a:pt x="434" y="381"/>
                  </a:lnTo>
                  <a:lnTo>
                    <a:pt x="434" y="379"/>
                  </a:lnTo>
                  <a:lnTo>
                    <a:pt x="434" y="379"/>
                  </a:lnTo>
                  <a:lnTo>
                    <a:pt x="437" y="377"/>
                  </a:lnTo>
                  <a:lnTo>
                    <a:pt x="437" y="379"/>
                  </a:lnTo>
                  <a:lnTo>
                    <a:pt x="439" y="386"/>
                  </a:lnTo>
                  <a:lnTo>
                    <a:pt x="439" y="386"/>
                  </a:lnTo>
                  <a:lnTo>
                    <a:pt x="439" y="386"/>
                  </a:lnTo>
                  <a:lnTo>
                    <a:pt x="441" y="386"/>
                  </a:lnTo>
                  <a:lnTo>
                    <a:pt x="443" y="383"/>
                  </a:lnTo>
                  <a:lnTo>
                    <a:pt x="445" y="381"/>
                  </a:lnTo>
                  <a:lnTo>
                    <a:pt x="447" y="375"/>
                  </a:lnTo>
                  <a:lnTo>
                    <a:pt x="449" y="375"/>
                  </a:lnTo>
                  <a:lnTo>
                    <a:pt x="449" y="375"/>
                  </a:lnTo>
                  <a:lnTo>
                    <a:pt x="449" y="371"/>
                  </a:lnTo>
                  <a:lnTo>
                    <a:pt x="449" y="369"/>
                  </a:lnTo>
                  <a:lnTo>
                    <a:pt x="447" y="369"/>
                  </a:lnTo>
                  <a:lnTo>
                    <a:pt x="443" y="367"/>
                  </a:lnTo>
                  <a:lnTo>
                    <a:pt x="443" y="367"/>
                  </a:lnTo>
                  <a:lnTo>
                    <a:pt x="439" y="367"/>
                  </a:lnTo>
                  <a:lnTo>
                    <a:pt x="434" y="367"/>
                  </a:lnTo>
                  <a:lnTo>
                    <a:pt x="430" y="365"/>
                  </a:lnTo>
                  <a:lnTo>
                    <a:pt x="428" y="363"/>
                  </a:lnTo>
                  <a:lnTo>
                    <a:pt x="428" y="363"/>
                  </a:lnTo>
                  <a:lnTo>
                    <a:pt x="428" y="363"/>
                  </a:lnTo>
                  <a:lnTo>
                    <a:pt x="430" y="363"/>
                  </a:lnTo>
                  <a:lnTo>
                    <a:pt x="432" y="365"/>
                  </a:lnTo>
                  <a:lnTo>
                    <a:pt x="443" y="365"/>
                  </a:lnTo>
                  <a:lnTo>
                    <a:pt x="447" y="365"/>
                  </a:lnTo>
                  <a:lnTo>
                    <a:pt x="447" y="363"/>
                  </a:lnTo>
                  <a:lnTo>
                    <a:pt x="447" y="361"/>
                  </a:lnTo>
                  <a:lnTo>
                    <a:pt x="445" y="359"/>
                  </a:lnTo>
                  <a:lnTo>
                    <a:pt x="443" y="357"/>
                  </a:lnTo>
                  <a:lnTo>
                    <a:pt x="441" y="355"/>
                  </a:lnTo>
                  <a:lnTo>
                    <a:pt x="441" y="355"/>
                  </a:lnTo>
                  <a:lnTo>
                    <a:pt x="441" y="355"/>
                  </a:lnTo>
                  <a:lnTo>
                    <a:pt x="443" y="353"/>
                  </a:lnTo>
                  <a:lnTo>
                    <a:pt x="443" y="353"/>
                  </a:lnTo>
                  <a:lnTo>
                    <a:pt x="443" y="353"/>
                  </a:lnTo>
                  <a:lnTo>
                    <a:pt x="443" y="355"/>
                  </a:lnTo>
                  <a:lnTo>
                    <a:pt x="445" y="355"/>
                  </a:lnTo>
                  <a:lnTo>
                    <a:pt x="445" y="357"/>
                  </a:lnTo>
                  <a:lnTo>
                    <a:pt x="445" y="357"/>
                  </a:lnTo>
                  <a:lnTo>
                    <a:pt x="447" y="357"/>
                  </a:lnTo>
                  <a:lnTo>
                    <a:pt x="447" y="359"/>
                  </a:lnTo>
                  <a:lnTo>
                    <a:pt x="447" y="357"/>
                  </a:lnTo>
                  <a:lnTo>
                    <a:pt x="449" y="357"/>
                  </a:lnTo>
                  <a:lnTo>
                    <a:pt x="447" y="357"/>
                  </a:lnTo>
                  <a:lnTo>
                    <a:pt x="447" y="355"/>
                  </a:lnTo>
                  <a:lnTo>
                    <a:pt x="453" y="345"/>
                  </a:lnTo>
                  <a:lnTo>
                    <a:pt x="453" y="340"/>
                  </a:lnTo>
                  <a:lnTo>
                    <a:pt x="451" y="340"/>
                  </a:lnTo>
                  <a:lnTo>
                    <a:pt x="447" y="342"/>
                  </a:lnTo>
                  <a:lnTo>
                    <a:pt x="443" y="347"/>
                  </a:lnTo>
                  <a:lnTo>
                    <a:pt x="443" y="347"/>
                  </a:lnTo>
                  <a:lnTo>
                    <a:pt x="445" y="345"/>
                  </a:lnTo>
                  <a:lnTo>
                    <a:pt x="445" y="342"/>
                  </a:lnTo>
                  <a:lnTo>
                    <a:pt x="443" y="342"/>
                  </a:lnTo>
                  <a:lnTo>
                    <a:pt x="443" y="342"/>
                  </a:lnTo>
                  <a:lnTo>
                    <a:pt x="441" y="342"/>
                  </a:lnTo>
                  <a:lnTo>
                    <a:pt x="441" y="342"/>
                  </a:lnTo>
                  <a:lnTo>
                    <a:pt x="439" y="342"/>
                  </a:lnTo>
                  <a:lnTo>
                    <a:pt x="439" y="340"/>
                  </a:lnTo>
                  <a:lnTo>
                    <a:pt x="439" y="340"/>
                  </a:lnTo>
                  <a:lnTo>
                    <a:pt x="441" y="340"/>
                  </a:lnTo>
                  <a:lnTo>
                    <a:pt x="441" y="338"/>
                  </a:lnTo>
                  <a:lnTo>
                    <a:pt x="443" y="338"/>
                  </a:lnTo>
                  <a:lnTo>
                    <a:pt x="445" y="338"/>
                  </a:lnTo>
                  <a:lnTo>
                    <a:pt x="447" y="338"/>
                  </a:lnTo>
                  <a:lnTo>
                    <a:pt x="449" y="338"/>
                  </a:lnTo>
                  <a:lnTo>
                    <a:pt x="451" y="334"/>
                  </a:lnTo>
                  <a:lnTo>
                    <a:pt x="449" y="334"/>
                  </a:lnTo>
                  <a:lnTo>
                    <a:pt x="447" y="332"/>
                  </a:lnTo>
                  <a:lnTo>
                    <a:pt x="445" y="330"/>
                  </a:lnTo>
                  <a:lnTo>
                    <a:pt x="447" y="330"/>
                  </a:lnTo>
                  <a:lnTo>
                    <a:pt x="449" y="330"/>
                  </a:lnTo>
                  <a:lnTo>
                    <a:pt x="451" y="332"/>
                  </a:lnTo>
                  <a:lnTo>
                    <a:pt x="451" y="332"/>
                  </a:lnTo>
                  <a:lnTo>
                    <a:pt x="453" y="336"/>
                  </a:lnTo>
                  <a:lnTo>
                    <a:pt x="453" y="338"/>
                  </a:lnTo>
                  <a:lnTo>
                    <a:pt x="453" y="336"/>
                  </a:lnTo>
                  <a:lnTo>
                    <a:pt x="455" y="336"/>
                  </a:lnTo>
                  <a:lnTo>
                    <a:pt x="455" y="328"/>
                  </a:lnTo>
                  <a:lnTo>
                    <a:pt x="455" y="326"/>
                  </a:lnTo>
                  <a:lnTo>
                    <a:pt x="455" y="324"/>
                  </a:lnTo>
                  <a:lnTo>
                    <a:pt x="453" y="322"/>
                  </a:lnTo>
                  <a:lnTo>
                    <a:pt x="451" y="324"/>
                  </a:lnTo>
                  <a:lnTo>
                    <a:pt x="451" y="324"/>
                  </a:lnTo>
                  <a:lnTo>
                    <a:pt x="453" y="326"/>
                  </a:lnTo>
                  <a:lnTo>
                    <a:pt x="453" y="326"/>
                  </a:lnTo>
                  <a:lnTo>
                    <a:pt x="447" y="328"/>
                  </a:lnTo>
                  <a:lnTo>
                    <a:pt x="445" y="328"/>
                  </a:lnTo>
                  <a:lnTo>
                    <a:pt x="449" y="324"/>
                  </a:lnTo>
                  <a:lnTo>
                    <a:pt x="449" y="322"/>
                  </a:lnTo>
                  <a:lnTo>
                    <a:pt x="445" y="320"/>
                  </a:lnTo>
                  <a:lnTo>
                    <a:pt x="443" y="320"/>
                  </a:lnTo>
                  <a:lnTo>
                    <a:pt x="441" y="320"/>
                  </a:lnTo>
                  <a:lnTo>
                    <a:pt x="441" y="318"/>
                  </a:lnTo>
                  <a:lnTo>
                    <a:pt x="441" y="318"/>
                  </a:lnTo>
                  <a:lnTo>
                    <a:pt x="443" y="318"/>
                  </a:lnTo>
                  <a:lnTo>
                    <a:pt x="443" y="318"/>
                  </a:lnTo>
                  <a:lnTo>
                    <a:pt x="445" y="318"/>
                  </a:lnTo>
                  <a:lnTo>
                    <a:pt x="447" y="320"/>
                  </a:lnTo>
                  <a:lnTo>
                    <a:pt x="451" y="320"/>
                  </a:lnTo>
                  <a:lnTo>
                    <a:pt x="455" y="318"/>
                  </a:lnTo>
                  <a:lnTo>
                    <a:pt x="455" y="318"/>
                  </a:lnTo>
                  <a:lnTo>
                    <a:pt x="457" y="316"/>
                  </a:lnTo>
                  <a:lnTo>
                    <a:pt x="459" y="312"/>
                  </a:lnTo>
                  <a:lnTo>
                    <a:pt x="459" y="310"/>
                  </a:lnTo>
                  <a:lnTo>
                    <a:pt x="459" y="308"/>
                  </a:lnTo>
                  <a:lnTo>
                    <a:pt x="459" y="308"/>
                  </a:lnTo>
                  <a:lnTo>
                    <a:pt x="459" y="308"/>
                  </a:lnTo>
                  <a:lnTo>
                    <a:pt x="455" y="306"/>
                  </a:lnTo>
                  <a:lnTo>
                    <a:pt x="455" y="306"/>
                  </a:lnTo>
                  <a:lnTo>
                    <a:pt x="451" y="306"/>
                  </a:lnTo>
                  <a:lnTo>
                    <a:pt x="451" y="306"/>
                  </a:lnTo>
                  <a:lnTo>
                    <a:pt x="455" y="304"/>
                  </a:lnTo>
                  <a:lnTo>
                    <a:pt x="455" y="302"/>
                  </a:lnTo>
                  <a:lnTo>
                    <a:pt x="453" y="302"/>
                  </a:lnTo>
                  <a:lnTo>
                    <a:pt x="451" y="299"/>
                  </a:lnTo>
                  <a:lnTo>
                    <a:pt x="453" y="299"/>
                  </a:lnTo>
                  <a:lnTo>
                    <a:pt x="453" y="299"/>
                  </a:lnTo>
                  <a:lnTo>
                    <a:pt x="455" y="299"/>
                  </a:lnTo>
                  <a:lnTo>
                    <a:pt x="455" y="302"/>
                  </a:lnTo>
                  <a:lnTo>
                    <a:pt x="455" y="302"/>
                  </a:lnTo>
                  <a:lnTo>
                    <a:pt x="457" y="302"/>
                  </a:lnTo>
                  <a:lnTo>
                    <a:pt x="461" y="302"/>
                  </a:lnTo>
                  <a:lnTo>
                    <a:pt x="463" y="304"/>
                  </a:lnTo>
                  <a:lnTo>
                    <a:pt x="465" y="304"/>
                  </a:lnTo>
                  <a:lnTo>
                    <a:pt x="467" y="302"/>
                  </a:lnTo>
                  <a:lnTo>
                    <a:pt x="469" y="297"/>
                  </a:lnTo>
                  <a:lnTo>
                    <a:pt x="467" y="297"/>
                  </a:lnTo>
                  <a:lnTo>
                    <a:pt x="465" y="295"/>
                  </a:lnTo>
                  <a:lnTo>
                    <a:pt x="465" y="293"/>
                  </a:lnTo>
                  <a:lnTo>
                    <a:pt x="465" y="293"/>
                  </a:lnTo>
                  <a:lnTo>
                    <a:pt x="465" y="291"/>
                  </a:lnTo>
                  <a:lnTo>
                    <a:pt x="465" y="291"/>
                  </a:lnTo>
                  <a:lnTo>
                    <a:pt x="467" y="289"/>
                  </a:lnTo>
                  <a:lnTo>
                    <a:pt x="467" y="289"/>
                  </a:lnTo>
                  <a:lnTo>
                    <a:pt x="467" y="289"/>
                  </a:lnTo>
                  <a:lnTo>
                    <a:pt x="469" y="291"/>
                  </a:lnTo>
                  <a:lnTo>
                    <a:pt x="469" y="291"/>
                  </a:lnTo>
                  <a:lnTo>
                    <a:pt x="469" y="293"/>
                  </a:lnTo>
                  <a:lnTo>
                    <a:pt x="473" y="289"/>
                  </a:lnTo>
                  <a:lnTo>
                    <a:pt x="475" y="285"/>
                  </a:lnTo>
                  <a:lnTo>
                    <a:pt x="473" y="283"/>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GA</a:t>
              </a:r>
            </a:p>
          </p:txBody>
        </p:sp>
        <p:sp>
          <p:nvSpPr>
            <p:cNvPr id="105" name="Freeform 46">
              <a:extLst>
                <a:ext uri="{FF2B5EF4-FFF2-40B4-BE49-F238E27FC236}">
                  <a16:creationId xmlns:a16="http://schemas.microsoft.com/office/drawing/2014/main" id="{B60048AD-5926-185C-BA4A-139514CF151B}"/>
                </a:ext>
              </a:extLst>
            </p:cNvPr>
            <p:cNvSpPr>
              <a:spLocks noEditPoints="1"/>
            </p:cNvSpPr>
            <p:nvPr/>
          </p:nvSpPr>
          <p:spPr bwMode="auto">
            <a:xfrm>
              <a:off x="3875" y="1974"/>
              <a:ext cx="807" cy="705"/>
            </a:xfrm>
            <a:custGeom>
              <a:avLst/>
              <a:gdLst>
                <a:gd name="T0" fmla="*/ 248 w 807"/>
                <a:gd name="T1" fmla="*/ 164 h 705"/>
                <a:gd name="T2" fmla="*/ 95 w 807"/>
                <a:gd name="T3" fmla="*/ 104 h 705"/>
                <a:gd name="T4" fmla="*/ 574 w 807"/>
                <a:gd name="T5" fmla="*/ 461 h 705"/>
                <a:gd name="T6" fmla="*/ 768 w 807"/>
                <a:gd name="T7" fmla="*/ 379 h 705"/>
                <a:gd name="T8" fmla="*/ 670 w 807"/>
                <a:gd name="T9" fmla="*/ 207 h 705"/>
                <a:gd name="T10" fmla="*/ 695 w 807"/>
                <a:gd name="T11" fmla="*/ 245 h 705"/>
                <a:gd name="T12" fmla="*/ 594 w 807"/>
                <a:gd name="T13" fmla="*/ 73 h 705"/>
                <a:gd name="T14" fmla="*/ 572 w 807"/>
                <a:gd name="T15" fmla="*/ 6 h 705"/>
                <a:gd name="T16" fmla="*/ 518 w 807"/>
                <a:gd name="T17" fmla="*/ 4 h 705"/>
                <a:gd name="T18" fmla="*/ 508 w 807"/>
                <a:gd name="T19" fmla="*/ 51 h 705"/>
                <a:gd name="T20" fmla="*/ 326 w 807"/>
                <a:gd name="T21" fmla="*/ 47 h 705"/>
                <a:gd name="T22" fmla="*/ 2 w 807"/>
                <a:gd name="T23" fmla="*/ 53 h 705"/>
                <a:gd name="T24" fmla="*/ 27 w 807"/>
                <a:gd name="T25" fmla="*/ 120 h 705"/>
                <a:gd name="T26" fmla="*/ 47 w 807"/>
                <a:gd name="T27" fmla="*/ 92 h 705"/>
                <a:gd name="T28" fmla="*/ 72 w 807"/>
                <a:gd name="T29" fmla="*/ 104 h 705"/>
                <a:gd name="T30" fmla="*/ 117 w 807"/>
                <a:gd name="T31" fmla="*/ 98 h 705"/>
                <a:gd name="T32" fmla="*/ 127 w 807"/>
                <a:gd name="T33" fmla="*/ 100 h 705"/>
                <a:gd name="T34" fmla="*/ 185 w 807"/>
                <a:gd name="T35" fmla="*/ 110 h 705"/>
                <a:gd name="T36" fmla="*/ 207 w 807"/>
                <a:gd name="T37" fmla="*/ 125 h 705"/>
                <a:gd name="T38" fmla="*/ 224 w 807"/>
                <a:gd name="T39" fmla="*/ 145 h 705"/>
                <a:gd name="T40" fmla="*/ 271 w 807"/>
                <a:gd name="T41" fmla="*/ 157 h 705"/>
                <a:gd name="T42" fmla="*/ 312 w 807"/>
                <a:gd name="T43" fmla="*/ 123 h 705"/>
                <a:gd name="T44" fmla="*/ 371 w 807"/>
                <a:gd name="T45" fmla="*/ 118 h 705"/>
                <a:gd name="T46" fmla="*/ 434 w 807"/>
                <a:gd name="T47" fmla="*/ 176 h 705"/>
                <a:gd name="T48" fmla="*/ 480 w 807"/>
                <a:gd name="T49" fmla="*/ 204 h 705"/>
                <a:gd name="T50" fmla="*/ 494 w 807"/>
                <a:gd name="T51" fmla="*/ 270 h 705"/>
                <a:gd name="T52" fmla="*/ 500 w 807"/>
                <a:gd name="T53" fmla="*/ 340 h 705"/>
                <a:gd name="T54" fmla="*/ 502 w 807"/>
                <a:gd name="T55" fmla="*/ 309 h 705"/>
                <a:gd name="T56" fmla="*/ 525 w 807"/>
                <a:gd name="T57" fmla="*/ 344 h 705"/>
                <a:gd name="T58" fmla="*/ 523 w 807"/>
                <a:gd name="T59" fmla="*/ 373 h 705"/>
                <a:gd name="T60" fmla="*/ 568 w 807"/>
                <a:gd name="T61" fmla="*/ 430 h 705"/>
                <a:gd name="T62" fmla="*/ 586 w 807"/>
                <a:gd name="T63" fmla="*/ 407 h 705"/>
                <a:gd name="T64" fmla="*/ 607 w 807"/>
                <a:gd name="T65" fmla="*/ 438 h 705"/>
                <a:gd name="T66" fmla="*/ 615 w 807"/>
                <a:gd name="T67" fmla="*/ 481 h 705"/>
                <a:gd name="T68" fmla="*/ 639 w 807"/>
                <a:gd name="T69" fmla="*/ 512 h 705"/>
                <a:gd name="T70" fmla="*/ 686 w 807"/>
                <a:gd name="T71" fmla="*/ 547 h 705"/>
                <a:gd name="T72" fmla="*/ 697 w 807"/>
                <a:gd name="T73" fmla="*/ 586 h 705"/>
                <a:gd name="T74" fmla="*/ 750 w 807"/>
                <a:gd name="T75" fmla="*/ 575 h 705"/>
                <a:gd name="T76" fmla="*/ 768 w 807"/>
                <a:gd name="T77" fmla="*/ 561 h 705"/>
                <a:gd name="T78" fmla="*/ 682 w 807"/>
                <a:gd name="T79" fmla="*/ 217 h 705"/>
                <a:gd name="T80" fmla="*/ 738 w 807"/>
                <a:gd name="T81" fmla="*/ 334 h 705"/>
                <a:gd name="T82" fmla="*/ 799 w 807"/>
                <a:gd name="T83" fmla="*/ 698 h 705"/>
                <a:gd name="T84" fmla="*/ 490 w 807"/>
                <a:gd name="T85" fmla="*/ 233 h 705"/>
                <a:gd name="T86" fmla="*/ 486 w 807"/>
                <a:gd name="T87" fmla="*/ 219 h 705"/>
                <a:gd name="T88" fmla="*/ 473 w 807"/>
                <a:gd name="T89" fmla="*/ 194 h 705"/>
                <a:gd name="T90" fmla="*/ 647 w 807"/>
                <a:gd name="T91" fmla="*/ 664 h 705"/>
                <a:gd name="T92" fmla="*/ 615 w 807"/>
                <a:gd name="T93" fmla="*/ 668 h 705"/>
                <a:gd name="T94" fmla="*/ 662 w 807"/>
                <a:gd name="T95" fmla="*/ 520 h 705"/>
                <a:gd name="T96" fmla="*/ 654 w 807"/>
                <a:gd name="T97" fmla="*/ 520 h 705"/>
                <a:gd name="T98" fmla="*/ 541 w 807"/>
                <a:gd name="T99" fmla="*/ 672 h 705"/>
                <a:gd name="T100" fmla="*/ 584 w 807"/>
                <a:gd name="T101" fmla="*/ 463 h 705"/>
                <a:gd name="T102" fmla="*/ 668 w 807"/>
                <a:gd name="T103" fmla="*/ 645 h 705"/>
                <a:gd name="T104" fmla="*/ 662 w 807"/>
                <a:gd name="T105" fmla="*/ 657 h 705"/>
                <a:gd name="T106" fmla="*/ 713 w 807"/>
                <a:gd name="T107" fmla="*/ 575 h 705"/>
                <a:gd name="T108" fmla="*/ 516 w 807"/>
                <a:gd name="T109" fmla="*/ 358 h 705"/>
                <a:gd name="T110" fmla="*/ 676 w 807"/>
                <a:gd name="T111" fmla="*/ 647 h 705"/>
                <a:gd name="T112" fmla="*/ 742 w 807"/>
                <a:gd name="T113" fmla="*/ 584 h 705"/>
                <a:gd name="T114" fmla="*/ 766 w 807"/>
                <a:gd name="T115" fmla="*/ 580 h 705"/>
                <a:gd name="T116" fmla="*/ 781 w 807"/>
                <a:gd name="T117" fmla="*/ 561 h 705"/>
                <a:gd name="T118" fmla="*/ 680 w 807"/>
                <a:gd name="T119" fmla="*/ 637 h 705"/>
                <a:gd name="T120" fmla="*/ 738 w 807"/>
                <a:gd name="T121" fmla="*/ 606 h 705"/>
                <a:gd name="T122" fmla="*/ 717 w 807"/>
                <a:gd name="T123" fmla="*/ 631 h 705"/>
                <a:gd name="T124" fmla="*/ 764 w 807"/>
                <a:gd name="T125" fmla="*/ 5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7" h="705">
                  <a:moveTo>
                    <a:pt x="295" y="143"/>
                  </a:moveTo>
                  <a:lnTo>
                    <a:pt x="293" y="145"/>
                  </a:lnTo>
                  <a:lnTo>
                    <a:pt x="289" y="147"/>
                  </a:lnTo>
                  <a:lnTo>
                    <a:pt x="289" y="149"/>
                  </a:lnTo>
                  <a:lnTo>
                    <a:pt x="293" y="147"/>
                  </a:lnTo>
                  <a:lnTo>
                    <a:pt x="295" y="145"/>
                  </a:lnTo>
                  <a:lnTo>
                    <a:pt x="297" y="143"/>
                  </a:lnTo>
                  <a:lnTo>
                    <a:pt x="295" y="143"/>
                  </a:lnTo>
                  <a:lnTo>
                    <a:pt x="295" y="143"/>
                  </a:lnTo>
                  <a:close/>
                  <a:moveTo>
                    <a:pt x="285" y="151"/>
                  </a:moveTo>
                  <a:lnTo>
                    <a:pt x="285" y="153"/>
                  </a:lnTo>
                  <a:lnTo>
                    <a:pt x="283" y="155"/>
                  </a:lnTo>
                  <a:lnTo>
                    <a:pt x="283" y="155"/>
                  </a:lnTo>
                  <a:lnTo>
                    <a:pt x="283" y="155"/>
                  </a:lnTo>
                  <a:lnTo>
                    <a:pt x="281" y="155"/>
                  </a:lnTo>
                  <a:lnTo>
                    <a:pt x="281" y="155"/>
                  </a:lnTo>
                  <a:lnTo>
                    <a:pt x="281" y="157"/>
                  </a:lnTo>
                  <a:lnTo>
                    <a:pt x="281" y="157"/>
                  </a:lnTo>
                  <a:lnTo>
                    <a:pt x="281" y="157"/>
                  </a:lnTo>
                  <a:lnTo>
                    <a:pt x="279" y="157"/>
                  </a:lnTo>
                  <a:lnTo>
                    <a:pt x="260" y="170"/>
                  </a:lnTo>
                  <a:lnTo>
                    <a:pt x="258" y="172"/>
                  </a:lnTo>
                  <a:lnTo>
                    <a:pt x="256" y="172"/>
                  </a:lnTo>
                  <a:lnTo>
                    <a:pt x="252" y="172"/>
                  </a:lnTo>
                  <a:lnTo>
                    <a:pt x="250" y="172"/>
                  </a:lnTo>
                  <a:lnTo>
                    <a:pt x="254" y="172"/>
                  </a:lnTo>
                  <a:lnTo>
                    <a:pt x="256" y="172"/>
                  </a:lnTo>
                  <a:lnTo>
                    <a:pt x="260" y="172"/>
                  </a:lnTo>
                  <a:lnTo>
                    <a:pt x="262" y="172"/>
                  </a:lnTo>
                  <a:lnTo>
                    <a:pt x="269" y="168"/>
                  </a:lnTo>
                  <a:lnTo>
                    <a:pt x="271" y="166"/>
                  </a:lnTo>
                  <a:lnTo>
                    <a:pt x="279" y="159"/>
                  </a:lnTo>
                  <a:lnTo>
                    <a:pt x="283" y="155"/>
                  </a:lnTo>
                  <a:lnTo>
                    <a:pt x="285" y="153"/>
                  </a:lnTo>
                  <a:lnTo>
                    <a:pt x="285" y="153"/>
                  </a:lnTo>
                  <a:lnTo>
                    <a:pt x="287" y="151"/>
                  </a:lnTo>
                  <a:lnTo>
                    <a:pt x="287" y="151"/>
                  </a:lnTo>
                  <a:lnTo>
                    <a:pt x="287" y="151"/>
                  </a:lnTo>
                  <a:lnTo>
                    <a:pt x="285" y="151"/>
                  </a:lnTo>
                  <a:close/>
                  <a:moveTo>
                    <a:pt x="252" y="166"/>
                  </a:moveTo>
                  <a:lnTo>
                    <a:pt x="252" y="164"/>
                  </a:lnTo>
                  <a:lnTo>
                    <a:pt x="250" y="164"/>
                  </a:lnTo>
                  <a:lnTo>
                    <a:pt x="250" y="164"/>
                  </a:lnTo>
                  <a:lnTo>
                    <a:pt x="248" y="164"/>
                  </a:lnTo>
                  <a:lnTo>
                    <a:pt x="246" y="164"/>
                  </a:lnTo>
                  <a:lnTo>
                    <a:pt x="244" y="166"/>
                  </a:lnTo>
                  <a:lnTo>
                    <a:pt x="244" y="166"/>
                  </a:lnTo>
                  <a:lnTo>
                    <a:pt x="240" y="166"/>
                  </a:lnTo>
                  <a:lnTo>
                    <a:pt x="240" y="166"/>
                  </a:lnTo>
                  <a:lnTo>
                    <a:pt x="242" y="168"/>
                  </a:lnTo>
                  <a:lnTo>
                    <a:pt x="244" y="168"/>
                  </a:lnTo>
                  <a:lnTo>
                    <a:pt x="244" y="168"/>
                  </a:lnTo>
                  <a:lnTo>
                    <a:pt x="244" y="170"/>
                  </a:lnTo>
                  <a:lnTo>
                    <a:pt x="246" y="170"/>
                  </a:lnTo>
                  <a:lnTo>
                    <a:pt x="246" y="170"/>
                  </a:lnTo>
                  <a:lnTo>
                    <a:pt x="248" y="170"/>
                  </a:lnTo>
                  <a:lnTo>
                    <a:pt x="250" y="170"/>
                  </a:lnTo>
                  <a:lnTo>
                    <a:pt x="250" y="170"/>
                  </a:lnTo>
                  <a:lnTo>
                    <a:pt x="250" y="168"/>
                  </a:lnTo>
                  <a:lnTo>
                    <a:pt x="250" y="168"/>
                  </a:lnTo>
                  <a:lnTo>
                    <a:pt x="250" y="166"/>
                  </a:lnTo>
                  <a:lnTo>
                    <a:pt x="252" y="166"/>
                  </a:lnTo>
                  <a:close/>
                  <a:moveTo>
                    <a:pt x="95" y="104"/>
                  </a:moveTo>
                  <a:lnTo>
                    <a:pt x="92" y="106"/>
                  </a:lnTo>
                  <a:lnTo>
                    <a:pt x="92" y="106"/>
                  </a:lnTo>
                  <a:lnTo>
                    <a:pt x="90" y="106"/>
                  </a:lnTo>
                  <a:lnTo>
                    <a:pt x="80" y="110"/>
                  </a:lnTo>
                  <a:lnTo>
                    <a:pt x="76" y="110"/>
                  </a:lnTo>
                  <a:lnTo>
                    <a:pt x="74" y="110"/>
                  </a:lnTo>
                  <a:lnTo>
                    <a:pt x="72" y="110"/>
                  </a:lnTo>
                  <a:lnTo>
                    <a:pt x="72" y="112"/>
                  </a:lnTo>
                  <a:lnTo>
                    <a:pt x="68" y="112"/>
                  </a:lnTo>
                  <a:lnTo>
                    <a:pt x="62" y="114"/>
                  </a:lnTo>
                  <a:lnTo>
                    <a:pt x="58" y="116"/>
                  </a:lnTo>
                  <a:lnTo>
                    <a:pt x="47" y="118"/>
                  </a:lnTo>
                  <a:lnTo>
                    <a:pt x="39" y="120"/>
                  </a:lnTo>
                  <a:lnTo>
                    <a:pt x="37" y="120"/>
                  </a:lnTo>
                  <a:lnTo>
                    <a:pt x="43" y="120"/>
                  </a:lnTo>
                  <a:lnTo>
                    <a:pt x="105" y="106"/>
                  </a:lnTo>
                  <a:lnTo>
                    <a:pt x="105" y="106"/>
                  </a:lnTo>
                  <a:lnTo>
                    <a:pt x="105" y="106"/>
                  </a:lnTo>
                  <a:lnTo>
                    <a:pt x="105" y="106"/>
                  </a:lnTo>
                  <a:lnTo>
                    <a:pt x="105" y="106"/>
                  </a:lnTo>
                  <a:lnTo>
                    <a:pt x="107" y="106"/>
                  </a:lnTo>
                  <a:lnTo>
                    <a:pt x="107" y="106"/>
                  </a:lnTo>
                  <a:lnTo>
                    <a:pt x="109" y="104"/>
                  </a:lnTo>
                  <a:lnTo>
                    <a:pt x="99" y="104"/>
                  </a:lnTo>
                  <a:lnTo>
                    <a:pt x="95" y="104"/>
                  </a:lnTo>
                  <a:close/>
                  <a:moveTo>
                    <a:pt x="783" y="516"/>
                  </a:moveTo>
                  <a:lnTo>
                    <a:pt x="783" y="518"/>
                  </a:lnTo>
                  <a:lnTo>
                    <a:pt x="783" y="518"/>
                  </a:lnTo>
                  <a:lnTo>
                    <a:pt x="783" y="518"/>
                  </a:lnTo>
                  <a:lnTo>
                    <a:pt x="785" y="518"/>
                  </a:lnTo>
                  <a:lnTo>
                    <a:pt x="785" y="516"/>
                  </a:lnTo>
                  <a:lnTo>
                    <a:pt x="785" y="510"/>
                  </a:lnTo>
                  <a:lnTo>
                    <a:pt x="785" y="510"/>
                  </a:lnTo>
                  <a:lnTo>
                    <a:pt x="785" y="510"/>
                  </a:lnTo>
                  <a:lnTo>
                    <a:pt x="783" y="510"/>
                  </a:lnTo>
                  <a:lnTo>
                    <a:pt x="783" y="512"/>
                  </a:lnTo>
                  <a:lnTo>
                    <a:pt x="783" y="512"/>
                  </a:lnTo>
                  <a:lnTo>
                    <a:pt x="783" y="512"/>
                  </a:lnTo>
                  <a:lnTo>
                    <a:pt x="783" y="514"/>
                  </a:lnTo>
                  <a:lnTo>
                    <a:pt x="783" y="514"/>
                  </a:lnTo>
                  <a:lnTo>
                    <a:pt x="783" y="514"/>
                  </a:lnTo>
                  <a:lnTo>
                    <a:pt x="783" y="514"/>
                  </a:lnTo>
                  <a:lnTo>
                    <a:pt x="783" y="514"/>
                  </a:lnTo>
                  <a:lnTo>
                    <a:pt x="783" y="514"/>
                  </a:lnTo>
                  <a:lnTo>
                    <a:pt x="783" y="514"/>
                  </a:lnTo>
                  <a:lnTo>
                    <a:pt x="783" y="514"/>
                  </a:lnTo>
                  <a:lnTo>
                    <a:pt x="783" y="514"/>
                  </a:lnTo>
                  <a:lnTo>
                    <a:pt x="783" y="516"/>
                  </a:lnTo>
                  <a:lnTo>
                    <a:pt x="783" y="516"/>
                  </a:lnTo>
                  <a:close/>
                  <a:moveTo>
                    <a:pt x="592" y="467"/>
                  </a:moveTo>
                  <a:lnTo>
                    <a:pt x="590" y="465"/>
                  </a:lnTo>
                  <a:lnTo>
                    <a:pt x="588" y="465"/>
                  </a:lnTo>
                  <a:lnTo>
                    <a:pt x="588" y="465"/>
                  </a:lnTo>
                  <a:lnTo>
                    <a:pt x="588" y="465"/>
                  </a:lnTo>
                  <a:lnTo>
                    <a:pt x="586" y="467"/>
                  </a:lnTo>
                  <a:lnTo>
                    <a:pt x="584" y="467"/>
                  </a:lnTo>
                  <a:lnTo>
                    <a:pt x="582" y="467"/>
                  </a:lnTo>
                  <a:lnTo>
                    <a:pt x="582" y="467"/>
                  </a:lnTo>
                  <a:lnTo>
                    <a:pt x="580" y="467"/>
                  </a:lnTo>
                  <a:lnTo>
                    <a:pt x="578" y="465"/>
                  </a:lnTo>
                  <a:lnTo>
                    <a:pt x="576" y="463"/>
                  </a:lnTo>
                  <a:lnTo>
                    <a:pt x="576" y="461"/>
                  </a:lnTo>
                  <a:lnTo>
                    <a:pt x="576" y="461"/>
                  </a:lnTo>
                  <a:lnTo>
                    <a:pt x="574" y="459"/>
                  </a:lnTo>
                  <a:lnTo>
                    <a:pt x="574" y="459"/>
                  </a:lnTo>
                  <a:lnTo>
                    <a:pt x="574" y="459"/>
                  </a:lnTo>
                  <a:lnTo>
                    <a:pt x="574" y="459"/>
                  </a:lnTo>
                  <a:lnTo>
                    <a:pt x="572" y="459"/>
                  </a:lnTo>
                  <a:lnTo>
                    <a:pt x="574" y="461"/>
                  </a:lnTo>
                  <a:lnTo>
                    <a:pt x="576" y="465"/>
                  </a:lnTo>
                  <a:lnTo>
                    <a:pt x="576" y="467"/>
                  </a:lnTo>
                  <a:lnTo>
                    <a:pt x="578" y="467"/>
                  </a:lnTo>
                  <a:lnTo>
                    <a:pt x="578" y="467"/>
                  </a:lnTo>
                  <a:lnTo>
                    <a:pt x="584" y="471"/>
                  </a:lnTo>
                  <a:lnTo>
                    <a:pt x="584" y="471"/>
                  </a:lnTo>
                  <a:lnTo>
                    <a:pt x="584" y="471"/>
                  </a:lnTo>
                  <a:lnTo>
                    <a:pt x="586" y="471"/>
                  </a:lnTo>
                  <a:lnTo>
                    <a:pt x="588" y="469"/>
                  </a:lnTo>
                  <a:lnTo>
                    <a:pt x="590" y="467"/>
                  </a:lnTo>
                  <a:lnTo>
                    <a:pt x="592" y="467"/>
                  </a:lnTo>
                  <a:lnTo>
                    <a:pt x="592" y="467"/>
                  </a:lnTo>
                  <a:lnTo>
                    <a:pt x="592" y="467"/>
                  </a:lnTo>
                  <a:close/>
                  <a:moveTo>
                    <a:pt x="781" y="473"/>
                  </a:moveTo>
                  <a:lnTo>
                    <a:pt x="781" y="471"/>
                  </a:lnTo>
                  <a:lnTo>
                    <a:pt x="781" y="471"/>
                  </a:lnTo>
                  <a:lnTo>
                    <a:pt x="781" y="467"/>
                  </a:lnTo>
                  <a:lnTo>
                    <a:pt x="781" y="450"/>
                  </a:lnTo>
                  <a:lnTo>
                    <a:pt x="781" y="448"/>
                  </a:lnTo>
                  <a:lnTo>
                    <a:pt x="781" y="446"/>
                  </a:lnTo>
                  <a:lnTo>
                    <a:pt x="781" y="444"/>
                  </a:lnTo>
                  <a:lnTo>
                    <a:pt x="779" y="442"/>
                  </a:lnTo>
                  <a:lnTo>
                    <a:pt x="779" y="440"/>
                  </a:lnTo>
                  <a:lnTo>
                    <a:pt x="781" y="436"/>
                  </a:lnTo>
                  <a:lnTo>
                    <a:pt x="779" y="422"/>
                  </a:lnTo>
                  <a:lnTo>
                    <a:pt x="779" y="422"/>
                  </a:lnTo>
                  <a:lnTo>
                    <a:pt x="779" y="418"/>
                  </a:lnTo>
                  <a:lnTo>
                    <a:pt x="777" y="405"/>
                  </a:lnTo>
                  <a:lnTo>
                    <a:pt x="777" y="401"/>
                  </a:lnTo>
                  <a:lnTo>
                    <a:pt x="774" y="401"/>
                  </a:lnTo>
                  <a:lnTo>
                    <a:pt x="774" y="399"/>
                  </a:lnTo>
                  <a:lnTo>
                    <a:pt x="774" y="397"/>
                  </a:lnTo>
                  <a:lnTo>
                    <a:pt x="774" y="395"/>
                  </a:lnTo>
                  <a:lnTo>
                    <a:pt x="770" y="385"/>
                  </a:lnTo>
                  <a:lnTo>
                    <a:pt x="770" y="385"/>
                  </a:lnTo>
                  <a:lnTo>
                    <a:pt x="768" y="383"/>
                  </a:lnTo>
                  <a:lnTo>
                    <a:pt x="766" y="383"/>
                  </a:lnTo>
                  <a:lnTo>
                    <a:pt x="764" y="383"/>
                  </a:lnTo>
                  <a:lnTo>
                    <a:pt x="764" y="383"/>
                  </a:lnTo>
                  <a:lnTo>
                    <a:pt x="766" y="381"/>
                  </a:lnTo>
                  <a:lnTo>
                    <a:pt x="766" y="381"/>
                  </a:lnTo>
                  <a:lnTo>
                    <a:pt x="768" y="381"/>
                  </a:lnTo>
                  <a:lnTo>
                    <a:pt x="768" y="379"/>
                  </a:lnTo>
                  <a:lnTo>
                    <a:pt x="768" y="379"/>
                  </a:lnTo>
                  <a:lnTo>
                    <a:pt x="766" y="375"/>
                  </a:lnTo>
                  <a:lnTo>
                    <a:pt x="762" y="368"/>
                  </a:lnTo>
                  <a:lnTo>
                    <a:pt x="760" y="364"/>
                  </a:lnTo>
                  <a:lnTo>
                    <a:pt x="758" y="364"/>
                  </a:lnTo>
                  <a:lnTo>
                    <a:pt x="758" y="362"/>
                  </a:lnTo>
                  <a:lnTo>
                    <a:pt x="754" y="360"/>
                  </a:lnTo>
                  <a:lnTo>
                    <a:pt x="754" y="360"/>
                  </a:lnTo>
                  <a:lnTo>
                    <a:pt x="750" y="356"/>
                  </a:lnTo>
                  <a:lnTo>
                    <a:pt x="750" y="356"/>
                  </a:lnTo>
                  <a:lnTo>
                    <a:pt x="748" y="358"/>
                  </a:lnTo>
                  <a:lnTo>
                    <a:pt x="746" y="358"/>
                  </a:lnTo>
                  <a:lnTo>
                    <a:pt x="744" y="356"/>
                  </a:lnTo>
                  <a:lnTo>
                    <a:pt x="744" y="356"/>
                  </a:lnTo>
                  <a:lnTo>
                    <a:pt x="742" y="354"/>
                  </a:lnTo>
                  <a:lnTo>
                    <a:pt x="740" y="354"/>
                  </a:lnTo>
                  <a:lnTo>
                    <a:pt x="742" y="354"/>
                  </a:lnTo>
                  <a:lnTo>
                    <a:pt x="742" y="354"/>
                  </a:lnTo>
                  <a:lnTo>
                    <a:pt x="744" y="354"/>
                  </a:lnTo>
                  <a:lnTo>
                    <a:pt x="744" y="354"/>
                  </a:lnTo>
                  <a:lnTo>
                    <a:pt x="746" y="356"/>
                  </a:lnTo>
                  <a:lnTo>
                    <a:pt x="750" y="356"/>
                  </a:lnTo>
                  <a:lnTo>
                    <a:pt x="752" y="356"/>
                  </a:lnTo>
                  <a:lnTo>
                    <a:pt x="752" y="358"/>
                  </a:lnTo>
                  <a:lnTo>
                    <a:pt x="752" y="356"/>
                  </a:lnTo>
                  <a:lnTo>
                    <a:pt x="731" y="325"/>
                  </a:lnTo>
                  <a:lnTo>
                    <a:pt x="725" y="311"/>
                  </a:lnTo>
                  <a:lnTo>
                    <a:pt x="684" y="250"/>
                  </a:lnTo>
                  <a:lnTo>
                    <a:pt x="682" y="245"/>
                  </a:lnTo>
                  <a:lnTo>
                    <a:pt x="678" y="241"/>
                  </a:lnTo>
                  <a:lnTo>
                    <a:pt x="676" y="235"/>
                  </a:lnTo>
                  <a:lnTo>
                    <a:pt x="674" y="233"/>
                  </a:lnTo>
                  <a:lnTo>
                    <a:pt x="670" y="223"/>
                  </a:lnTo>
                  <a:lnTo>
                    <a:pt x="670" y="219"/>
                  </a:lnTo>
                  <a:lnTo>
                    <a:pt x="668" y="217"/>
                  </a:lnTo>
                  <a:lnTo>
                    <a:pt x="666" y="213"/>
                  </a:lnTo>
                  <a:lnTo>
                    <a:pt x="666" y="211"/>
                  </a:lnTo>
                  <a:lnTo>
                    <a:pt x="666" y="211"/>
                  </a:lnTo>
                  <a:lnTo>
                    <a:pt x="664" y="209"/>
                  </a:lnTo>
                  <a:lnTo>
                    <a:pt x="660" y="198"/>
                  </a:lnTo>
                  <a:lnTo>
                    <a:pt x="662" y="198"/>
                  </a:lnTo>
                  <a:lnTo>
                    <a:pt x="666" y="202"/>
                  </a:lnTo>
                  <a:lnTo>
                    <a:pt x="670" y="202"/>
                  </a:lnTo>
                  <a:lnTo>
                    <a:pt x="672" y="204"/>
                  </a:lnTo>
                  <a:lnTo>
                    <a:pt x="670" y="207"/>
                  </a:lnTo>
                  <a:lnTo>
                    <a:pt x="670" y="209"/>
                  </a:lnTo>
                  <a:lnTo>
                    <a:pt x="670" y="207"/>
                  </a:lnTo>
                  <a:lnTo>
                    <a:pt x="670" y="209"/>
                  </a:lnTo>
                  <a:lnTo>
                    <a:pt x="670" y="211"/>
                  </a:lnTo>
                  <a:lnTo>
                    <a:pt x="670" y="213"/>
                  </a:lnTo>
                  <a:lnTo>
                    <a:pt x="670" y="215"/>
                  </a:lnTo>
                  <a:lnTo>
                    <a:pt x="672" y="217"/>
                  </a:lnTo>
                  <a:lnTo>
                    <a:pt x="674" y="217"/>
                  </a:lnTo>
                  <a:lnTo>
                    <a:pt x="680" y="217"/>
                  </a:lnTo>
                  <a:lnTo>
                    <a:pt x="680" y="217"/>
                  </a:lnTo>
                  <a:lnTo>
                    <a:pt x="682" y="217"/>
                  </a:lnTo>
                  <a:lnTo>
                    <a:pt x="682" y="215"/>
                  </a:lnTo>
                  <a:lnTo>
                    <a:pt x="680" y="215"/>
                  </a:lnTo>
                  <a:lnTo>
                    <a:pt x="680" y="213"/>
                  </a:lnTo>
                  <a:lnTo>
                    <a:pt x="682" y="213"/>
                  </a:lnTo>
                  <a:lnTo>
                    <a:pt x="682" y="213"/>
                  </a:lnTo>
                  <a:lnTo>
                    <a:pt x="682" y="215"/>
                  </a:lnTo>
                  <a:lnTo>
                    <a:pt x="682" y="215"/>
                  </a:lnTo>
                  <a:lnTo>
                    <a:pt x="684" y="213"/>
                  </a:lnTo>
                  <a:lnTo>
                    <a:pt x="686" y="215"/>
                  </a:lnTo>
                  <a:lnTo>
                    <a:pt x="688" y="215"/>
                  </a:lnTo>
                  <a:lnTo>
                    <a:pt x="688" y="217"/>
                  </a:lnTo>
                  <a:lnTo>
                    <a:pt x="690" y="221"/>
                  </a:lnTo>
                  <a:lnTo>
                    <a:pt x="690" y="225"/>
                  </a:lnTo>
                  <a:lnTo>
                    <a:pt x="690" y="239"/>
                  </a:lnTo>
                  <a:lnTo>
                    <a:pt x="693" y="258"/>
                  </a:lnTo>
                  <a:lnTo>
                    <a:pt x="695" y="262"/>
                  </a:lnTo>
                  <a:lnTo>
                    <a:pt x="699" y="268"/>
                  </a:lnTo>
                  <a:lnTo>
                    <a:pt x="707" y="278"/>
                  </a:lnTo>
                  <a:lnTo>
                    <a:pt x="707" y="282"/>
                  </a:lnTo>
                  <a:lnTo>
                    <a:pt x="711" y="284"/>
                  </a:lnTo>
                  <a:lnTo>
                    <a:pt x="711" y="284"/>
                  </a:lnTo>
                  <a:lnTo>
                    <a:pt x="713" y="286"/>
                  </a:lnTo>
                  <a:lnTo>
                    <a:pt x="715" y="291"/>
                  </a:lnTo>
                  <a:lnTo>
                    <a:pt x="715" y="286"/>
                  </a:lnTo>
                  <a:lnTo>
                    <a:pt x="705" y="276"/>
                  </a:lnTo>
                  <a:lnTo>
                    <a:pt x="703" y="270"/>
                  </a:lnTo>
                  <a:lnTo>
                    <a:pt x="701" y="270"/>
                  </a:lnTo>
                  <a:lnTo>
                    <a:pt x="699" y="266"/>
                  </a:lnTo>
                  <a:lnTo>
                    <a:pt x="695" y="256"/>
                  </a:lnTo>
                  <a:lnTo>
                    <a:pt x="695" y="250"/>
                  </a:lnTo>
                  <a:lnTo>
                    <a:pt x="695" y="248"/>
                  </a:lnTo>
                  <a:lnTo>
                    <a:pt x="693" y="248"/>
                  </a:lnTo>
                  <a:lnTo>
                    <a:pt x="695" y="245"/>
                  </a:lnTo>
                  <a:lnTo>
                    <a:pt x="693" y="235"/>
                  </a:lnTo>
                  <a:lnTo>
                    <a:pt x="693" y="235"/>
                  </a:lnTo>
                  <a:lnTo>
                    <a:pt x="693" y="235"/>
                  </a:lnTo>
                  <a:lnTo>
                    <a:pt x="693" y="233"/>
                  </a:lnTo>
                  <a:lnTo>
                    <a:pt x="695" y="233"/>
                  </a:lnTo>
                  <a:lnTo>
                    <a:pt x="695" y="231"/>
                  </a:lnTo>
                  <a:lnTo>
                    <a:pt x="695" y="231"/>
                  </a:lnTo>
                  <a:lnTo>
                    <a:pt x="697" y="229"/>
                  </a:lnTo>
                  <a:lnTo>
                    <a:pt x="697" y="227"/>
                  </a:lnTo>
                  <a:lnTo>
                    <a:pt x="695" y="225"/>
                  </a:lnTo>
                  <a:lnTo>
                    <a:pt x="690" y="219"/>
                  </a:lnTo>
                  <a:lnTo>
                    <a:pt x="684" y="211"/>
                  </a:lnTo>
                  <a:lnTo>
                    <a:pt x="678" y="204"/>
                  </a:lnTo>
                  <a:lnTo>
                    <a:pt x="670" y="194"/>
                  </a:lnTo>
                  <a:lnTo>
                    <a:pt x="654" y="176"/>
                  </a:lnTo>
                  <a:lnTo>
                    <a:pt x="654" y="174"/>
                  </a:lnTo>
                  <a:lnTo>
                    <a:pt x="652" y="172"/>
                  </a:lnTo>
                  <a:lnTo>
                    <a:pt x="650" y="172"/>
                  </a:lnTo>
                  <a:lnTo>
                    <a:pt x="650" y="170"/>
                  </a:lnTo>
                  <a:lnTo>
                    <a:pt x="650" y="168"/>
                  </a:lnTo>
                  <a:lnTo>
                    <a:pt x="637" y="153"/>
                  </a:lnTo>
                  <a:lnTo>
                    <a:pt x="629" y="137"/>
                  </a:lnTo>
                  <a:lnTo>
                    <a:pt x="621" y="127"/>
                  </a:lnTo>
                  <a:lnTo>
                    <a:pt x="615" y="118"/>
                  </a:lnTo>
                  <a:lnTo>
                    <a:pt x="615" y="118"/>
                  </a:lnTo>
                  <a:lnTo>
                    <a:pt x="615" y="116"/>
                  </a:lnTo>
                  <a:lnTo>
                    <a:pt x="613" y="114"/>
                  </a:lnTo>
                  <a:lnTo>
                    <a:pt x="613" y="112"/>
                  </a:lnTo>
                  <a:lnTo>
                    <a:pt x="609" y="106"/>
                  </a:lnTo>
                  <a:lnTo>
                    <a:pt x="607" y="100"/>
                  </a:lnTo>
                  <a:lnTo>
                    <a:pt x="604" y="100"/>
                  </a:lnTo>
                  <a:lnTo>
                    <a:pt x="604" y="98"/>
                  </a:lnTo>
                  <a:lnTo>
                    <a:pt x="602" y="94"/>
                  </a:lnTo>
                  <a:lnTo>
                    <a:pt x="602" y="92"/>
                  </a:lnTo>
                  <a:lnTo>
                    <a:pt x="602" y="92"/>
                  </a:lnTo>
                  <a:lnTo>
                    <a:pt x="602" y="92"/>
                  </a:lnTo>
                  <a:lnTo>
                    <a:pt x="600" y="90"/>
                  </a:lnTo>
                  <a:lnTo>
                    <a:pt x="600" y="90"/>
                  </a:lnTo>
                  <a:lnTo>
                    <a:pt x="600" y="90"/>
                  </a:lnTo>
                  <a:lnTo>
                    <a:pt x="600" y="88"/>
                  </a:lnTo>
                  <a:lnTo>
                    <a:pt x="600" y="88"/>
                  </a:lnTo>
                  <a:lnTo>
                    <a:pt x="598" y="88"/>
                  </a:lnTo>
                  <a:lnTo>
                    <a:pt x="598" y="86"/>
                  </a:lnTo>
                  <a:lnTo>
                    <a:pt x="594" y="73"/>
                  </a:lnTo>
                  <a:lnTo>
                    <a:pt x="592" y="65"/>
                  </a:lnTo>
                  <a:lnTo>
                    <a:pt x="592" y="63"/>
                  </a:lnTo>
                  <a:lnTo>
                    <a:pt x="588" y="59"/>
                  </a:lnTo>
                  <a:lnTo>
                    <a:pt x="588" y="59"/>
                  </a:lnTo>
                  <a:lnTo>
                    <a:pt x="582" y="47"/>
                  </a:lnTo>
                  <a:lnTo>
                    <a:pt x="582" y="43"/>
                  </a:lnTo>
                  <a:lnTo>
                    <a:pt x="582" y="38"/>
                  </a:lnTo>
                  <a:lnTo>
                    <a:pt x="582" y="36"/>
                  </a:lnTo>
                  <a:lnTo>
                    <a:pt x="580" y="36"/>
                  </a:lnTo>
                  <a:lnTo>
                    <a:pt x="580" y="36"/>
                  </a:lnTo>
                  <a:lnTo>
                    <a:pt x="580" y="34"/>
                  </a:lnTo>
                  <a:lnTo>
                    <a:pt x="580" y="32"/>
                  </a:lnTo>
                  <a:lnTo>
                    <a:pt x="578" y="30"/>
                  </a:lnTo>
                  <a:lnTo>
                    <a:pt x="578" y="30"/>
                  </a:lnTo>
                  <a:lnTo>
                    <a:pt x="578" y="28"/>
                  </a:lnTo>
                  <a:lnTo>
                    <a:pt x="576" y="28"/>
                  </a:lnTo>
                  <a:lnTo>
                    <a:pt x="576" y="28"/>
                  </a:lnTo>
                  <a:lnTo>
                    <a:pt x="576" y="28"/>
                  </a:lnTo>
                  <a:lnTo>
                    <a:pt x="574" y="26"/>
                  </a:lnTo>
                  <a:lnTo>
                    <a:pt x="574" y="26"/>
                  </a:lnTo>
                  <a:lnTo>
                    <a:pt x="572" y="24"/>
                  </a:lnTo>
                  <a:lnTo>
                    <a:pt x="572" y="24"/>
                  </a:lnTo>
                  <a:lnTo>
                    <a:pt x="570" y="22"/>
                  </a:lnTo>
                  <a:lnTo>
                    <a:pt x="568" y="22"/>
                  </a:lnTo>
                  <a:lnTo>
                    <a:pt x="568" y="20"/>
                  </a:lnTo>
                  <a:lnTo>
                    <a:pt x="568" y="18"/>
                  </a:lnTo>
                  <a:lnTo>
                    <a:pt x="568" y="16"/>
                  </a:lnTo>
                  <a:lnTo>
                    <a:pt x="568" y="14"/>
                  </a:lnTo>
                  <a:lnTo>
                    <a:pt x="568" y="14"/>
                  </a:lnTo>
                  <a:lnTo>
                    <a:pt x="570" y="14"/>
                  </a:lnTo>
                  <a:lnTo>
                    <a:pt x="570" y="16"/>
                  </a:lnTo>
                  <a:lnTo>
                    <a:pt x="570" y="16"/>
                  </a:lnTo>
                  <a:lnTo>
                    <a:pt x="572" y="16"/>
                  </a:lnTo>
                  <a:lnTo>
                    <a:pt x="572" y="20"/>
                  </a:lnTo>
                  <a:lnTo>
                    <a:pt x="572" y="22"/>
                  </a:lnTo>
                  <a:lnTo>
                    <a:pt x="574" y="22"/>
                  </a:lnTo>
                  <a:lnTo>
                    <a:pt x="574" y="24"/>
                  </a:lnTo>
                  <a:lnTo>
                    <a:pt x="574" y="20"/>
                  </a:lnTo>
                  <a:lnTo>
                    <a:pt x="572" y="12"/>
                  </a:lnTo>
                  <a:lnTo>
                    <a:pt x="572" y="8"/>
                  </a:lnTo>
                  <a:lnTo>
                    <a:pt x="572" y="6"/>
                  </a:lnTo>
                  <a:lnTo>
                    <a:pt x="572" y="6"/>
                  </a:lnTo>
                  <a:lnTo>
                    <a:pt x="572" y="6"/>
                  </a:lnTo>
                  <a:lnTo>
                    <a:pt x="572" y="6"/>
                  </a:lnTo>
                  <a:lnTo>
                    <a:pt x="572" y="6"/>
                  </a:lnTo>
                  <a:lnTo>
                    <a:pt x="570" y="6"/>
                  </a:lnTo>
                  <a:lnTo>
                    <a:pt x="570" y="6"/>
                  </a:lnTo>
                  <a:lnTo>
                    <a:pt x="568" y="6"/>
                  </a:lnTo>
                  <a:lnTo>
                    <a:pt x="568" y="6"/>
                  </a:lnTo>
                  <a:lnTo>
                    <a:pt x="566" y="6"/>
                  </a:lnTo>
                  <a:lnTo>
                    <a:pt x="566" y="4"/>
                  </a:lnTo>
                  <a:lnTo>
                    <a:pt x="566" y="4"/>
                  </a:lnTo>
                  <a:lnTo>
                    <a:pt x="564" y="4"/>
                  </a:lnTo>
                  <a:lnTo>
                    <a:pt x="559" y="6"/>
                  </a:lnTo>
                  <a:lnTo>
                    <a:pt x="559" y="6"/>
                  </a:lnTo>
                  <a:lnTo>
                    <a:pt x="555" y="6"/>
                  </a:lnTo>
                  <a:lnTo>
                    <a:pt x="555" y="6"/>
                  </a:lnTo>
                  <a:lnTo>
                    <a:pt x="553" y="6"/>
                  </a:lnTo>
                  <a:lnTo>
                    <a:pt x="553" y="6"/>
                  </a:lnTo>
                  <a:lnTo>
                    <a:pt x="551" y="6"/>
                  </a:lnTo>
                  <a:lnTo>
                    <a:pt x="551" y="6"/>
                  </a:lnTo>
                  <a:lnTo>
                    <a:pt x="545" y="4"/>
                  </a:lnTo>
                  <a:lnTo>
                    <a:pt x="545" y="4"/>
                  </a:lnTo>
                  <a:lnTo>
                    <a:pt x="543" y="4"/>
                  </a:lnTo>
                  <a:lnTo>
                    <a:pt x="543" y="4"/>
                  </a:lnTo>
                  <a:lnTo>
                    <a:pt x="541" y="4"/>
                  </a:lnTo>
                  <a:lnTo>
                    <a:pt x="541" y="4"/>
                  </a:lnTo>
                  <a:lnTo>
                    <a:pt x="539" y="4"/>
                  </a:lnTo>
                  <a:lnTo>
                    <a:pt x="539" y="4"/>
                  </a:lnTo>
                  <a:lnTo>
                    <a:pt x="531" y="2"/>
                  </a:lnTo>
                  <a:lnTo>
                    <a:pt x="529" y="0"/>
                  </a:lnTo>
                  <a:lnTo>
                    <a:pt x="527" y="0"/>
                  </a:lnTo>
                  <a:lnTo>
                    <a:pt x="527" y="0"/>
                  </a:lnTo>
                  <a:lnTo>
                    <a:pt x="525" y="0"/>
                  </a:lnTo>
                  <a:lnTo>
                    <a:pt x="525" y="0"/>
                  </a:lnTo>
                  <a:lnTo>
                    <a:pt x="525" y="0"/>
                  </a:lnTo>
                  <a:lnTo>
                    <a:pt x="523" y="0"/>
                  </a:lnTo>
                  <a:lnTo>
                    <a:pt x="523" y="0"/>
                  </a:lnTo>
                  <a:lnTo>
                    <a:pt x="521" y="0"/>
                  </a:lnTo>
                  <a:lnTo>
                    <a:pt x="521" y="2"/>
                  </a:lnTo>
                  <a:lnTo>
                    <a:pt x="521" y="2"/>
                  </a:lnTo>
                  <a:lnTo>
                    <a:pt x="521" y="2"/>
                  </a:lnTo>
                  <a:lnTo>
                    <a:pt x="521" y="2"/>
                  </a:lnTo>
                  <a:lnTo>
                    <a:pt x="521" y="4"/>
                  </a:lnTo>
                  <a:lnTo>
                    <a:pt x="521" y="4"/>
                  </a:lnTo>
                  <a:lnTo>
                    <a:pt x="521" y="4"/>
                  </a:lnTo>
                  <a:lnTo>
                    <a:pt x="521" y="4"/>
                  </a:lnTo>
                  <a:lnTo>
                    <a:pt x="518" y="4"/>
                  </a:lnTo>
                  <a:lnTo>
                    <a:pt x="518" y="4"/>
                  </a:lnTo>
                  <a:lnTo>
                    <a:pt x="518" y="4"/>
                  </a:lnTo>
                  <a:lnTo>
                    <a:pt x="516" y="6"/>
                  </a:lnTo>
                  <a:lnTo>
                    <a:pt x="516" y="6"/>
                  </a:lnTo>
                  <a:lnTo>
                    <a:pt x="516" y="6"/>
                  </a:lnTo>
                  <a:lnTo>
                    <a:pt x="516" y="8"/>
                  </a:lnTo>
                  <a:lnTo>
                    <a:pt x="516" y="8"/>
                  </a:lnTo>
                  <a:lnTo>
                    <a:pt x="516" y="8"/>
                  </a:lnTo>
                  <a:lnTo>
                    <a:pt x="516" y="10"/>
                  </a:lnTo>
                  <a:lnTo>
                    <a:pt x="516" y="10"/>
                  </a:lnTo>
                  <a:lnTo>
                    <a:pt x="516" y="10"/>
                  </a:lnTo>
                  <a:lnTo>
                    <a:pt x="516" y="12"/>
                  </a:lnTo>
                  <a:lnTo>
                    <a:pt x="516" y="14"/>
                  </a:lnTo>
                  <a:lnTo>
                    <a:pt x="516" y="14"/>
                  </a:lnTo>
                  <a:lnTo>
                    <a:pt x="516" y="16"/>
                  </a:lnTo>
                  <a:lnTo>
                    <a:pt x="516" y="18"/>
                  </a:lnTo>
                  <a:lnTo>
                    <a:pt x="516" y="18"/>
                  </a:lnTo>
                  <a:lnTo>
                    <a:pt x="516" y="20"/>
                  </a:lnTo>
                  <a:lnTo>
                    <a:pt x="516" y="20"/>
                  </a:lnTo>
                  <a:lnTo>
                    <a:pt x="516" y="22"/>
                  </a:lnTo>
                  <a:lnTo>
                    <a:pt x="518" y="22"/>
                  </a:lnTo>
                  <a:lnTo>
                    <a:pt x="521" y="24"/>
                  </a:lnTo>
                  <a:lnTo>
                    <a:pt x="521" y="24"/>
                  </a:lnTo>
                  <a:lnTo>
                    <a:pt x="521" y="26"/>
                  </a:lnTo>
                  <a:lnTo>
                    <a:pt x="521" y="26"/>
                  </a:lnTo>
                  <a:lnTo>
                    <a:pt x="521" y="28"/>
                  </a:lnTo>
                  <a:lnTo>
                    <a:pt x="521" y="34"/>
                  </a:lnTo>
                  <a:lnTo>
                    <a:pt x="521" y="43"/>
                  </a:lnTo>
                  <a:lnTo>
                    <a:pt x="521" y="43"/>
                  </a:lnTo>
                  <a:lnTo>
                    <a:pt x="521" y="45"/>
                  </a:lnTo>
                  <a:lnTo>
                    <a:pt x="521" y="47"/>
                  </a:lnTo>
                  <a:lnTo>
                    <a:pt x="521" y="49"/>
                  </a:lnTo>
                  <a:lnTo>
                    <a:pt x="521" y="49"/>
                  </a:lnTo>
                  <a:lnTo>
                    <a:pt x="521" y="49"/>
                  </a:lnTo>
                  <a:lnTo>
                    <a:pt x="521" y="49"/>
                  </a:lnTo>
                  <a:lnTo>
                    <a:pt x="518" y="51"/>
                  </a:lnTo>
                  <a:lnTo>
                    <a:pt x="518" y="51"/>
                  </a:lnTo>
                  <a:lnTo>
                    <a:pt x="516" y="51"/>
                  </a:lnTo>
                  <a:lnTo>
                    <a:pt x="514" y="51"/>
                  </a:lnTo>
                  <a:lnTo>
                    <a:pt x="514" y="51"/>
                  </a:lnTo>
                  <a:lnTo>
                    <a:pt x="510" y="51"/>
                  </a:lnTo>
                  <a:lnTo>
                    <a:pt x="510" y="51"/>
                  </a:lnTo>
                  <a:lnTo>
                    <a:pt x="508" y="51"/>
                  </a:lnTo>
                  <a:lnTo>
                    <a:pt x="508" y="51"/>
                  </a:lnTo>
                  <a:lnTo>
                    <a:pt x="508" y="51"/>
                  </a:lnTo>
                  <a:lnTo>
                    <a:pt x="508" y="51"/>
                  </a:lnTo>
                  <a:lnTo>
                    <a:pt x="506" y="47"/>
                  </a:lnTo>
                  <a:lnTo>
                    <a:pt x="504" y="45"/>
                  </a:lnTo>
                  <a:lnTo>
                    <a:pt x="504" y="45"/>
                  </a:lnTo>
                  <a:lnTo>
                    <a:pt x="504" y="45"/>
                  </a:lnTo>
                  <a:lnTo>
                    <a:pt x="504" y="43"/>
                  </a:lnTo>
                  <a:lnTo>
                    <a:pt x="504" y="41"/>
                  </a:lnTo>
                  <a:lnTo>
                    <a:pt x="504" y="41"/>
                  </a:lnTo>
                  <a:lnTo>
                    <a:pt x="504" y="41"/>
                  </a:lnTo>
                  <a:lnTo>
                    <a:pt x="504" y="41"/>
                  </a:lnTo>
                  <a:lnTo>
                    <a:pt x="504" y="38"/>
                  </a:lnTo>
                  <a:lnTo>
                    <a:pt x="504" y="38"/>
                  </a:lnTo>
                  <a:lnTo>
                    <a:pt x="504" y="38"/>
                  </a:lnTo>
                  <a:lnTo>
                    <a:pt x="500" y="34"/>
                  </a:lnTo>
                  <a:lnTo>
                    <a:pt x="500" y="34"/>
                  </a:lnTo>
                  <a:lnTo>
                    <a:pt x="500" y="34"/>
                  </a:lnTo>
                  <a:lnTo>
                    <a:pt x="500" y="34"/>
                  </a:lnTo>
                  <a:lnTo>
                    <a:pt x="500" y="34"/>
                  </a:lnTo>
                  <a:lnTo>
                    <a:pt x="500" y="32"/>
                  </a:lnTo>
                  <a:lnTo>
                    <a:pt x="500" y="32"/>
                  </a:lnTo>
                  <a:lnTo>
                    <a:pt x="500" y="32"/>
                  </a:lnTo>
                  <a:lnTo>
                    <a:pt x="500" y="32"/>
                  </a:lnTo>
                  <a:lnTo>
                    <a:pt x="496" y="32"/>
                  </a:lnTo>
                  <a:lnTo>
                    <a:pt x="494" y="32"/>
                  </a:lnTo>
                  <a:lnTo>
                    <a:pt x="488" y="32"/>
                  </a:lnTo>
                  <a:lnTo>
                    <a:pt x="484" y="32"/>
                  </a:lnTo>
                  <a:lnTo>
                    <a:pt x="477" y="34"/>
                  </a:lnTo>
                  <a:lnTo>
                    <a:pt x="471" y="34"/>
                  </a:lnTo>
                  <a:lnTo>
                    <a:pt x="463" y="34"/>
                  </a:lnTo>
                  <a:lnTo>
                    <a:pt x="455" y="36"/>
                  </a:lnTo>
                  <a:lnTo>
                    <a:pt x="447" y="36"/>
                  </a:lnTo>
                  <a:lnTo>
                    <a:pt x="437" y="36"/>
                  </a:lnTo>
                  <a:lnTo>
                    <a:pt x="428" y="38"/>
                  </a:lnTo>
                  <a:lnTo>
                    <a:pt x="418" y="38"/>
                  </a:lnTo>
                  <a:lnTo>
                    <a:pt x="408" y="38"/>
                  </a:lnTo>
                  <a:lnTo>
                    <a:pt x="398" y="41"/>
                  </a:lnTo>
                  <a:lnTo>
                    <a:pt x="387" y="41"/>
                  </a:lnTo>
                  <a:lnTo>
                    <a:pt x="377" y="43"/>
                  </a:lnTo>
                  <a:lnTo>
                    <a:pt x="367" y="43"/>
                  </a:lnTo>
                  <a:lnTo>
                    <a:pt x="357" y="45"/>
                  </a:lnTo>
                  <a:lnTo>
                    <a:pt x="346" y="45"/>
                  </a:lnTo>
                  <a:lnTo>
                    <a:pt x="336" y="45"/>
                  </a:lnTo>
                  <a:lnTo>
                    <a:pt x="326" y="47"/>
                  </a:lnTo>
                  <a:lnTo>
                    <a:pt x="318" y="47"/>
                  </a:lnTo>
                  <a:lnTo>
                    <a:pt x="308" y="47"/>
                  </a:lnTo>
                  <a:lnTo>
                    <a:pt x="299" y="49"/>
                  </a:lnTo>
                  <a:lnTo>
                    <a:pt x="291" y="49"/>
                  </a:lnTo>
                  <a:lnTo>
                    <a:pt x="285" y="49"/>
                  </a:lnTo>
                  <a:lnTo>
                    <a:pt x="279" y="49"/>
                  </a:lnTo>
                  <a:lnTo>
                    <a:pt x="273" y="51"/>
                  </a:lnTo>
                  <a:lnTo>
                    <a:pt x="269" y="51"/>
                  </a:lnTo>
                  <a:lnTo>
                    <a:pt x="265" y="51"/>
                  </a:lnTo>
                  <a:lnTo>
                    <a:pt x="262" y="51"/>
                  </a:lnTo>
                  <a:lnTo>
                    <a:pt x="260" y="51"/>
                  </a:lnTo>
                  <a:lnTo>
                    <a:pt x="258" y="51"/>
                  </a:lnTo>
                  <a:lnTo>
                    <a:pt x="256" y="51"/>
                  </a:lnTo>
                  <a:lnTo>
                    <a:pt x="256" y="51"/>
                  </a:lnTo>
                  <a:lnTo>
                    <a:pt x="250" y="47"/>
                  </a:lnTo>
                  <a:lnTo>
                    <a:pt x="248" y="41"/>
                  </a:lnTo>
                  <a:lnTo>
                    <a:pt x="248" y="36"/>
                  </a:lnTo>
                  <a:lnTo>
                    <a:pt x="246" y="34"/>
                  </a:lnTo>
                  <a:lnTo>
                    <a:pt x="246" y="30"/>
                  </a:lnTo>
                  <a:lnTo>
                    <a:pt x="244" y="30"/>
                  </a:lnTo>
                  <a:lnTo>
                    <a:pt x="244" y="28"/>
                  </a:lnTo>
                  <a:lnTo>
                    <a:pt x="242" y="26"/>
                  </a:lnTo>
                  <a:lnTo>
                    <a:pt x="242" y="26"/>
                  </a:lnTo>
                  <a:lnTo>
                    <a:pt x="240" y="24"/>
                  </a:lnTo>
                  <a:lnTo>
                    <a:pt x="240" y="24"/>
                  </a:lnTo>
                  <a:lnTo>
                    <a:pt x="240" y="24"/>
                  </a:lnTo>
                  <a:lnTo>
                    <a:pt x="240" y="22"/>
                  </a:lnTo>
                  <a:lnTo>
                    <a:pt x="226" y="24"/>
                  </a:lnTo>
                  <a:lnTo>
                    <a:pt x="211" y="26"/>
                  </a:lnTo>
                  <a:lnTo>
                    <a:pt x="195" y="28"/>
                  </a:lnTo>
                  <a:lnTo>
                    <a:pt x="181" y="30"/>
                  </a:lnTo>
                  <a:lnTo>
                    <a:pt x="166" y="32"/>
                  </a:lnTo>
                  <a:lnTo>
                    <a:pt x="152" y="34"/>
                  </a:lnTo>
                  <a:lnTo>
                    <a:pt x="138" y="36"/>
                  </a:lnTo>
                  <a:lnTo>
                    <a:pt x="123" y="38"/>
                  </a:lnTo>
                  <a:lnTo>
                    <a:pt x="109" y="41"/>
                  </a:lnTo>
                  <a:lnTo>
                    <a:pt x="95" y="43"/>
                  </a:lnTo>
                  <a:lnTo>
                    <a:pt x="78" y="43"/>
                  </a:lnTo>
                  <a:lnTo>
                    <a:pt x="64" y="45"/>
                  </a:lnTo>
                  <a:lnTo>
                    <a:pt x="49" y="47"/>
                  </a:lnTo>
                  <a:lnTo>
                    <a:pt x="35" y="49"/>
                  </a:lnTo>
                  <a:lnTo>
                    <a:pt x="21" y="51"/>
                  </a:lnTo>
                  <a:lnTo>
                    <a:pt x="6" y="53"/>
                  </a:lnTo>
                  <a:lnTo>
                    <a:pt x="2" y="53"/>
                  </a:lnTo>
                  <a:lnTo>
                    <a:pt x="2" y="55"/>
                  </a:lnTo>
                  <a:lnTo>
                    <a:pt x="2" y="59"/>
                  </a:lnTo>
                  <a:lnTo>
                    <a:pt x="2" y="59"/>
                  </a:lnTo>
                  <a:lnTo>
                    <a:pt x="0" y="63"/>
                  </a:lnTo>
                  <a:lnTo>
                    <a:pt x="0" y="65"/>
                  </a:lnTo>
                  <a:lnTo>
                    <a:pt x="0" y="65"/>
                  </a:lnTo>
                  <a:lnTo>
                    <a:pt x="0" y="67"/>
                  </a:lnTo>
                  <a:lnTo>
                    <a:pt x="0" y="67"/>
                  </a:lnTo>
                  <a:lnTo>
                    <a:pt x="0" y="67"/>
                  </a:lnTo>
                  <a:lnTo>
                    <a:pt x="2" y="69"/>
                  </a:lnTo>
                  <a:lnTo>
                    <a:pt x="2" y="71"/>
                  </a:lnTo>
                  <a:lnTo>
                    <a:pt x="8" y="75"/>
                  </a:lnTo>
                  <a:lnTo>
                    <a:pt x="8" y="75"/>
                  </a:lnTo>
                  <a:lnTo>
                    <a:pt x="11" y="79"/>
                  </a:lnTo>
                  <a:lnTo>
                    <a:pt x="13" y="79"/>
                  </a:lnTo>
                  <a:lnTo>
                    <a:pt x="15" y="82"/>
                  </a:lnTo>
                  <a:lnTo>
                    <a:pt x="23" y="86"/>
                  </a:lnTo>
                  <a:lnTo>
                    <a:pt x="23" y="86"/>
                  </a:lnTo>
                  <a:lnTo>
                    <a:pt x="23" y="86"/>
                  </a:lnTo>
                  <a:lnTo>
                    <a:pt x="23" y="88"/>
                  </a:lnTo>
                  <a:lnTo>
                    <a:pt x="23" y="88"/>
                  </a:lnTo>
                  <a:lnTo>
                    <a:pt x="23" y="92"/>
                  </a:lnTo>
                  <a:lnTo>
                    <a:pt x="23" y="96"/>
                  </a:lnTo>
                  <a:lnTo>
                    <a:pt x="21" y="98"/>
                  </a:lnTo>
                  <a:lnTo>
                    <a:pt x="21" y="100"/>
                  </a:lnTo>
                  <a:lnTo>
                    <a:pt x="21" y="100"/>
                  </a:lnTo>
                  <a:lnTo>
                    <a:pt x="23" y="102"/>
                  </a:lnTo>
                  <a:lnTo>
                    <a:pt x="25" y="106"/>
                  </a:lnTo>
                  <a:lnTo>
                    <a:pt x="25" y="106"/>
                  </a:lnTo>
                  <a:lnTo>
                    <a:pt x="25" y="106"/>
                  </a:lnTo>
                  <a:lnTo>
                    <a:pt x="27" y="108"/>
                  </a:lnTo>
                  <a:lnTo>
                    <a:pt x="27" y="108"/>
                  </a:lnTo>
                  <a:lnTo>
                    <a:pt x="29" y="108"/>
                  </a:lnTo>
                  <a:lnTo>
                    <a:pt x="31" y="108"/>
                  </a:lnTo>
                  <a:lnTo>
                    <a:pt x="31" y="108"/>
                  </a:lnTo>
                  <a:lnTo>
                    <a:pt x="31" y="110"/>
                  </a:lnTo>
                  <a:lnTo>
                    <a:pt x="31" y="110"/>
                  </a:lnTo>
                  <a:lnTo>
                    <a:pt x="31" y="112"/>
                  </a:lnTo>
                  <a:lnTo>
                    <a:pt x="29" y="112"/>
                  </a:lnTo>
                  <a:lnTo>
                    <a:pt x="27" y="114"/>
                  </a:lnTo>
                  <a:lnTo>
                    <a:pt x="25" y="118"/>
                  </a:lnTo>
                  <a:lnTo>
                    <a:pt x="25" y="118"/>
                  </a:lnTo>
                  <a:lnTo>
                    <a:pt x="27" y="118"/>
                  </a:lnTo>
                  <a:lnTo>
                    <a:pt x="27" y="120"/>
                  </a:lnTo>
                  <a:lnTo>
                    <a:pt x="25" y="120"/>
                  </a:lnTo>
                  <a:lnTo>
                    <a:pt x="25" y="123"/>
                  </a:lnTo>
                  <a:lnTo>
                    <a:pt x="23" y="123"/>
                  </a:lnTo>
                  <a:lnTo>
                    <a:pt x="21" y="123"/>
                  </a:lnTo>
                  <a:lnTo>
                    <a:pt x="21" y="125"/>
                  </a:lnTo>
                  <a:lnTo>
                    <a:pt x="23" y="125"/>
                  </a:lnTo>
                  <a:lnTo>
                    <a:pt x="23" y="125"/>
                  </a:lnTo>
                  <a:lnTo>
                    <a:pt x="21" y="125"/>
                  </a:lnTo>
                  <a:lnTo>
                    <a:pt x="19" y="127"/>
                  </a:lnTo>
                  <a:lnTo>
                    <a:pt x="19" y="127"/>
                  </a:lnTo>
                  <a:lnTo>
                    <a:pt x="19" y="127"/>
                  </a:lnTo>
                  <a:lnTo>
                    <a:pt x="17" y="129"/>
                  </a:lnTo>
                  <a:lnTo>
                    <a:pt x="17" y="129"/>
                  </a:lnTo>
                  <a:lnTo>
                    <a:pt x="17" y="129"/>
                  </a:lnTo>
                  <a:lnTo>
                    <a:pt x="17" y="129"/>
                  </a:lnTo>
                  <a:lnTo>
                    <a:pt x="19" y="129"/>
                  </a:lnTo>
                  <a:lnTo>
                    <a:pt x="21" y="129"/>
                  </a:lnTo>
                  <a:lnTo>
                    <a:pt x="21" y="127"/>
                  </a:lnTo>
                  <a:lnTo>
                    <a:pt x="35" y="123"/>
                  </a:lnTo>
                  <a:lnTo>
                    <a:pt x="37" y="120"/>
                  </a:lnTo>
                  <a:lnTo>
                    <a:pt x="35" y="120"/>
                  </a:lnTo>
                  <a:lnTo>
                    <a:pt x="37" y="118"/>
                  </a:lnTo>
                  <a:lnTo>
                    <a:pt x="39" y="118"/>
                  </a:lnTo>
                  <a:lnTo>
                    <a:pt x="39" y="118"/>
                  </a:lnTo>
                  <a:lnTo>
                    <a:pt x="39" y="116"/>
                  </a:lnTo>
                  <a:lnTo>
                    <a:pt x="39" y="114"/>
                  </a:lnTo>
                  <a:lnTo>
                    <a:pt x="39" y="112"/>
                  </a:lnTo>
                  <a:lnTo>
                    <a:pt x="41" y="112"/>
                  </a:lnTo>
                  <a:lnTo>
                    <a:pt x="43" y="112"/>
                  </a:lnTo>
                  <a:lnTo>
                    <a:pt x="45" y="110"/>
                  </a:lnTo>
                  <a:lnTo>
                    <a:pt x="45" y="108"/>
                  </a:lnTo>
                  <a:lnTo>
                    <a:pt x="45" y="108"/>
                  </a:lnTo>
                  <a:lnTo>
                    <a:pt x="45" y="108"/>
                  </a:lnTo>
                  <a:lnTo>
                    <a:pt x="45" y="108"/>
                  </a:lnTo>
                  <a:lnTo>
                    <a:pt x="47" y="108"/>
                  </a:lnTo>
                  <a:lnTo>
                    <a:pt x="49" y="104"/>
                  </a:lnTo>
                  <a:lnTo>
                    <a:pt x="49" y="102"/>
                  </a:lnTo>
                  <a:lnTo>
                    <a:pt x="47" y="100"/>
                  </a:lnTo>
                  <a:lnTo>
                    <a:pt x="45" y="98"/>
                  </a:lnTo>
                  <a:lnTo>
                    <a:pt x="45" y="98"/>
                  </a:lnTo>
                  <a:lnTo>
                    <a:pt x="45" y="94"/>
                  </a:lnTo>
                  <a:lnTo>
                    <a:pt x="45" y="92"/>
                  </a:lnTo>
                  <a:lnTo>
                    <a:pt x="45" y="92"/>
                  </a:lnTo>
                  <a:lnTo>
                    <a:pt x="47" y="92"/>
                  </a:lnTo>
                  <a:lnTo>
                    <a:pt x="47" y="94"/>
                  </a:lnTo>
                  <a:lnTo>
                    <a:pt x="49" y="94"/>
                  </a:lnTo>
                  <a:lnTo>
                    <a:pt x="49" y="94"/>
                  </a:lnTo>
                  <a:lnTo>
                    <a:pt x="49" y="96"/>
                  </a:lnTo>
                  <a:lnTo>
                    <a:pt x="49" y="96"/>
                  </a:lnTo>
                  <a:lnTo>
                    <a:pt x="49" y="98"/>
                  </a:lnTo>
                  <a:lnTo>
                    <a:pt x="52" y="98"/>
                  </a:lnTo>
                  <a:lnTo>
                    <a:pt x="54" y="98"/>
                  </a:lnTo>
                  <a:lnTo>
                    <a:pt x="54" y="100"/>
                  </a:lnTo>
                  <a:lnTo>
                    <a:pt x="54" y="102"/>
                  </a:lnTo>
                  <a:lnTo>
                    <a:pt x="54" y="104"/>
                  </a:lnTo>
                  <a:lnTo>
                    <a:pt x="54" y="104"/>
                  </a:lnTo>
                  <a:lnTo>
                    <a:pt x="56" y="106"/>
                  </a:lnTo>
                  <a:lnTo>
                    <a:pt x="56" y="106"/>
                  </a:lnTo>
                  <a:lnTo>
                    <a:pt x="58" y="104"/>
                  </a:lnTo>
                  <a:lnTo>
                    <a:pt x="58" y="100"/>
                  </a:lnTo>
                  <a:lnTo>
                    <a:pt x="58" y="98"/>
                  </a:lnTo>
                  <a:lnTo>
                    <a:pt x="60" y="92"/>
                  </a:lnTo>
                  <a:lnTo>
                    <a:pt x="60" y="92"/>
                  </a:lnTo>
                  <a:lnTo>
                    <a:pt x="60" y="90"/>
                  </a:lnTo>
                  <a:lnTo>
                    <a:pt x="58" y="88"/>
                  </a:lnTo>
                  <a:lnTo>
                    <a:pt x="60" y="90"/>
                  </a:lnTo>
                  <a:lnTo>
                    <a:pt x="62" y="92"/>
                  </a:lnTo>
                  <a:lnTo>
                    <a:pt x="64" y="94"/>
                  </a:lnTo>
                  <a:lnTo>
                    <a:pt x="64" y="92"/>
                  </a:lnTo>
                  <a:lnTo>
                    <a:pt x="66" y="92"/>
                  </a:lnTo>
                  <a:lnTo>
                    <a:pt x="66" y="92"/>
                  </a:lnTo>
                  <a:lnTo>
                    <a:pt x="66" y="94"/>
                  </a:lnTo>
                  <a:lnTo>
                    <a:pt x="62" y="94"/>
                  </a:lnTo>
                  <a:lnTo>
                    <a:pt x="62" y="96"/>
                  </a:lnTo>
                  <a:lnTo>
                    <a:pt x="62" y="98"/>
                  </a:lnTo>
                  <a:lnTo>
                    <a:pt x="62" y="98"/>
                  </a:lnTo>
                  <a:lnTo>
                    <a:pt x="62" y="100"/>
                  </a:lnTo>
                  <a:lnTo>
                    <a:pt x="62" y="100"/>
                  </a:lnTo>
                  <a:lnTo>
                    <a:pt x="64" y="100"/>
                  </a:lnTo>
                  <a:lnTo>
                    <a:pt x="64" y="100"/>
                  </a:lnTo>
                  <a:lnTo>
                    <a:pt x="66" y="102"/>
                  </a:lnTo>
                  <a:lnTo>
                    <a:pt x="66" y="102"/>
                  </a:lnTo>
                  <a:lnTo>
                    <a:pt x="68" y="102"/>
                  </a:lnTo>
                  <a:lnTo>
                    <a:pt x="70" y="102"/>
                  </a:lnTo>
                  <a:lnTo>
                    <a:pt x="72" y="102"/>
                  </a:lnTo>
                  <a:lnTo>
                    <a:pt x="74" y="104"/>
                  </a:lnTo>
                  <a:lnTo>
                    <a:pt x="74" y="106"/>
                  </a:lnTo>
                  <a:lnTo>
                    <a:pt x="72" y="104"/>
                  </a:lnTo>
                  <a:lnTo>
                    <a:pt x="70" y="104"/>
                  </a:lnTo>
                  <a:lnTo>
                    <a:pt x="68" y="104"/>
                  </a:lnTo>
                  <a:lnTo>
                    <a:pt x="64" y="110"/>
                  </a:lnTo>
                  <a:lnTo>
                    <a:pt x="62" y="110"/>
                  </a:lnTo>
                  <a:lnTo>
                    <a:pt x="58" y="110"/>
                  </a:lnTo>
                  <a:lnTo>
                    <a:pt x="52" y="112"/>
                  </a:lnTo>
                  <a:lnTo>
                    <a:pt x="47" y="114"/>
                  </a:lnTo>
                  <a:lnTo>
                    <a:pt x="47" y="114"/>
                  </a:lnTo>
                  <a:lnTo>
                    <a:pt x="47" y="116"/>
                  </a:lnTo>
                  <a:lnTo>
                    <a:pt x="47" y="116"/>
                  </a:lnTo>
                  <a:lnTo>
                    <a:pt x="52" y="116"/>
                  </a:lnTo>
                  <a:lnTo>
                    <a:pt x="60" y="112"/>
                  </a:lnTo>
                  <a:lnTo>
                    <a:pt x="74" y="108"/>
                  </a:lnTo>
                  <a:lnTo>
                    <a:pt x="80" y="108"/>
                  </a:lnTo>
                  <a:lnTo>
                    <a:pt x="82" y="106"/>
                  </a:lnTo>
                  <a:lnTo>
                    <a:pt x="84" y="106"/>
                  </a:lnTo>
                  <a:lnTo>
                    <a:pt x="86" y="106"/>
                  </a:lnTo>
                  <a:lnTo>
                    <a:pt x="92" y="104"/>
                  </a:lnTo>
                  <a:lnTo>
                    <a:pt x="101" y="104"/>
                  </a:lnTo>
                  <a:lnTo>
                    <a:pt x="101" y="104"/>
                  </a:lnTo>
                  <a:lnTo>
                    <a:pt x="101" y="102"/>
                  </a:lnTo>
                  <a:lnTo>
                    <a:pt x="101" y="102"/>
                  </a:lnTo>
                  <a:lnTo>
                    <a:pt x="103" y="102"/>
                  </a:lnTo>
                  <a:lnTo>
                    <a:pt x="105" y="100"/>
                  </a:lnTo>
                  <a:lnTo>
                    <a:pt x="105" y="98"/>
                  </a:lnTo>
                  <a:lnTo>
                    <a:pt x="107" y="98"/>
                  </a:lnTo>
                  <a:lnTo>
                    <a:pt x="107" y="98"/>
                  </a:lnTo>
                  <a:lnTo>
                    <a:pt x="109" y="98"/>
                  </a:lnTo>
                  <a:lnTo>
                    <a:pt x="109" y="98"/>
                  </a:lnTo>
                  <a:lnTo>
                    <a:pt x="111" y="96"/>
                  </a:lnTo>
                  <a:lnTo>
                    <a:pt x="111" y="96"/>
                  </a:lnTo>
                  <a:lnTo>
                    <a:pt x="111" y="92"/>
                  </a:lnTo>
                  <a:lnTo>
                    <a:pt x="109" y="92"/>
                  </a:lnTo>
                  <a:lnTo>
                    <a:pt x="111" y="92"/>
                  </a:lnTo>
                  <a:lnTo>
                    <a:pt x="111" y="94"/>
                  </a:lnTo>
                  <a:lnTo>
                    <a:pt x="113" y="94"/>
                  </a:lnTo>
                  <a:lnTo>
                    <a:pt x="113" y="92"/>
                  </a:lnTo>
                  <a:lnTo>
                    <a:pt x="113" y="92"/>
                  </a:lnTo>
                  <a:lnTo>
                    <a:pt x="115" y="92"/>
                  </a:lnTo>
                  <a:lnTo>
                    <a:pt x="117" y="92"/>
                  </a:lnTo>
                  <a:lnTo>
                    <a:pt x="115" y="94"/>
                  </a:lnTo>
                  <a:lnTo>
                    <a:pt x="115" y="96"/>
                  </a:lnTo>
                  <a:lnTo>
                    <a:pt x="117" y="98"/>
                  </a:lnTo>
                  <a:lnTo>
                    <a:pt x="117" y="98"/>
                  </a:lnTo>
                  <a:lnTo>
                    <a:pt x="119" y="96"/>
                  </a:lnTo>
                  <a:lnTo>
                    <a:pt x="119" y="96"/>
                  </a:lnTo>
                  <a:lnTo>
                    <a:pt x="121" y="94"/>
                  </a:lnTo>
                  <a:lnTo>
                    <a:pt x="123" y="94"/>
                  </a:lnTo>
                  <a:lnTo>
                    <a:pt x="127" y="92"/>
                  </a:lnTo>
                  <a:lnTo>
                    <a:pt x="129" y="92"/>
                  </a:lnTo>
                  <a:lnTo>
                    <a:pt x="133" y="92"/>
                  </a:lnTo>
                  <a:lnTo>
                    <a:pt x="135" y="92"/>
                  </a:lnTo>
                  <a:lnTo>
                    <a:pt x="135" y="90"/>
                  </a:lnTo>
                  <a:lnTo>
                    <a:pt x="138" y="94"/>
                  </a:lnTo>
                  <a:lnTo>
                    <a:pt x="140" y="94"/>
                  </a:lnTo>
                  <a:lnTo>
                    <a:pt x="140" y="94"/>
                  </a:lnTo>
                  <a:lnTo>
                    <a:pt x="142" y="92"/>
                  </a:lnTo>
                  <a:lnTo>
                    <a:pt x="144" y="94"/>
                  </a:lnTo>
                  <a:lnTo>
                    <a:pt x="142" y="94"/>
                  </a:lnTo>
                  <a:lnTo>
                    <a:pt x="142" y="94"/>
                  </a:lnTo>
                  <a:lnTo>
                    <a:pt x="142" y="96"/>
                  </a:lnTo>
                  <a:lnTo>
                    <a:pt x="146" y="100"/>
                  </a:lnTo>
                  <a:lnTo>
                    <a:pt x="146" y="100"/>
                  </a:lnTo>
                  <a:lnTo>
                    <a:pt x="146" y="100"/>
                  </a:lnTo>
                  <a:lnTo>
                    <a:pt x="146" y="102"/>
                  </a:lnTo>
                  <a:lnTo>
                    <a:pt x="146" y="102"/>
                  </a:lnTo>
                  <a:lnTo>
                    <a:pt x="144" y="102"/>
                  </a:lnTo>
                  <a:lnTo>
                    <a:pt x="144" y="102"/>
                  </a:lnTo>
                  <a:lnTo>
                    <a:pt x="138" y="100"/>
                  </a:lnTo>
                  <a:lnTo>
                    <a:pt x="135" y="98"/>
                  </a:lnTo>
                  <a:lnTo>
                    <a:pt x="133" y="98"/>
                  </a:lnTo>
                  <a:lnTo>
                    <a:pt x="133" y="98"/>
                  </a:lnTo>
                  <a:lnTo>
                    <a:pt x="131" y="98"/>
                  </a:lnTo>
                  <a:lnTo>
                    <a:pt x="131" y="100"/>
                  </a:lnTo>
                  <a:lnTo>
                    <a:pt x="133" y="100"/>
                  </a:lnTo>
                  <a:lnTo>
                    <a:pt x="135" y="100"/>
                  </a:lnTo>
                  <a:lnTo>
                    <a:pt x="135" y="100"/>
                  </a:lnTo>
                  <a:lnTo>
                    <a:pt x="135" y="102"/>
                  </a:lnTo>
                  <a:lnTo>
                    <a:pt x="135" y="102"/>
                  </a:lnTo>
                  <a:lnTo>
                    <a:pt x="133" y="102"/>
                  </a:lnTo>
                  <a:lnTo>
                    <a:pt x="129" y="102"/>
                  </a:lnTo>
                  <a:lnTo>
                    <a:pt x="129" y="102"/>
                  </a:lnTo>
                  <a:lnTo>
                    <a:pt x="127" y="100"/>
                  </a:lnTo>
                  <a:lnTo>
                    <a:pt x="127" y="98"/>
                  </a:lnTo>
                  <a:lnTo>
                    <a:pt x="127" y="98"/>
                  </a:lnTo>
                  <a:lnTo>
                    <a:pt x="127" y="98"/>
                  </a:lnTo>
                  <a:lnTo>
                    <a:pt x="127" y="98"/>
                  </a:lnTo>
                  <a:lnTo>
                    <a:pt x="127" y="100"/>
                  </a:lnTo>
                  <a:lnTo>
                    <a:pt x="125" y="102"/>
                  </a:lnTo>
                  <a:lnTo>
                    <a:pt x="125" y="102"/>
                  </a:lnTo>
                  <a:lnTo>
                    <a:pt x="125" y="104"/>
                  </a:lnTo>
                  <a:lnTo>
                    <a:pt x="119" y="102"/>
                  </a:lnTo>
                  <a:lnTo>
                    <a:pt x="111" y="104"/>
                  </a:lnTo>
                  <a:lnTo>
                    <a:pt x="109" y="104"/>
                  </a:lnTo>
                  <a:lnTo>
                    <a:pt x="109" y="104"/>
                  </a:lnTo>
                  <a:lnTo>
                    <a:pt x="109" y="104"/>
                  </a:lnTo>
                  <a:lnTo>
                    <a:pt x="109" y="104"/>
                  </a:lnTo>
                  <a:lnTo>
                    <a:pt x="111" y="106"/>
                  </a:lnTo>
                  <a:lnTo>
                    <a:pt x="123" y="106"/>
                  </a:lnTo>
                  <a:lnTo>
                    <a:pt x="140" y="108"/>
                  </a:lnTo>
                  <a:lnTo>
                    <a:pt x="152" y="110"/>
                  </a:lnTo>
                  <a:lnTo>
                    <a:pt x="162" y="114"/>
                  </a:lnTo>
                  <a:lnTo>
                    <a:pt x="172" y="116"/>
                  </a:lnTo>
                  <a:lnTo>
                    <a:pt x="185" y="125"/>
                  </a:lnTo>
                  <a:lnTo>
                    <a:pt x="187" y="125"/>
                  </a:lnTo>
                  <a:lnTo>
                    <a:pt x="185" y="123"/>
                  </a:lnTo>
                  <a:lnTo>
                    <a:pt x="185" y="123"/>
                  </a:lnTo>
                  <a:lnTo>
                    <a:pt x="185" y="123"/>
                  </a:lnTo>
                  <a:lnTo>
                    <a:pt x="187" y="123"/>
                  </a:lnTo>
                  <a:lnTo>
                    <a:pt x="187" y="123"/>
                  </a:lnTo>
                  <a:lnTo>
                    <a:pt x="185" y="120"/>
                  </a:lnTo>
                  <a:lnTo>
                    <a:pt x="183" y="120"/>
                  </a:lnTo>
                  <a:lnTo>
                    <a:pt x="183" y="118"/>
                  </a:lnTo>
                  <a:lnTo>
                    <a:pt x="185" y="116"/>
                  </a:lnTo>
                  <a:lnTo>
                    <a:pt x="183" y="114"/>
                  </a:lnTo>
                  <a:lnTo>
                    <a:pt x="181" y="114"/>
                  </a:lnTo>
                  <a:lnTo>
                    <a:pt x="181" y="114"/>
                  </a:lnTo>
                  <a:lnTo>
                    <a:pt x="178" y="112"/>
                  </a:lnTo>
                  <a:lnTo>
                    <a:pt x="176" y="114"/>
                  </a:lnTo>
                  <a:lnTo>
                    <a:pt x="174" y="114"/>
                  </a:lnTo>
                  <a:lnTo>
                    <a:pt x="174" y="114"/>
                  </a:lnTo>
                  <a:lnTo>
                    <a:pt x="172" y="114"/>
                  </a:lnTo>
                  <a:lnTo>
                    <a:pt x="172" y="112"/>
                  </a:lnTo>
                  <a:lnTo>
                    <a:pt x="172" y="110"/>
                  </a:lnTo>
                  <a:lnTo>
                    <a:pt x="174" y="108"/>
                  </a:lnTo>
                  <a:lnTo>
                    <a:pt x="176" y="108"/>
                  </a:lnTo>
                  <a:lnTo>
                    <a:pt x="178" y="108"/>
                  </a:lnTo>
                  <a:lnTo>
                    <a:pt x="178" y="106"/>
                  </a:lnTo>
                  <a:lnTo>
                    <a:pt x="181" y="104"/>
                  </a:lnTo>
                  <a:lnTo>
                    <a:pt x="183" y="106"/>
                  </a:lnTo>
                  <a:lnTo>
                    <a:pt x="183" y="108"/>
                  </a:lnTo>
                  <a:lnTo>
                    <a:pt x="185" y="110"/>
                  </a:lnTo>
                  <a:lnTo>
                    <a:pt x="185" y="112"/>
                  </a:lnTo>
                  <a:lnTo>
                    <a:pt x="185" y="112"/>
                  </a:lnTo>
                  <a:lnTo>
                    <a:pt x="187" y="110"/>
                  </a:lnTo>
                  <a:lnTo>
                    <a:pt x="187" y="110"/>
                  </a:lnTo>
                  <a:lnTo>
                    <a:pt x="187" y="108"/>
                  </a:lnTo>
                  <a:lnTo>
                    <a:pt x="189" y="108"/>
                  </a:lnTo>
                  <a:lnTo>
                    <a:pt x="191" y="108"/>
                  </a:lnTo>
                  <a:lnTo>
                    <a:pt x="191" y="108"/>
                  </a:lnTo>
                  <a:lnTo>
                    <a:pt x="191" y="108"/>
                  </a:lnTo>
                  <a:lnTo>
                    <a:pt x="193" y="108"/>
                  </a:lnTo>
                  <a:lnTo>
                    <a:pt x="195" y="102"/>
                  </a:lnTo>
                  <a:lnTo>
                    <a:pt x="195" y="102"/>
                  </a:lnTo>
                  <a:lnTo>
                    <a:pt x="197" y="102"/>
                  </a:lnTo>
                  <a:lnTo>
                    <a:pt x="197" y="104"/>
                  </a:lnTo>
                  <a:lnTo>
                    <a:pt x="199" y="106"/>
                  </a:lnTo>
                  <a:lnTo>
                    <a:pt x="197" y="106"/>
                  </a:lnTo>
                  <a:lnTo>
                    <a:pt x="195" y="110"/>
                  </a:lnTo>
                  <a:lnTo>
                    <a:pt x="191" y="110"/>
                  </a:lnTo>
                  <a:lnTo>
                    <a:pt x="191" y="110"/>
                  </a:lnTo>
                  <a:lnTo>
                    <a:pt x="187" y="116"/>
                  </a:lnTo>
                  <a:lnTo>
                    <a:pt x="185" y="118"/>
                  </a:lnTo>
                  <a:lnTo>
                    <a:pt x="187" y="118"/>
                  </a:lnTo>
                  <a:lnTo>
                    <a:pt x="187" y="118"/>
                  </a:lnTo>
                  <a:lnTo>
                    <a:pt x="187" y="120"/>
                  </a:lnTo>
                  <a:lnTo>
                    <a:pt x="191" y="120"/>
                  </a:lnTo>
                  <a:lnTo>
                    <a:pt x="193" y="120"/>
                  </a:lnTo>
                  <a:lnTo>
                    <a:pt x="193" y="123"/>
                  </a:lnTo>
                  <a:lnTo>
                    <a:pt x="195" y="123"/>
                  </a:lnTo>
                  <a:lnTo>
                    <a:pt x="197" y="123"/>
                  </a:lnTo>
                  <a:lnTo>
                    <a:pt x="199" y="125"/>
                  </a:lnTo>
                  <a:lnTo>
                    <a:pt x="201" y="125"/>
                  </a:lnTo>
                  <a:lnTo>
                    <a:pt x="201" y="125"/>
                  </a:lnTo>
                  <a:lnTo>
                    <a:pt x="201" y="125"/>
                  </a:lnTo>
                  <a:lnTo>
                    <a:pt x="201" y="123"/>
                  </a:lnTo>
                  <a:lnTo>
                    <a:pt x="201" y="123"/>
                  </a:lnTo>
                  <a:lnTo>
                    <a:pt x="203" y="123"/>
                  </a:lnTo>
                  <a:lnTo>
                    <a:pt x="203" y="123"/>
                  </a:lnTo>
                  <a:lnTo>
                    <a:pt x="205" y="120"/>
                  </a:lnTo>
                  <a:lnTo>
                    <a:pt x="207" y="120"/>
                  </a:lnTo>
                  <a:lnTo>
                    <a:pt x="207" y="120"/>
                  </a:lnTo>
                  <a:lnTo>
                    <a:pt x="205" y="123"/>
                  </a:lnTo>
                  <a:lnTo>
                    <a:pt x="205" y="125"/>
                  </a:lnTo>
                  <a:lnTo>
                    <a:pt x="207" y="125"/>
                  </a:lnTo>
                  <a:lnTo>
                    <a:pt x="207" y="125"/>
                  </a:lnTo>
                  <a:lnTo>
                    <a:pt x="209" y="127"/>
                  </a:lnTo>
                  <a:lnTo>
                    <a:pt x="209" y="129"/>
                  </a:lnTo>
                  <a:lnTo>
                    <a:pt x="209" y="131"/>
                  </a:lnTo>
                  <a:lnTo>
                    <a:pt x="211" y="131"/>
                  </a:lnTo>
                  <a:lnTo>
                    <a:pt x="211" y="131"/>
                  </a:lnTo>
                  <a:lnTo>
                    <a:pt x="213" y="129"/>
                  </a:lnTo>
                  <a:lnTo>
                    <a:pt x="213" y="127"/>
                  </a:lnTo>
                  <a:lnTo>
                    <a:pt x="213" y="129"/>
                  </a:lnTo>
                  <a:lnTo>
                    <a:pt x="213" y="129"/>
                  </a:lnTo>
                  <a:lnTo>
                    <a:pt x="213" y="129"/>
                  </a:lnTo>
                  <a:lnTo>
                    <a:pt x="215" y="129"/>
                  </a:lnTo>
                  <a:lnTo>
                    <a:pt x="217" y="129"/>
                  </a:lnTo>
                  <a:lnTo>
                    <a:pt x="217" y="129"/>
                  </a:lnTo>
                  <a:lnTo>
                    <a:pt x="217" y="131"/>
                  </a:lnTo>
                  <a:lnTo>
                    <a:pt x="217" y="131"/>
                  </a:lnTo>
                  <a:lnTo>
                    <a:pt x="215" y="131"/>
                  </a:lnTo>
                  <a:lnTo>
                    <a:pt x="215" y="133"/>
                  </a:lnTo>
                  <a:lnTo>
                    <a:pt x="213" y="133"/>
                  </a:lnTo>
                  <a:lnTo>
                    <a:pt x="209" y="133"/>
                  </a:lnTo>
                  <a:lnTo>
                    <a:pt x="207" y="131"/>
                  </a:lnTo>
                  <a:lnTo>
                    <a:pt x="205" y="129"/>
                  </a:lnTo>
                  <a:lnTo>
                    <a:pt x="203" y="127"/>
                  </a:lnTo>
                  <a:lnTo>
                    <a:pt x="197" y="127"/>
                  </a:lnTo>
                  <a:lnTo>
                    <a:pt x="197" y="125"/>
                  </a:lnTo>
                  <a:lnTo>
                    <a:pt x="191" y="123"/>
                  </a:lnTo>
                  <a:lnTo>
                    <a:pt x="189" y="125"/>
                  </a:lnTo>
                  <a:lnTo>
                    <a:pt x="191" y="125"/>
                  </a:lnTo>
                  <a:lnTo>
                    <a:pt x="197" y="129"/>
                  </a:lnTo>
                  <a:lnTo>
                    <a:pt x="197" y="129"/>
                  </a:lnTo>
                  <a:lnTo>
                    <a:pt x="211" y="137"/>
                  </a:lnTo>
                  <a:lnTo>
                    <a:pt x="209" y="137"/>
                  </a:lnTo>
                  <a:lnTo>
                    <a:pt x="207" y="137"/>
                  </a:lnTo>
                  <a:lnTo>
                    <a:pt x="203" y="135"/>
                  </a:lnTo>
                  <a:lnTo>
                    <a:pt x="203" y="133"/>
                  </a:lnTo>
                  <a:lnTo>
                    <a:pt x="201" y="133"/>
                  </a:lnTo>
                  <a:lnTo>
                    <a:pt x="203" y="135"/>
                  </a:lnTo>
                  <a:lnTo>
                    <a:pt x="203" y="135"/>
                  </a:lnTo>
                  <a:lnTo>
                    <a:pt x="203" y="135"/>
                  </a:lnTo>
                  <a:lnTo>
                    <a:pt x="203" y="137"/>
                  </a:lnTo>
                  <a:lnTo>
                    <a:pt x="207" y="139"/>
                  </a:lnTo>
                  <a:lnTo>
                    <a:pt x="217" y="141"/>
                  </a:lnTo>
                  <a:lnTo>
                    <a:pt x="219" y="143"/>
                  </a:lnTo>
                  <a:lnTo>
                    <a:pt x="221" y="145"/>
                  </a:lnTo>
                  <a:lnTo>
                    <a:pt x="224" y="145"/>
                  </a:lnTo>
                  <a:lnTo>
                    <a:pt x="224" y="147"/>
                  </a:lnTo>
                  <a:lnTo>
                    <a:pt x="226" y="149"/>
                  </a:lnTo>
                  <a:lnTo>
                    <a:pt x="228" y="153"/>
                  </a:lnTo>
                  <a:lnTo>
                    <a:pt x="230" y="155"/>
                  </a:lnTo>
                  <a:lnTo>
                    <a:pt x="230" y="164"/>
                  </a:lnTo>
                  <a:lnTo>
                    <a:pt x="230" y="164"/>
                  </a:lnTo>
                  <a:lnTo>
                    <a:pt x="232" y="164"/>
                  </a:lnTo>
                  <a:lnTo>
                    <a:pt x="230" y="166"/>
                  </a:lnTo>
                  <a:lnTo>
                    <a:pt x="230" y="166"/>
                  </a:lnTo>
                  <a:lnTo>
                    <a:pt x="228" y="168"/>
                  </a:lnTo>
                  <a:lnTo>
                    <a:pt x="228" y="168"/>
                  </a:lnTo>
                  <a:lnTo>
                    <a:pt x="226" y="168"/>
                  </a:lnTo>
                  <a:lnTo>
                    <a:pt x="224" y="164"/>
                  </a:lnTo>
                  <a:lnTo>
                    <a:pt x="221" y="161"/>
                  </a:lnTo>
                  <a:lnTo>
                    <a:pt x="221" y="159"/>
                  </a:lnTo>
                  <a:lnTo>
                    <a:pt x="221" y="157"/>
                  </a:lnTo>
                  <a:lnTo>
                    <a:pt x="219" y="149"/>
                  </a:lnTo>
                  <a:lnTo>
                    <a:pt x="219" y="149"/>
                  </a:lnTo>
                  <a:lnTo>
                    <a:pt x="219" y="151"/>
                  </a:lnTo>
                  <a:lnTo>
                    <a:pt x="219" y="155"/>
                  </a:lnTo>
                  <a:lnTo>
                    <a:pt x="221" y="166"/>
                  </a:lnTo>
                  <a:lnTo>
                    <a:pt x="224" y="166"/>
                  </a:lnTo>
                  <a:lnTo>
                    <a:pt x="226" y="168"/>
                  </a:lnTo>
                  <a:lnTo>
                    <a:pt x="228" y="168"/>
                  </a:lnTo>
                  <a:lnTo>
                    <a:pt x="230" y="166"/>
                  </a:lnTo>
                  <a:lnTo>
                    <a:pt x="232" y="166"/>
                  </a:lnTo>
                  <a:lnTo>
                    <a:pt x="234" y="166"/>
                  </a:lnTo>
                  <a:lnTo>
                    <a:pt x="236" y="166"/>
                  </a:lnTo>
                  <a:lnTo>
                    <a:pt x="248" y="161"/>
                  </a:lnTo>
                  <a:lnTo>
                    <a:pt x="250" y="159"/>
                  </a:lnTo>
                  <a:lnTo>
                    <a:pt x="258" y="159"/>
                  </a:lnTo>
                  <a:lnTo>
                    <a:pt x="260" y="159"/>
                  </a:lnTo>
                  <a:lnTo>
                    <a:pt x="260" y="155"/>
                  </a:lnTo>
                  <a:lnTo>
                    <a:pt x="262" y="155"/>
                  </a:lnTo>
                  <a:lnTo>
                    <a:pt x="265" y="153"/>
                  </a:lnTo>
                  <a:lnTo>
                    <a:pt x="267" y="151"/>
                  </a:lnTo>
                  <a:lnTo>
                    <a:pt x="267" y="151"/>
                  </a:lnTo>
                  <a:lnTo>
                    <a:pt x="269" y="149"/>
                  </a:lnTo>
                  <a:lnTo>
                    <a:pt x="269" y="149"/>
                  </a:lnTo>
                  <a:lnTo>
                    <a:pt x="271" y="149"/>
                  </a:lnTo>
                  <a:lnTo>
                    <a:pt x="269" y="155"/>
                  </a:lnTo>
                  <a:lnTo>
                    <a:pt x="269" y="155"/>
                  </a:lnTo>
                  <a:lnTo>
                    <a:pt x="269" y="157"/>
                  </a:lnTo>
                  <a:lnTo>
                    <a:pt x="271" y="157"/>
                  </a:lnTo>
                  <a:lnTo>
                    <a:pt x="271" y="155"/>
                  </a:lnTo>
                  <a:lnTo>
                    <a:pt x="273" y="155"/>
                  </a:lnTo>
                  <a:lnTo>
                    <a:pt x="275" y="153"/>
                  </a:lnTo>
                  <a:lnTo>
                    <a:pt x="275" y="153"/>
                  </a:lnTo>
                  <a:lnTo>
                    <a:pt x="277" y="151"/>
                  </a:lnTo>
                  <a:lnTo>
                    <a:pt x="279" y="149"/>
                  </a:lnTo>
                  <a:lnTo>
                    <a:pt x="281" y="149"/>
                  </a:lnTo>
                  <a:lnTo>
                    <a:pt x="283" y="149"/>
                  </a:lnTo>
                  <a:lnTo>
                    <a:pt x="287" y="143"/>
                  </a:lnTo>
                  <a:lnTo>
                    <a:pt x="289" y="141"/>
                  </a:lnTo>
                  <a:lnTo>
                    <a:pt x="293" y="139"/>
                  </a:lnTo>
                  <a:lnTo>
                    <a:pt x="297" y="135"/>
                  </a:lnTo>
                  <a:lnTo>
                    <a:pt x="301" y="131"/>
                  </a:lnTo>
                  <a:lnTo>
                    <a:pt x="303" y="133"/>
                  </a:lnTo>
                  <a:lnTo>
                    <a:pt x="303" y="133"/>
                  </a:lnTo>
                  <a:lnTo>
                    <a:pt x="305" y="131"/>
                  </a:lnTo>
                  <a:lnTo>
                    <a:pt x="308" y="131"/>
                  </a:lnTo>
                  <a:lnTo>
                    <a:pt x="312" y="131"/>
                  </a:lnTo>
                  <a:lnTo>
                    <a:pt x="316" y="131"/>
                  </a:lnTo>
                  <a:lnTo>
                    <a:pt x="316" y="133"/>
                  </a:lnTo>
                  <a:lnTo>
                    <a:pt x="316" y="133"/>
                  </a:lnTo>
                  <a:lnTo>
                    <a:pt x="314" y="133"/>
                  </a:lnTo>
                  <a:lnTo>
                    <a:pt x="316" y="131"/>
                  </a:lnTo>
                  <a:lnTo>
                    <a:pt x="318" y="129"/>
                  </a:lnTo>
                  <a:lnTo>
                    <a:pt x="316" y="127"/>
                  </a:lnTo>
                  <a:lnTo>
                    <a:pt x="314" y="127"/>
                  </a:lnTo>
                  <a:lnTo>
                    <a:pt x="308" y="127"/>
                  </a:lnTo>
                  <a:lnTo>
                    <a:pt x="308" y="127"/>
                  </a:lnTo>
                  <a:lnTo>
                    <a:pt x="305" y="125"/>
                  </a:lnTo>
                  <a:lnTo>
                    <a:pt x="305" y="125"/>
                  </a:lnTo>
                  <a:lnTo>
                    <a:pt x="303" y="125"/>
                  </a:lnTo>
                  <a:lnTo>
                    <a:pt x="305" y="123"/>
                  </a:lnTo>
                  <a:lnTo>
                    <a:pt x="308" y="123"/>
                  </a:lnTo>
                  <a:lnTo>
                    <a:pt x="310" y="123"/>
                  </a:lnTo>
                  <a:lnTo>
                    <a:pt x="312" y="125"/>
                  </a:lnTo>
                  <a:lnTo>
                    <a:pt x="314" y="125"/>
                  </a:lnTo>
                  <a:lnTo>
                    <a:pt x="316" y="125"/>
                  </a:lnTo>
                  <a:lnTo>
                    <a:pt x="316" y="125"/>
                  </a:lnTo>
                  <a:lnTo>
                    <a:pt x="314" y="123"/>
                  </a:lnTo>
                  <a:lnTo>
                    <a:pt x="314" y="120"/>
                  </a:lnTo>
                  <a:lnTo>
                    <a:pt x="314" y="123"/>
                  </a:lnTo>
                  <a:lnTo>
                    <a:pt x="312" y="123"/>
                  </a:lnTo>
                  <a:lnTo>
                    <a:pt x="312" y="123"/>
                  </a:lnTo>
                  <a:lnTo>
                    <a:pt x="312" y="123"/>
                  </a:lnTo>
                  <a:lnTo>
                    <a:pt x="312" y="120"/>
                  </a:lnTo>
                  <a:lnTo>
                    <a:pt x="312" y="120"/>
                  </a:lnTo>
                  <a:lnTo>
                    <a:pt x="312" y="120"/>
                  </a:lnTo>
                  <a:lnTo>
                    <a:pt x="312" y="120"/>
                  </a:lnTo>
                  <a:lnTo>
                    <a:pt x="312" y="118"/>
                  </a:lnTo>
                  <a:lnTo>
                    <a:pt x="312" y="118"/>
                  </a:lnTo>
                  <a:lnTo>
                    <a:pt x="312" y="118"/>
                  </a:lnTo>
                  <a:lnTo>
                    <a:pt x="312" y="118"/>
                  </a:lnTo>
                  <a:lnTo>
                    <a:pt x="312" y="118"/>
                  </a:lnTo>
                  <a:lnTo>
                    <a:pt x="312" y="116"/>
                  </a:lnTo>
                  <a:lnTo>
                    <a:pt x="314" y="116"/>
                  </a:lnTo>
                  <a:lnTo>
                    <a:pt x="316" y="114"/>
                  </a:lnTo>
                  <a:lnTo>
                    <a:pt x="318" y="114"/>
                  </a:lnTo>
                  <a:lnTo>
                    <a:pt x="320" y="114"/>
                  </a:lnTo>
                  <a:lnTo>
                    <a:pt x="320" y="112"/>
                  </a:lnTo>
                  <a:lnTo>
                    <a:pt x="320" y="112"/>
                  </a:lnTo>
                  <a:lnTo>
                    <a:pt x="322" y="110"/>
                  </a:lnTo>
                  <a:lnTo>
                    <a:pt x="322" y="110"/>
                  </a:lnTo>
                  <a:lnTo>
                    <a:pt x="322" y="110"/>
                  </a:lnTo>
                  <a:lnTo>
                    <a:pt x="322" y="110"/>
                  </a:lnTo>
                  <a:lnTo>
                    <a:pt x="324" y="110"/>
                  </a:lnTo>
                  <a:lnTo>
                    <a:pt x="322" y="110"/>
                  </a:lnTo>
                  <a:lnTo>
                    <a:pt x="324" y="110"/>
                  </a:lnTo>
                  <a:lnTo>
                    <a:pt x="326" y="110"/>
                  </a:lnTo>
                  <a:lnTo>
                    <a:pt x="326" y="108"/>
                  </a:lnTo>
                  <a:lnTo>
                    <a:pt x="326" y="108"/>
                  </a:lnTo>
                  <a:lnTo>
                    <a:pt x="326" y="108"/>
                  </a:lnTo>
                  <a:lnTo>
                    <a:pt x="328" y="108"/>
                  </a:lnTo>
                  <a:lnTo>
                    <a:pt x="328" y="108"/>
                  </a:lnTo>
                  <a:lnTo>
                    <a:pt x="328" y="108"/>
                  </a:lnTo>
                  <a:lnTo>
                    <a:pt x="328" y="108"/>
                  </a:lnTo>
                  <a:lnTo>
                    <a:pt x="328" y="110"/>
                  </a:lnTo>
                  <a:lnTo>
                    <a:pt x="330" y="110"/>
                  </a:lnTo>
                  <a:lnTo>
                    <a:pt x="330" y="110"/>
                  </a:lnTo>
                  <a:lnTo>
                    <a:pt x="332" y="108"/>
                  </a:lnTo>
                  <a:lnTo>
                    <a:pt x="338" y="108"/>
                  </a:lnTo>
                  <a:lnTo>
                    <a:pt x="342" y="106"/>
                  </a:lnTo>
                  <a:lnTo>
                    <a:pt x="344" y="106"/>
                  </a:lnTo>
                  <a:lnTo>
                    <a:pt x="351" y="110"/>
                  </a:lnTo>
                  <a:lnTo>
                    <a:pt x="361" y="114"/>
                  </a:lnTo>
                  <a:lnTo>
                    <a:pt x="365" y="116"/>
                  </a:lnTo>
                  <a:lnTo>
                    <a:pt x="367" y="114"/>
                  </a:lnTo>
                  <a:lnTo>
                    <a:pt x="369" y="116"/>
                  </a:lnTo>
                  <a:lnTo>
                    <a:pt x="371" y="118"/>
                  </a:lnTo>
                  <a:lnTo>
                    <a:pt x="373" y="118"/>
                  </a:lnTo>
                  <a:lnTo>
                    <a:pt x="373" y="118"/>
                  </a:lnTo>
                  <a:lnTo>
                    <a:pt x="377" y="120"/>
                  </a:lnTo>
                  <a:lnTo>
                    <a:pt x="379" y="123"/>
                  </a:lnTo>
                  <a:lnTo>
                    <a:pt x="379" y="123"/>
                  </a:lnTo>
                  <a:lnTo>
                    <a:pt x="383" y="127"/>
                  </a:lnTo>
                  <a:lnTo>
                    <a:pt x="385" y="129"/>
                  </a:lnTo>
                  <a:lnTo>
                    <a:pt x="385" y="129"/>
                  </a:lnTo>
                  <a:lnTo>
                    <a:pt x="387" y="129"/>
                  </a:lnTo>
                  <a:lnTo>
                    <a:pt x="387" y="129"/>
                  </a:lnTo>
                  <a:lnTo>
                    <a:pt x="387" y="131"/>
                  </a:lnTo>
                  <a:lnTo>
                    <a:pt x="389" y="133"/>
                  </a:lnTo>
                  <a:lnTo>
                    <a:pt x="389" y="135"/>
                  </a:lnTo>
                  <a:lnTo>
                    <a:pt x="389" y="137"/>
                  </a:lnTo>
                  <a:lnTo>
                    <a:pt x="391" y="137"/>
                  </a:lnTo>
                  <a:lnTo>
                    <a:pt x="394" y="139"/>
                  </a:lnTo>
                  <a:lnTo>
                    <a:pt x="396" y="141"/>
                  </a:lnTo>
                  <a:lnTo>
                    <a:pt x="400" y="141"/>
                  </a:lnTo>
                  <a:lnTo>
                    <a:pt x="400" y="141"/>
                  </a:lnTo>
                  <a:lnTo>
                    <a:pt x="402" y="143"/>
                  </a:lnTo>
                  <a:lnTo>
                    <a:pt x="402" y="143"/>
                  </a:lnTo>
                  <a:lnTo>
                    <a:pt x="404" y="143"/>
                  </a:lnTo>
                  <a:lnTo>
                    <a:pt x="406" y="143"/>
                  </a:lnTo>
                  <a:lnTo>
                    <a:pt x="408" y="143"/>
                  </a:lnTo>
                  <a:lnTo>
                    <a:pt x="408" y="145"/>
                  </a:lnTo>
                  <a:lnTo>
                    <a:pt x="410" y="147"/>
                  </a:lnTo>
                  <a:lnTo>
                    <a:pt x="410" y="149"/>
                  </a:lnTo>
                  <a:lnTo>
                    <a:pt x="410" y="151"/>
                  </a:lnTo>
                  <a:lnTo>
                    <a:pt x="408" y="153"/>
                  </a:lnTo>
                  <a:lnTo>
                    <a:pt x="410" y="155"/>
                  </a:lnTo>
                  <a:lnTo>
                    <a:pt x="410" y="155"/>
                  </a:lnTo>
                  <a:lnTo>
                    <a:pt x="410" y="157"/>
                  </a:lnTo>
                  <a:lnTo>
                    <a:pt x="410" y="159"/>
                  </a:lnTo>
                  <a:lnTo>
                    <a:pt x="412" y="159"/>
                  </a:lnTo>
                  <a:lnTo>
                    <a:pt x="414" y="159"/>
                  </a:lnTo>
                  <a:lnTo>
                    <a:pt x="414" y="159"/>
                  </a:lnTo>
                  <a:lnTo>
                    <a:pt x="420" y="166"/>
                  </a:lnTo>
                  <a:lnTo>
                    <a:pt x="422" y="166"/>
                  </a:lnTo>
                  <a:lnTo>
                    <a:pt x="426" y="166"/>
                  </a:lnTo>
                  <a:lnTo>
                    <a:pt x="428" y="168"/>
                  </a:lnTo>
                  <a:lnTo>
                    <a:pt x="430" y="170"/>
                  </a:lnTo>
                  <a:lnTo>
                    <a:pt x="432" y="172"/>
                  </a:lnTo>
                  <a:lnTo>
                    <a:pt x="434" y="176"/>
                  </a:lnTo>
                  <a:lnTo>
                    <a:pt x="434" y="176"/>
                  </a:lnTo>
                  <a:lnTo>
                    <a:pt x="437" y="178"/>
                  </a:lnTo>
                  <a:lnTo>
                    <a:pt x="437" y="178"/>
                  </a:lnTo>
                  <a:lnTo>
                    <a:pt x="437" y="180"/>
                  </a:lnTo>
                  <a:lnTo>
                    <a:pt x="437" y="180"/>
                  </a:lnTo>
                  <a:lnTo>
                    <a:pt x="439" y="180"/>
                  </a:lnTo>
                  <a:lnTo>
                    <a:pt x="441" y="182"/>
                  </a:lnTo>
                  <a:lnTo>
                    <a:pt x="443" y="182"/>
                  </a:lnTo>
                  <a:lnTo>
                    <a:pt x="445" y="182"/>
                  </a:lnTo>
                  <a:lnTo>
                    <a:pt x="445" y="182"/>
                  </a:lnTo>
                  <a:lnTo>
                    <a:pt x="447" y="184"/>
                  </a:lnTo>
                  <a:lnTo>
                    <a:pt x="447" y="184"/>
                  </a:lnTo>
                  <a:lnTo>
                    <a:pt x="445" y="186"/>
                  </a:lnTo>
                  <a:lnTo>
                    <a:pt x="447" y="188"/>
                  </a:lnTo>
                  <a:lnTo>
                    <a:pt x="447" y="188"/>
                  </a:lnTo>
                  <a:lnTo>
                    <a:pt x="449" y="188"/>
                  </a:lnTo>
                  <a:lnTo>
                    <a:pt x="449" y="188"/>
                  </a:lnTo>
                  <a:lnTo>
                    <a:pt x="449" y="190"/>
                  </a:lnTo>
                  <a:lnTo>
                    <a:pt x="449" y="190"/>
                  </a:lnTo>
                  <a:lnTo>
                    <a:pt x="451" y="190"/>
                  </a:lnTo>
                  <a:lnTo>
                    <a:pt x="453" y="190"/>
                  </a:lnTo>
                  <a:lnTo>
                    <a:pt x="453" y="190"/>
                  </a:lnTo>
                  <a:lnTo>
                    <a:pt x="455" y="190"/>
                  </a:lnTo>
                  <a:lnTo>
                    <a:pt x="455" y="190"/>
                  </a:lnTo>
                  <a:lnTo>
                    <a:pt x="459" y="188"/>
                  </a:lnTo>
                  <a:lnTo>
                    <a:pt x="459" y="188"/>
                  </a:lnTo>
                  <a:lnTo>
                    <a:pt x="461" y="188"/>
                  </a:lnTo>
                  <a:lnTo>
                    <a:pt x="463" y="190"/>
                  </a:lnTo>
                  <a:lnTo>
                    <a:pt x="465" y="190"/>
                  </a:lnTo>
                  <a:lnTo>
                    <a:pt x="467" y="188"/>
                  </a:lnTo>
                  <a:lnTo>
                    <a:pt x="467" y="188"/>
                  </a:lnTo>
                  <a:lnTo>
                    <a:pt x="469" y="190"/>
                  </a:lnTo>
                  <a:lnTo>
                    <a:pt x="469" y="190"/>
                  </a:lnTo>
                  <a:lnTo>
                    <a:pt x="469" y="188"/>
                  </a:lnTo>
                  <a:lnTo>
                    <a:pt x="471" y="188"/>
                  </a:lnTo>
                  <a:lnTo>
                    <a:pt x="471" y="190"/>
                  </a:lnTo>
                  <a:lnTo>
                    <a:pt x="473" y="192"/>
                  </a:lnTo>
                  <a:lnTo>
                    <a:pt x="473" y="192"/>
                  </a:lnTo>
                  <a:lnTo>
                    <a:pt x="475" y="194"/>
                  </a:lnTo>
                  <a:lnTo>
                    <a:pt x="473" y="194"/>
                  </a:lnTo>
                  <a:lnTo>
                    <a:pt x="475" y="196"/>
                  </a:lnTo>
                  <a:lnTo>
                    <a:pt x="480" y="198"/>
                  </a:lnTo>
                  <a:lnTo>
                    <a:pt x="480" y="198"/>
                  </a:lnTo>
                  <a:lnTo>
                    <a:pt x="480" y="202"/>
                  </a:lnTo>
                  <a:lnTo>
                    <a:pt x="480" y="204"/>
                  </a:lnTo>
                  <a:lnTo>
                    <a:pt x="480" y="204"/>
                  </a:lnTo>
                  <a:lnTo>
                    <a:pt x="480" y="204"/>
                  </a:lnTo>
                  <a:lnTo>
                    <a:pt x="482" y="207"/>
                  </a:lnTo>
                  <a:lnTo>
                    <a:pt x="482" y="207"/>
                  </a:lnTo>
                  <a:lnTo>
                    <a:pt x="482" y="209"/>
                  </a:lnTo>
                  <a:lnTo>
                    <a:pt x="482" y="211"/>
                  </a:lnTo>
                  <a:lnTo>
                    <a:pt x="488" y="215"/>
                  </a:lnTo>
                  <a:lnTo>
                    <a:pt x="488" y="215"/>
                  </a:lnTo>
                  <a:lnTo>
                    <a:pt x="488" y="215"/>
                  </a:lnTo>
                  <a:lnTo>
                    <a:pt x="490" y="215"/>
                  </a:lnTo>
                  <a:lnTo>
                    <a:pt x="492" y="215"/>
                  </a:lnTo>
                  <a:lnTo>
                    <a:pt x="492" y="217"/>
                  </a:lnTo>
                  <a:lnTo>
                    <a:pt x="492" y="217"/>
                  </a:lnTo>
                  <a:lnTo>
                    <a:pt x="494" y="223"/>
                  </a:lnTo>
                  <a:lnTo>
                    <a:pt x="494" y="223"/>
                  </a:lnTo>
                  <a:lnTo>
                    <a:pt x="494" y="227"/>
                  </a:lnTo>
                  <a:lnTo>
                    <a:pt x="492" y="225"/>
                  </a:lnTo>
                  <a:lnTo>
                    <a:pt x="490" y="223"/>
                  </a:lnTo>
                  <a:lnTo>
                    <a:pt x="490" y="225"/>
                  </a:lnTo>
                  <a:lnTo>
                    <a:pt x="490" y="227"/>
                  </a:lnTo>
                  <a:lnTo>
                    <a:pt x="492" y="229"/>
                  </a:lnTo>
                  <a:lnTo>
                    <a:pt x="492" y="229"/>
                  </a:lnTo>
                  <a:lnTo>
                    <a:pt x="492" y="231"/>
                  </a:lnTo>
                  <a:lnTo>
                    <a:pt x="494" y="231"/>
                  </a:lnTo>
                  <a:lnTo>
                    <a:pt x="494" y="231"/>
                  </a:lnTo>
                  <a:lnTo>
                    <a:pt x="494" y="231"/>
                  </a:lnTo>
                  <a:lnTo>
                    <a:pt x="496" y="235"/>
                  </a:lnTo>
                  <a:lnTo>
                    <a:pt x="496" y="235"/>
                  </a:lnTo>
                  <a:lnTo>
                    <a:pt x="496" y="237"/>
                  </a:lnTo>
                  <a:lnTo>
                    <a:pt x="496" y="237"/>
                  </a:lnTo>
                  <a:lnTo>
                    <a:pt x="496" y="239"/>
                  </a:lnTo>
                  <a:lnTo>
                    <a:pt x="496" y="239"/>
                  </a:lnTo>
                  <a:lnTo>
                    <a:pt x="496" y="239"/>
                  </a:lnTo>
                  <a:lnTo>
                    <a:pt x="496" y="241"/>
                  </a:lnTo>
                  <a:lnTo>
                    <a:pt x="496" y="241"/>
                  </a:lnTo>
                  <a:lnTo>
                    <a:pt x="496" y="243"/>
                  </a:lnTo>
                  <a:lnTo>
                    <a:pt x="496" y="254"/>
                  </a:lnTo>
                  <a:lnTo>
                    <a:pt x="496" y="256"/>
                  </a:lnTo>
                  <a:lnTo>
                    <a:pt x="496" y="258"/>
                  </a:lnTo>
                  <a:lnTo>
                    <a:pt x="496" y="264"/>
                  </a:lnTo>
                  <a:lnTo>
                    <a:pt x="496" y="268"/>
                  </a:lnTo>
                  <a:lnTo>
                    <a:pt x="496" y="268"/>
                  </a:lnTo>
                  <a:lnTo>
                    <a:pt x="496" y="268"/>
                  </a:lnTo>
                  <a:lnTo>
                    <a:pt x="494" y="270"/>
                  </a:lnTo>
                  <a:lnTo>
                    <a:pt x="492" y="280"/>
                  </a:lnTo>
                  <a:lnTo>
                    <a:pt x="494" y="278"/>
                  </a:lnTo>
                  <a:lnTo>
                    <a:pt x="494" y="278"/>
                  </a:lnTo>
                  <a:lnTo>
                    <a:pt x="494" y="278"/>
                  </a:lnTo>
                  <a:lnTo>
                    <a:pt x="494" y="280"/>
                  </a:lnTo>
                  <a:lnTo>
                    <a:pt x="494" y="282"/>
                  </a:lnTo>
                  <a:lnTo>
                    <a:pt x="492" y="284"/>
                  </a:lnTo>
                  <a:lnTo>
                    <a:pt x="492" y="289"/>
                  </a:lnTo>
                  <a:lnTo>
                    <a:pt x="492" y="289"/>
                  </a:lnTo>
                  <a:lnTo>
                    <a:pt x="490" y="291"/>
                  </a:lnTo>
                  <a:lnTo>
                    <a:pt x="490" y="291"/>
                  </a:lnTo>
                  <a:lnTo>
                    <a:pt x="490" y="293"/>
                  </a:lnTo>
                  <a:lnTo>
                    <a:pt x="490" y="295"/>
                  </a:lnTo>
                  <a:lnTo>
                    <a:pt x="490" y="295"/>
                  </a:lnTo>
                  <a:lnTo>
                    <a:pt x="492" y="299"/>
                  </a:lnTo>
                  <a:lnTo>
                    <a:pt x="492" y="301"/>
                  </a:lnTo>
                  <a:lnTo>
                    <a:pt x="494" y="301"/>
                  </a:lnTo>
                  <a:lnTo>
                    <a:pt x="492" y="303"/>
                  </a:lnTo>
                  <a:lnTo>
                    <a:pt x="492" y="303"/>
                  </a:lnTo>
                  <a:lnTo>
                    <a:pt x="492" y="307"/>
                  </a:lnTo>
                  <a:lnTo>
                    <a:pt x="492" y="317"/>
                  </a:lnTo>
                  <a:lnTo>
                    <a:pt x="490" y="325"/>
                  </a:lnTo>
                  <a:lnTo>
                    <a:pt x="490" y="323"/>
                  </a:lnTo>
                  <a:lnTo>
                    <a:pt x="490" y="321"/>
                  </a:lnTo>
                  <a:lnTo>
                    <a:pt x="490" y="321"/>
                  </a:lnTo>
                  <a:lnTo>
                    <a:pt x="490" y="319"/>
                  </a:lnTo>
                  <a:lnTo>
                    <a:pt x="490" y="319"/>
                  </a:lnTo>
                  <a:lnTo>
                    <a:pt x="488" y="321"/>
                  </a:lnTo>
                  <a:lnTo>
                    <a:pt x="488" y="323"/>
                  </a:lnTo>
                  <a:lnTo>
                    <a:pt x="488" y="325"/>
                  </a:lnTo>
                  <a:lnTo>
                    <a:pt x="488" y="327"/>
                  </a:lnTo>
                  <a:lnTo>
                    <a:pt x="490" y="329"/>
                  </a:lnTo>
                  <a:lnTo>
                    <a:pt x="490" y="332"/>
                  </a:lnTo>
                  <a:lnTo>
                    <a:pt x="492" y="334"/>
                  </a:lnTo>
                  <a:lnTo>
                    <a:pt x="498" y="340"/>
                  </a:lnTo>
                  <a:lnTo>
                    <a:pt x="500" y="342"/>
                  </a:lnTo>
                  <a:lnTo>
                    <a:pt x="502" y="344"/>
                  </a:lnTo>
                  <a:lnTo>
                    <a:pt x="502" y="346"/>
                  </a:lnTo>
                  <a:lnTo>
                    <a:pt x="504" y="348"/>
                  </a:lnTo>
                  <a:lnTo>
                    <a:pt x="504" y="348"/>
                  </a:lnTo>
                  <a:lnTo>
                    <a:pt x="504" y="346"/>
                  </a:lnTo>
                  <a:lnTo>
                    <a:pt x="504" y="344"/>
                  </a:lnTo>
                  <a:lnTo>
                    <a:pt x="502" y="342"/>
                  </a:lnTo>
                  <a:lnTo>
                    <a:pt x="500" y="340"/>
                  </a:lnTo>
                  <a:lnTo>
                    <a:pt x="494" y="334"/>
                  </a:lnTo>
                  <a:lnTo>
                    <a:pt x="492" y="334"/>
                  </a:lnTo>
                  <a:lnTo>
                    <a:pt x="494" y="332"/>
                  </a:lnTo>
                  <a:lnTo>
                    <a:pt x="496" y="332"/>
                  </a:lnTo>
                  <a:lnTo>
                    <a:pt x="500" y="336"/>
                  </a:lnTo>
                  <a:lnTo>
                    <a:pt x="502" y="336"/>
                  </a:lnTo>
                  <a:lnTo>
                    <a:pt x="504" y="340"/>
                  </a:lnTo>
                  <a:lnTo>
                    <a:pt x="504" y="340"/>
                  </a:lnTo>
                  <a:lnTo>
                    <a:pt x="506" y="340"/>
                  </a:lnTo>
                  <a:lnTo>
                    <a:pt x="506" y="340"/>
                  </a:lnTo>
                  <a:lnTo>
                    <a:pt x="506" y="342"/>
                  </a:lnTo>
                  <a:lnTo>
                    <a:pt x="508" y="344"/>
                  </a:lnTo>
                  <a:lnTo>
                    <a:pt x="508" y="344"/>
                  </a:lnTo>
                  <a:lnTo>
                    <a:pt x="508" y="344"/>
                  </a:lnTo>
                  <a:lnTo>
                    <a:pt x="510" y="344"/>
                  </a:lnTo>
                  <a:lnTo>
                    <a:pt x="512" y="342"/>
                  </a:lnTo>
                  <a:lnTo>
                    <a:pt x="512" y="340"/>
                  </a:lnTo>
                  <a:lnTo>
                    <a:pt x="512" y="338"/>
                  </a:lnTo>
                  <a:lnTo>
                    <a:pt x="512" y="338"/>
                  </a:lnTo>
                  <a:lnTo>
                    <a:pt x="512" y="334"/>
                  </a:lnTo>
                  <a:lnTo>
                    <a:pt x="512" y="334"/>
                  </a:lnTo>
                  <a:lnTo>
                    <a:pt x="512" y="332"/>
                  </a:lnTo>
                  <a:lnTo>
                    <a:pt x="514" y="329"/>
                  </a:lnTo>
                  <a:lnTo>
                    <a:pt x="514" y="329"/>
                  </a:lnTo>
                  <a:lnTo>
                    <a:pt x="514" y="327"/>
                  </a:lnTo>
                  <a:lnTo>
                    <a:pt x="512" y="325"/>
                  </a:lnTo>
                  <a:lnTo>
                    <a:pt x="512" y="325"/>
                  </a:lnTo>
                  <a:lnTo>
                    <a:pt x="514" y="323"/>
                  </a:lnTo>
                  <a:lnTo>
                    <a:pt x="516" y="321"/>
                  </a:lnTo>
                  <a:lnTo>
                    <a:pt x="512" y="323"/>
                  </a:lnTo>
                  <a:lnTo>
                    <a:pt x="508" y="321"/>
                  </a:lnTo>
                  <a:lnTo>
                    <a:pt x="504" y="319"/>
                  </a:lnTo>
                  <a:lnTo>
                    <a:pt x="500" y="319"/>
                  </a:lnTo>
                  <a:lnTo>
                    <a:pt x="502" y="317"/>
                  </a:lnTo>
                  <a:lnTo>
                    <a:pt x="506" y="315"/>
                  </a:lnTo>
                  <a:lnTo>
                    <a:pt x="506" y="313"/>
                  </a:lnTo>
                  <a:lnTo>
                    <a:pt x="504" y="315"/>
                  </a:lnTo>
                  <a:lnTo>
                    <a:pt x="502" y="315"/>
                  </a:lnTo>
                  <a:lnTo>
                    <a:pt x="502" y="313"/>
                  </a:lnTo>
                  <a:lnTo>
                    <a:pt x="502" y="313"/>
                  </a:lnTo>
                  <a:lnTo>
                    <a:pt x="502" y="313"/>
                  </a:lnTo>
                  <a:lnTo>
                    <a:pt x="502" y="311"/>
                  </a:lnTo>
                  <a:lnTo>
                    <a:pt x="502" y="311"/>
                  </a:lnTo>
                  <a:lnTo>
                    <a:pt x="502" y="309"/>
                  </a:lnTo>
                  <a:lnTo>
                    <a:pt x="502" y="309"/>
                  </a:lnTo>
                  <a:lnTo>
                    <a:pt x="502" y="307"/>
                  </a:lnTo>
                  <a:lnTo>
                    <a:pt x="506" y="311"/>
                  </a:lnTo>
                  <a:lnTo>
                    <a:pt x="506" y="309"/>
                  </a:lnTo>
                  <a:lnTo>
                    <a:pt x="506" y="309"/>
                  </a:lnTo>
                  <a:lnTo>
                    <a:pt x="506" y="309"/>
                  </a:lnTo>
                  <a:lnTo>
                    <a:pt x="506" y="309"/>
                  </a:lnTo>
                  <a:lnTo>
                    <a:pt x="508" y="311"/>
                  </a:lnTo>
                  <a:lnTo>
                    <a:pt x="510" y="311"/>
                  </a:lnTo>
                  <a:lnTo>
                    <a:pt x="510" y="313"/>
                  </a:lnTo>
                  <a:lnTo>
                    <a:pt x="510" y="313"/>
                  </a:lnTo>
                  <a:lnTo>
                    <a:pt x="510" y="315"/>
                  </a:lnTo>
                  <a:lnTo>
                    <a:pt x="512" y="313"/>
                  </a:lnTo>
                  <a:lnTo>
                    <a:pt x="514" y="313"/>
                  </a:lnTo>
                  <a:lnTo>
                    <a:pt x="516" y="315"/>
                  </a:lnTo>
                  <a:lnTo>
                    <a:pt x="518" y="317"/>
                  </a:lnTo>
                  <a:lnTo>
                    <a:pt x="518" y="323"/>
                  </a:lnTo>
                  <a:lnTo>
                    <a:pt x="518" y="325"/>
                  </a:lnTo>
                  <a:lnTo>
                    <a:pt x="521" y="327"/>
                  </a:lnTo>
                  <a:lnTo>
                    <a:pt x="521" y="327"/>
                  </a:lnTo>
                  <a:lnTo>
                    <a:pt x="525" y="327"/>
                  </a:lnTo>
                  <a:lnTo>
                    <a:pt x="525" y="325"/>
                  </a:lnTo>
                  <a:lnTo>
                    <a:pt x="525" y="325"/>
                  </a:lnTo>
                  <a:lnTo>
                    <a:pt x="525" y="323"/>
                  </a:lnTo>
                  <a:lnTo>
                    <a:pt x="523" y="319"/>
                  </a:lnTo>
                  <a:lnTo>
                    <a:pt x="523" y="317"/>
                  </a:lnTo>
                  <a:lnTo>
                    <a:pt x="525" y="317"/>
                  </a:lnTo>
                  <a:lnTo>
                    <a:pt x="527" y="315"/>
                  </a:lnTo>
                  <a:lnTo>
                    <a:pt x="527" y="315"/>
                  </a:lnTo>
                  <a:lnTo>
                    <a:pt x="529" y="315"/>
                  </a:lnTo>
                  <a:lnTo>
                    <a:pt x="531" y="321"/>
                  </a:lnTo>
                  <a:lnTo>
                    <a:pt x="533" y="325"/>
                  </a:lnTo>
                  <a:lnTo>
                    <a:pt x="533" y="327"/>
                  </a:lnTo>
                  <a:lnTo>
                    <a:pt x="533" y="329"/>
                  </a:lnTo>
                  <a:lnTo>
                    <a:pt x="531" y="332"/>
                  </a:lnTo>
                  <a:lnTo>
                    <a:pt x="531" y="334"/>
                  </a:lnTo>
                  <a:lnTo>
                    <a:pt x="527" y="336"/>
                  </a:lnTo>
                  <a:lnTo>
                    <a:pt x="527" y="338"/>
                  </a:lnTo>
                  <a:lnTo>
                    <a:pt x="527" y="340"/>
                  </a:lnTo>
                  <a:lnTo>
                    <a:pt x="527" y="340"/>
                  </a:lnTo>
                  <a:lnTo>
                    <a:pt x="525" y="342"/>
                  </a:lnTo>
                  <a:lnTo>
                    <a:pt x="525" y="342"/>
                  </a:lnTo>
                  <a:lnTo>
                    <a:pt x="525" y="344"/>
                  </a:lnTo>
                  <a:lnTo>
                    <a:pt x="525" y="344"/>
                  </a:lnTo>
                  <a:lnTo>
                    <a:pt x="523" y="346"/>
                  </a:lnTo>
                  <a:lnTo>
                    <a:pt x="521" y="348"/>
                  </a:lnTo>
                  <a:lnTo>
                    <a:pt x="521" y="352"/>
                  </a:lnTo>
                  <a:lnTo>
                    <a:pt x="521" y="354"/>
                  </a:lnTo>
                  <a:lnTo>
                    <a:pt x="518" y="354"/>
                  </a:lnTo>
                  <a:lnTo>
                    <a:pt x="518" y="356"/>
                  </a:lnTo>
                  <a:lnTo>
                    <a:pt x="518" y="356"/>
                  </a:lnTo>
                  <a:lnTo>
                    <a:pt x="518" y="358"/>
                  </a:lnTo>
                  <a:lnTo>
                    <a:pt x="518" y="356"/>
                  </a:lnTo>
                  <a:lnTo>
                    <a:pt x="521" y="356"/>
                  </a:lnTo>
                  <a:lnTo>
                    <a:pt x="521" y="358"/>
                  </a:lnTo>
                  <a:lnTo>
                    <a:pt x="518" y="358"/>
                  </a:lnTo>
                  <a:lnTo>
                    <a:pt x="516" y="360"/>
                  </a:lnTo>
                  <a:lnTo>
                    <a:pt x="514" y="360"/>
                  </a:lnTo>
                  <a:lnTo>
                    <a:pt x="516" y="360"/>
                  </a:lnTo>
                  <a:lnTo>
                    <a:pt x="518" y="362"/>
                  </a:lnTo>
                  <a:lnTo>
                    <a:pt x="518" y="362"/>
                  </a:lnTo>
                  <a:lnTo>
                    <a:pt x="521" y="362"/>
                  </a:lnTo>
                  <a:lnTo>
                    <a:pt x="518" y="362"/>
                  </a:lnTo>
                  <a:lnTo>
                    <a:pt x="514" y="362"/>
                  </a:lnTo>
                  <a:lnTo>
                    <a:pt x="512" y="362"/>
                  </a:lnTo>
                  <a:lnTo>
                    <a:pt x="512" y="364"/>
                  </a:lnTo>
                  <a:lnTo>
                    <a:pt x="512" y="364"/>
                  </a:lnTo>
                  <a:lnTo>
                    <a:pt x="512" y="364"/>
                  </a:lnTo>
                  <a:lnTo>
                    <a:pt x="514" y="364"/>
                  </a:lnTo>
                  <a:lnTo>
                    <a:pt x="514" y="364"/>
                  </a:lnTo>
                  <a:lnTo>
                    <a:pt x="514" y="364"/>
                  </a:lnTo>
                  <a:lnTo>
                    <a:pt x="514" y="364"/>
                  </a:lnTo>
                  <a:lnTo>
                    <a:pt x="514" y="366"/>
                  </a:lnTo>
                  <a:lnTo>
                    <a:pt x="514" y="366"/>
                  </a:lnTo>
                  <a:lnTo>
                    <a:pt x="514" y="368"/>
                  </a:lnTo>
                  <a:lnTo>
                    <a:pt x="512" y="366"/>
                  </a:lnTo>
                  <a:lnTo>
                    <a:pt x="510" y="366"/>
                  </a:lnTo>
                  <a:lnTo>
                    <a:pt x="508" y="366"/>
                  </a:lnTo>
                  <a:lnTo>
                    <a:pt x="508" y="364"/>
                  </a:lnTo>
                  <a:lnTo>
                    <a:pt x="506" y="362"/>
                  </a:lnTo>
                  <a:lnTo>
                    <a:pt x="506" y="362"/>
                  </a:lnTo>
                  <a:lnTo>
                    <a:pt x="506" y="364"/>
                  </a:lnTo>
                  <a:lnTo>
                    <a:pt x="508" y="368"/>
                  </a:lnTo>
                  <a:lnTo>
                    <a:pt x="510" y="368"/>
                  </a:lnTo>
                  <a:lnTo>
                    <a:pt x="512" y="370"/>
                  </a:lnTo>
                  <a:lnTo>
                    <a:pt x="516" y="370"/>
                  </a:lnTo>
                  <a:lnTo>
                    <a:pt x="521" y="373"/>
                  </a:lnTo>
                  <a:lnTo>
                    <a:pt x="523" y="373"/>
                  </a:lnTo>
                  <a:lnTo>
                    <a:pt x="523" y="375"/>
                  </a:lnTo>
                  <a:lnTo>
                    <a:pt x="525" y="379"/>
                  </a:lnTo>
                  <a:lnTo>
                    <a:pt x="527" y="383"/>
                  </a:lnTo>
                  <a:lnTo>
                    <a:pt x="529" y="385"/>
                  </a:lnTo>
                  <a:lnTo>
                    <a:pt x="527" y="385"/>
                  </a:lnTo>
                  <a:lnTo>
                    <a:pt x="527" y="385"/>
                  </a:lnTo>
                  <a:lnTo>
                    <a:pt x="527" y="385"/>
                  </a:lnTo>
                  <a:lnTo>
                    <a:pt x="527" y="385"/>
                  </a:lnTo>
                  <a:lnTo>
                    <a:pt x="527" y="385"/>
                  </a:lnTo>
                  <a:lnTo>
                    <a:pt x="527" y="387"/>
                  </a:lnTo>
                  <a:lnTo>
                    <a:pt x="529" y="389"/>
                  </a:lnTo>
                  <a:lnTo>
                    <a:pt x="529" y="391"/>
                  </a:lnTo>
                  <a:lnTo>
                    <a:pt x="531" y="393"/>
                  </a:lnTo>
                  <a:lnTo>
                    <a:pt x="533" y="393"/>
                  </a:lnTo>
                  <a:lnTo>
                    <a:pt x="531" y="391"/>
                  </a:lnTo>
                  <a:lnTo>
                    <a:pt x="533" y="391"/>
                  </a:lnTo>
                  <a:lnTo>
                    <a:pt x="533" y="393"/>
                  </a:lnTo>
                  <a:lnTo>
                    <a:pt x="535" y="393"/>
                  </a:lnTo>
                  <a:lnTo>
                    <a:pt x="535" y="395"/>
                  </a:lnTo>
                  <a:lnTo>
                    <a:pt x="535" y="395"/>
                  </a:lnTo>
                  <a:lnTo>
                    <a:pt x="533" y="395"/>
                  </a:lnTo>
                  <a:lnTo>
                    <a:pt x="533" y="393"/>
                  </a:lnTo>
                  <a:lnTo>
                    <a:pt x="533" y="395"/>
                  </a:lnTo>
                  <a:lnTo>
                    <a:pt x="537" y="399"/>
                  </a:lnTo>
                  <a:lnTo>
                    <a:pt x="539" y="403"/>
                  </a:lnTo>
                  <a:lnTo>
                    <a:pt x="549" y="420"/>
                  </a:lnTo>
                  <a:lnTo>
                    <a:pt x="551" y="422"/>
                  </a:lnTo>
                  <a:lnTo>
                    <a:pt x="551" y="422"/>
                  </a:lnTo>
                  <a:lnTo>
                    <a:pt x="551" y="422"/>
                  </a:lnTo>
                  <a:lnTo>
                    <a:pt x="553" y="422"/>
                  </a:lnTo>
                  <a:lnTo>
                    <a:pt x="551" y="422"/>
                  </a:lnTo>
                  <a:lnTo>
                    <a:pt x="551" y="418"/>
                  </a:lnTo>
                  <a:lnTo>
                    <a:pt x="549" y="418"/>
                  </a:lnTo>
                  <a:lnTo>
                    <a:pt x="553" y="420"/>
                  </a:lnTo>
                  <a:lnTo>
                    <a:pt x="557" y="428"/>
                  </a:lnTo>
                  <a:lnTo>
                    <a:pt x="559" y="430"/>
                  </a:lnTo>
                  <a:lnTo>
                    <a:pt x="561" y="430"/>
                  </a:lnTo>
                  <a:lnTo>
                    <a:pt x="561" y="430"/>
                  </a:lnTo>
                  <a:lnTo>
                    <a:pt x="564" y="430"/>
                  </a:lnTo>
                  <a:lnTo>
                    <a:pt x="564" y="430"/>
                  </a:lnTo>
                  <a:lnTo>
                    <a:pt x="566" y="430"/>
                  </a:lnTo>
                  <a:lnTo>
                    <a:pt x="566" y="430"/>
                  </a:lnTo>
                  <a:lnTo>
                    <a:pt x="566" y="430"/>
                  </a:lnTo>
                  <a:lnTo>
                    <a:pt x="568" y="430"/>
                  </a:lnTo>
                  <a:lnTo>
                    <a:pt x="568" y="430"/>
                  </a:lnTo>
                  <a:lnTo>
                    <a:pt x="568" y="430"/>
                  </a:lnTo>
                  <a:lnTo>
                    <a:pt x="568" y="430"/>
                  </a:lnTo>
                  <a:lnTo>
                    <a:pt x="570" y="430"/>
                  </a:lnTo>
                  <a:lnTo>
                    <a:pt x="570" y="432"/>
                  </a:lnTo>
                  <a:lnTo>
                    <a:pt x="570" y="430"/>
                  </a:lnTo>
                  <a:lnTo>
                    <a:pt x="570" y="430"/>
                  </a:lnTo>
                  <a:lnTo>
                    <a:pt x="570" y="428"/>
                  </a:lnTo>
                  <a:lnTo>
                    <a:pt x="570" y="428"/>
                  </a:lnTo>
                  <a:lnTo>
                    <a:pt x="572" y="430"/>
                  </a:lnTo>
                  <a:lnTo>
                    <a:pt x="572" y="432"/>
                  </a:lnTo>
                  <a:lnTo>
                    <a:pt x="574" y="432"/>
                  </a:lnTo>
                  <a:lnTo>
                    <a:pt x="574" y="430"/>
                  </a:lnTo>
                  <a:lnTo>
                    <a:pt x="574" y="428"/>
                  </a:lnTo>
                  <a:lnTo>
                    <a:pt x="572" y="424"/>
                  </a:lnTo>
                  <a:lnTo>
                    <a:pt x="570" y="420"/>
                  </a:lnTo>
                  <a:lnTo>
                    <a:pt x="570" y="420"/>
                  </a:lnTo>
                  <a:lnTo>
                    <a:pt x="568" y="420"/>
                  </a:lnTo>
                  <a:lnTo>
                    <a:pt x="566" y="416"/>
                  </a:lnTo>
                  <a:lnTo>
                    <a:pt x="566" y="416"/>
                  </a:lnTo>
                  <a:lnTo>
                    <a:pt x="564" y="416"/>
                  </a:lnTo>
                  <a:lnTo>
                    <a:pt x="564" y="416"/>
                  </a:lnTo>
                  <a:lnTo>
                    <a:pt x="559" y="411"/>
                  </a:lnTo>
                  <a:lnTo>
                    <a:pt x="559" y="411"/>
                  </a:lnTo>
                  <a:lnTo>
                    <a:pt x="557" y="409"/>
                  </a:lnTo>
                  <a:lnTo>
                    <a:pt x="559" y="409"/>
                  </a:lnTo>
                  <a:lnTo>
                    <a:pt x="561" y="411"/>
                  </a:lnTo>
                  <a:lnTo>
                    <a:pt x="564" y="414"/>
                  </a:lnTo>
                  <a:lnTo>
                    <a:pt x="566" y="414"/>
                  </a:lnTo>
                  <a:lnTo>
                    <a:pt x="568" y="414"/>
                  </a:lnTo>
                  <a:lnTo>
                    <a:pt x="568" y="414"/>
                  </a:lnTo>
                  <a:lnTo>
                    <a:pt x="568" y="416"/>
                  </a:lnTo>
                  <a:lnTo>
                    <a:pt x="570" y="416"/>
                  </a:lnTo>
                  <a:lnTo>
                    <a:pt x="572" y="418"/>
                  </a:lnTo>
                  <a:lnTo>
                    <a:pt x="572" y="418"/>
                  </a:lnTo>
                  <a:lnTo>
                    <a:pt x="572" y="416"/>
                  </a:lnTo>
                  <a:lnTo>
                    <a:pt x="574" y="416"/>
                  </a:lnTo>
                  <a:lnTo>
                    <a:pt x="574" y="416"/>
                  </a:lnTo>
                  <a:lnTo>
                    <a:pt x="574" y="414"/>
                  </a:lnTo>
                  <a:lnTo>
                    <a:pt x="576" y="414"/>
                  </a:lnTo>
                  <a:lnTo>
                    <a:pt x="578" y="414"/>
                  </a:lnTo>
                  <a:lnTo>
                    <a:pt x="580" y="411"/>
                  </a:lnTo>
                  <a:lnTo>
                    <a:pt x="584" y="409"/>
                  </a:lnTo>
                  <a:lnTo>
                    <a:pt x="586" y="407"/>
                  </a:lnTo>
                  <a:lnTo>
                    <a:pt x="586" y="407"/>
                  </a:lnTo>
                  <a:lnTo>
                    <a:pt x="586" y="411"/>
                  </a:lnTo>
                  <a:lnTo>
                    <a:pt x="586" y="411"/>
                  </a:lnTo>
                  <a:lnTo>
                    <a:pt x="584" y="411"/>
                  </a:lnTo>
                  <a:lnTo>
                    <a:pt x="582" y="414"/>
                  </a:lnTo>
                  <a:lnTo>
                    <a:pt x="578" y="416"/>
                  </a:lnTo>
                  <a:lnTo>
                    <a:pt x="576" y="418"/>
                  </a:lnTo>
                  <a:lnTo>
                    <a:pt x="578" y="420"/>
                  </a:lnTo>
                  <a:lnTo>
                    <a:pt x="580" y="422"/>
                  </a:lnTo>
                  <a:lnTo>
                    <a:pt x="580" y="422"/>
                  </a:lnTo>
                  <a:lnTo>
                    <a:pt x="582" y="422"/>
                  </a:lnTo>
                  <a:lnTo>
                    <a:pt x="582" y="426"/>
                  </a:lnTo>
                  <a:lnTo>
                    <a:pt x="582" y="428"/>
                  </a:lnTo>
                  <a:lnTo>
                    <a:pt x="582" y="440"/>
                  </a:lnTo>
                  <a:lnTo>
                    <a:pt x="582" y="442"/>
                  </a:lnTo>
                  <a:lnTo>
                    <a:pt x="582" y="444"/>
                  </a:lnTo>
                  <a:lnTo>
                    <a:pt x="586" y="448"/>
                  </a:lnTo>
                  <a:lnTo>
                    <a:pt x="586" y="448"/>
                  </a:lnTo>
                  <a:lnTo>
                    <a:pt x="586" y="452"/>
                  </a:lnTo>
                  <a:lnTo>
                    <a:pt x="586" y="452"/>
                  </a:lnTo>
                  <a:lnTo>
                    <a:pt x="586" y="455"/>
                  </a:lnTo>
                  <a:lnTo>
                    <a:pt x="588" y="457"/>
                  </a:lnTo>
                  <a:lnTo>
                    <a:pt x="588" y="459"/>
                  </a:lnTo>
                  <a:lnTo>
                    <a:pt x="590" y="459"/>
                  </a:lnTo>
                  <a:lnTo>
                    <a:pt x="592" y="457"/>
                  </a:lnTo>
                  <a:lnTo>
                    <a:pt x="592" y="455"/>
                  </a:lnTo>
                  <a:lnTo>
                    <a:pt x="594" y="457"/>
                  </a:lnTo>
                  <a:lnTo>
                    <a:pt x="594" y="457"/>
                  </a:lnTo>
                  <a:lnTo>
                    <a:pt x="596" y="455"/>
                  </a:lnTo>
                  <a:lnTo>
                    <a:pt x="596" y="455"/>
                  </a:lnTo>
                  <a:lnTo>
                    <a:pt x="596" y="455"/>
                  </a:lnTo>
                  <a:lnTo>
                    <a:pt x="598" y="446"/>
                  </a:lnTo>
                  <a:lnTo>
                    <a:pt x="600" y="444"/>
                  </a:lnTo>
                  <a:lnTo>
                    <a:pt x="602" y="440"/>
                  </a:lnTo>
                  <a:lnTo>
                    <a:pt x="604" y="438"/>
                  </a:lnTo>
                  <a:lnTo>
                    <a:pt x="604" y="436"/>
                  </a:lnTo>
                  <a:lnTo>
                    <a:pt x="607" y="436"/>
                  </a:lnTo>
                  <a:lnTo>
                    <a:pt x="609" y="434"/>
                  </a:lnTo>
                  <a:lnTo>
                    <a:pt x="611" y="434"/>
                  </a:lnTo>
                  <a:lnTo>
                    <a:pt x="611" y="436"/>
                  </a:lnTo>
                  <a:lnTo>
                    <a:pt x="611" y="436"/>
                  </a:lnTo>
                  <a:lnTo>
                    <a:pt x="609" y="438"/>
                  </a:lnTo>
                  <a:lnTo>
                    <a:pt x="609" y="438"/>
                  </a:lnTo>
                  <a:lnTo>
                    <a:pt x="607" y="438"/>
                  </a:lnTo>
                  <a:lnTo>
                    <a:pt x="607" y="438"/>
                  </a:lnTo>
                  <a:lnTo>
                    <a:pt x="607" y="440"/>
                  </a:lnTo>
                  <a:lnTo>
                    <a:pt x="604" y="440"/>
                  </a:lnTo>
                  <a:lnTo>
                    <a:pt x="602" y="444"/>
                  </a:lnTo>
                  <a:lnTo>
                    <a:pt x="600" y="446"/>
                  </a:lnTo>
                  <a:lnTo>
                    <a:pt x="602" y="448"/>
                  </a:lnTo>
                  <a:lnTo>
                    <a:pt x="600" y="452"/>
                  </a:lnTo>
                  <a:lnTo>
                    <a:pt x="598" y="455"/>
                  </a:lnTo>
                  <a:lnTo>
                    <a:pt x="596" y="459"/>
                  </a:lnTo>
                  <a:lnTo>
                    <a:pt x="596" y="459"/>
                  </a:lnTo>
                  <a:lnTo>
                    <a:pt x="596" y="459"/>
                  </a:lnTo>
                  <a:lnTo>
                    <a:pt x="594" y="459"/>
                  </a:lnTo>
                  <a:lnTo>
                    <a:pt x="594" y="459"/>
                  </a:lnTo>
                  <a:lnTo>
                    <a:pt x="592" y="459"/>
                  </a:lnTo>
                  <a:lnTo>
                    <a:pt x="592" y="459"/>
                  </a:lnTo>
                  <a:lnTo>
                    <a:pt x="592" y="459"/>
                  </a:lnTo>
                  <a:lnTo>
                    <a:pt x="592" y="461"/>
                  </a:lnTo>
                  <a:lnTo>
                    <a:pt x="592" y="463"/>
                  </a:lnTo>
                  <a:lnTo>
                    <a:pt x="592" y="463"/>
                  </a:lnTo>
                  <a:lnTo>
                    <a:pt x="594" y="463"/>
                  </a:lnTo>
                  <a:lnTo>
                    <a:pt x="594" y="463"/>
                  </a:lnTo>
                  <a:lnTo>
                    <a:pt x="594" y="463"/>
                  </a:lnTo>
                  <a:lnTo>
                    <a:pt x="596" y="463"/>
                  </a:lnTo>
                  <a:lnTo>
                    <a:pt x="600" y="465"/>
                  </a:lnTo>
                  <a:lnTo>
                    <a:pt x="602" y="463"/>
                  </a:lnTo>
                  <a:lnTo>
                    <a:pt x="604" y="463"/>
                  </a:lnTo>
                  <a:lnTo>
                    <a:pt x="604" y="465"/>
                  </a:lnTo>
                  <a:lnTo>
                    <a:pt x="604" y="465"/>
                  </a:lnTo>
                  <a:lnTo>
                    <a:pt x="604" y="465"/>
                  </a:lnTo>
                  <a:lnTo>
                    <a:pt x="607" y="463"/>
                  </a:lnTo>
                  <a:lnTo>
                    <a:pt x="604" y="461"/>
                  </a:lnTo>
                  <a:lnTo>
                    <a:pt x="604" y="459"/>
                  </a:lnTo>
                  <a:lnTo>
                    <a:pt x="604" y="461"/>
                  </a:lnTo>
                  <a:lnTo>
                    <a:pt x="609" y="463"/>
                  </a:lnTo>
                  <a:lnTo>
                    <a:pt x="609" y="465"/>
                  </a:lnTo>
                  <a:lnTo>
                    <a:pt x="611" y="467"/>
                  </a:lnTo>
                  <a:lnTo>
                    <a:pt x="611" y="473"/>
                  </a:lnTo>
                  <a:lnTo>
                    <a:pt x="611" y="473"/>
                  </a:lnTo>
                  <a:lnTo>
                    <a:pt x="611" y="473"/>
                  </a:lnTo>
                  <a:lnTo>
                    <a:pt x="609" y="473"/>
                  </a:lnTo>
                  <a:lnTo>
                    <a:pt x="611" y="475"/>
                  </a:lnTo>
                  <a:lnTo>
                    <a:pt x="615" y="479"/>
                  </a:lnTo>
                  <a:lnTo>
                    <a:pt x="615" y="479"/>
                  </a:lnTo>
                  <a:lnTo>
                    <a:pt x="615" y="481"/>
                  </a:lnTo>
                  <a:lnTo>
                    <a:pt x="615" y="483"/>
                  </a:lnTo>
                  <a:lnTo>
                    <a:pt x="617" y="491"/>
                  </a:lnTo>
                  <a:lnTo>
                    <a:pt x="619" y="500"/>
                  </a:lnTo>
                  <a:lnTo>
                    <a:pt x="621" y="500"/>
                  </a:lnTo>
                  <a:lnTo>
                    <a:pt x="619" y="498"/>
                  </a:lnTo>
                  <a:lnTo>
                    <a:pt x="619" y="498"/>
                  </a:lnTo>
                  <a:lnTo>
                    <a:pt x="619" y="495"/>
                  </a:lnTo>
                  <a:lnTo>
                    <a:pt x="621" y="495"/>
                  </a:lnTo>
                  <a:lnTo>
                    <a:pt x="623" y="502"/>
                  </a:lnTo>
                  <a:lnTo>
                    <a:pt x="625" y="506"/>
                  </a:lnTo>
                  <a:lnTo>
                    <a:pt x="627" y="506"/>
                  </a:lnTo>
                  <a:lnTo>
                    <a:pt x="627" y="508"/>
                  </a:lnTo>
                  <a:lnTo>
                    <a:pt x="627" y="510"/>
                  </a:lnTo>
                  <a:lnTo>
                    <a:pt x="629" y="510"/>
                  </a:lnTo>
                  <a:lnTo>
                    <a:pt x="629" y="510"/>
                  </a:lnTo>
                  <a:lnTo>
                    <a:pt x="631" y="510"/>
                  </a:lnTo>
                  <a:lnTo>
                    <a:pt x="633" y="510"/>
                  </a:lnTo>
                  <a:lnTo>
                    <a:pt x="635" y="510"/>
                  </a:lnTo>
                  <a:lnTo>
                    <a:pt x="635" y="512"/>
                  </a:lnTo>
                  <a:lnTo>
                    <a:pt x="633" y="512"/>
                  </a:lnTo>
                  <a:lnTo>
                    <a:pt x="633" y="514"/>
                  </a:lnTo>
                  <a:lnTo>
                    <a:pt x="633" y="514"/>
                  </a:lnTo>
                  <a:lnTo>
                    <a:pt x="631" y="514"/>
                  </a:lnTo>
                  <a:lnTo>
                    <a:pt x="629" y="514"/>
                  </a:lnTo>
                  <a:lnTo>
                    <a:pt x="629" y="512"/>
                  </a:lnTo>
                  <a:lnTo>
                    <a:pt x="627" y="514"/>
                  </a:lnTo>
                  <a:lnTo>
                    <a:pt x="629" y="516"/>
                  </a:lnTo>
                  <a:lnTo>
                    <a:pt x="629" y="518"/>
                  </a:lnTo>
                  <a:lnTo>
                    <a:pt x="631" y="518"/>
                  </a:lnTo>
                  <a:lnTo>
                    <a:pt x="631" y="518"/>
                  </a:lnTo>
                  <a:lnTo>
                    <a:pt x="631" y="518"/>
                  </a:lnTo>
                  <a:lnTo>
                    <a:pt x="631" y="518"/>
                  </a:lnTo>
                  <a:lnTo>
                    <a:pt x="631" y="518"/>
                  </a:lnTo>
                  <a:lnTo>
                    <a:pt x="631" y="518"/>
                  </a:lnTo>
                  <a:lnTo>
                    <a:pt x="633" y="516"/>
                  </a:lnTo>
                  <a:lnTo>
                    <a:pt x="633" y="516"/>
                  </a:lnTo>
                  <a:lnTo>
                    <a:pt x="633" y="516"/>
                  </a:lnTo>
                  <a:lnTo>
                    <a:pt x="633" y="516"/>
                  </a:lnTo>
                  <a:lnTo>
                    <a:pt x="635" y="516"/>
                  </a:lnTo>
                  <a:lnTo>
                    <a:pt x="635" y="516"/>
                  </a:lnTo>
                  <a:lnTo>
                    <a:pt x="637" y="516"/>
                  </a:lnTo>
                  <a:lnTo>
                    <a:pt x="637" y="516"/>
                  </a:lnTo>
                  <a:lnTo>
                    <a:pt x="637" y="514"/>
                  </a:lnTo>
                  <a:lnTo>
                    <a:pt x="639" y="512"/>
                  </a:lnTo>
                  <a:lnTo>
                    <a:pt x="639" y="514"/>
                  </a:lnTo>
                  <a:lnTo>
                    <a:pt x="641" y="514"/>
                  </a:lnTo>
                  <a:lnTo>
                    <a:pt x="641" y="514"/>
                  </a:lnTo>
                  <a:lnTo>
                    <a:pt x="643" y="514"/>
                  </a:lnTo>
                  <a:lnTo>
                    <a:pt x="643" y="516"/>
                  </a:lnTo>
                  <a:lnTo>
                    <a:pt x="643" y="516"/>
                  </a:lnTo>
                  <a:lnTo>
                    <a:pt x="643" y="516"/>
                  </a:lnTo>
                  <a:lnTo>
                    <a:pt x="643" y="516"/>
                  </a:lnTo>
                  <a:lnTo>
                    <a:pt x="643" y="516"/>
                  </a:lnTo>
                  <a:lnTo>
                    <a:pt x="645" y="516"/>
                  </a:lnTo>
                  <a:lnTo>
                    <a:pt x="645" y="514"/>
                  </a:lnTo>
                  <a:lnTo>
                    <a:pt x="645" y="514"/>
                  </a:lnTo>
                  <a:lnTo>
                    <a:pt x="647" y="516"/>
                  </a:lnTo>
                  <a:lnTo>
                    <a:pt x="650" y="516"/>
                  </a:lnTo>
                  <a:lnTo>
                    <a:pt x="652" y="516"/>
                  </a:lnTo>
                  <a:lnTo>
                    <a:pt x="652" y="518"/>
                  </a:lnTo>
                  <a:lnTo>
                    <a:pt x="654" y="516"/>
                  </a:lnTo>
                  <a:lnTo>
                    <a:pt x="654" y="516"/>
                  </a:lnTo>
                  <a:lnTo>
                    <a:pt x="656" y="518"/>
                  </a:lnTo>
                  <a:lnTo>
                    <a:pt x="658" y="518"/>
                  </a:lnTo>
                  <a:lnTo>
                    <a:pt x="658" y="518"/>
                  </a:lnTo>
                  <a:lnTo>
                    <a:pt x="662" y="518"/>
                  </a:lnTo>
                  <a:lnTo>
                    <a:pt x="662" y="520"/>
                  </a:lnTo>
                  <a:lnTo>
                    <a:pt x="666" y="520"/>
                  </a:lnTo>
                  <a:lnTo>
                    <a:pt x="668" y="522"/>
                  </a:lnTo>
                  <a:lnTo>
                    <a:pt x="670" y="524"/>
                  </a:lnTo>
                  <a:lnTo>
                    <a:pt x="670" y="526"/>
                  </a:lnTo>
                  <a:lnTo>
                    <a:pt x="668" y="528"/>
                  </a:lnTo>
                  <a:lnTo>
                    <a:pt x="668" y="528"/>
                  </a:lnTo>
                  <a:lnTo>
                    <a:pt x="670" y="530"/>
                  </a:lnTo>
                  <a:lnTo>
                    <a:pt x="670" y="530"/>
                  </a:lnTo>
                  <a:lnTo>
                    <a:pt x="672" y="532"/>
                  </a:lnTo>
                  <a:lnTo>
                    <a:pt x="672" y="532"/>
                  </a:lnTo>
                  <a:lnTo>
                    <a:pt x="674" y="532"/>
                  </a:lnTo>
                  <a:lnTo>
                    <a:pt x="676" y="532"/>
                  </a:lnTo>
                  <a:lnTo>
                    <a:pt x="676" y="534"/>
                  </a:lnTo>
                  <a:lnTo>
                    <a:pt x="678" y="536"/>
                  </a:lnTo>
                  <a:lnTo>
                    <a:pt x="678" y="536"/>
                  </a:lnTo>
                  <a:lnTo>
                    <a:pt x="678" y="539"/>
                  </a:lnTo>
                  <a:lnTo>
                    <a:pt x="680" y="541"/>
                  </a:lnTo>
                  <a:lnTo>
                    <a:pt x="682" y="547"/>
                  </a:lnTo>
                  <a:lnTo>
                    <a:pt x="684" y="547"/>
                  </a:lnTo>
                  <a:lnTo>
                    <a:pt x="684" y="547"/>
                  </a:lnTo>
                  <a:lnTo>
                    <a:pt x="686" y="547"/>
                  </a:lnTo>
                  <a:lnTo>
                    <a:pt x="688" y="547"/>
                  </a:lnTo>
                  <a:lnTo>
                    <a:pt x="688" y="547"/>
                  </a:lnTo>
                  <a:lnTo>
                    <a:pt x="688" y="549"/>
                  </a:lnTo>
                  <a:lnTo>
                    <a:pt x="688" y="549"/>
                  </a:lnTo>
                  <a:lnTo>
                    <a:pt x="686" y="551"/>
                  </a:lnTo>
                  <a:lnTo>
                    <a:pt x="686" y="553"/>
                  </a:lnTo>
                  <a:lnTo>
                    <a:pt x="690" y="555"/>
                  </a:lnTo>
                  <a:lnTo>
                    <a:pt x="693" y="559"/>
                  </a:lnTo>
                  <a:lnTo>
                    <a:pt x="693" y="561"/>
                  </a:lnTo>
                  <a:lnTo>
                    <a:pt x="695" y="563"/>
                  </a:lnTo>
                  <a:lnTo>
                    <a:pt x="695" y="563"/>
                  </a:lnTo>
                  <a:lnTo>
                    <a:pt x="695" y="565"/>
                  </a:lnTo>
                  <a:lnTo>
                    <a:pt x="701" y="567"/>
                  </a:lnTo>
                  <a:lnTo>
                    <a:pt x="705" y="567"/>
                  </a:lnTo>
                  <a:lnTo>
                    <a:pt x="705" y="567"/>
                  </a:lnTo>
                  <a:lnTo>
                    <a:pt x="707" y="567"/>
                  </a:lnTo>
                  <a:lnTo>
                    <a:pt x="711" y="567"/>
                  </a:lnTo>
                  <a:lnTo>
                    <a:pt x="713" y="569"/>
                  </a:lnTo>
                  <a:lnTo>
                    <a:pt x="719" y="573"/>
                  </a:lnTo>
                  <a:lnTo>
                    <a:pt x="719" y="575"/>
                  </a:lnTo>
                  <a:lnTo>
                    <a:pt x="719" y="577"/>
                  </a:lnTo>
                  <a:lnTo>
                    <a:pt x="717" y="580"/>
                  </a:lnTo>
                  <a:lnTo>
                    <a:pt x="715" y="580"/>
                  </a:lnTo>
                  <a:lnTo>
                    <a:pt x="713" y="582"/>
                  </a:lnTo>
                  <a:lnTo>
                    <a:pt x="711" y="580"/>
                  </a:lnTo>
                  <a:lnTo>
                    <a:pt x="711" y="580"/>
                  </a:lnTo>
                  <a:lnTo>
                    <a:pt x="713" y="580"/>
                  </a:lnTo>
                  <a:lnTo>
                    <a:pt x="713" y="580"/>
                  </a:lnTo>
                  <a:lnTo>
                    <a:pt x="713" y="580"/>
                  </a:lnTo>
                  <a:lnTo>
                    <a:pt x="713" y="577"/>
                  </a:lnTo>
                  <a:lnTo>
                    <a:pt x="705" y="575"/>
                  </a:lnTo>
                  <a:lnTo>
                    <a:pt x="705" y="575"/>
                  </a:lnTo>
                  <a:lnTo>
                    <a:pt x="703" y="575"/>
                  </a:lnTo>
                  <a:lnTo>
                    <a:pt x="701" y="571"/>
                  </a:lnTo>
                  <a:lnTo>
                    <a:pt x="701" y="571"/>
                  </a:lnTo>
                  <a:lnTo>
                    <a:pt x="699" y="571"/>
                  </a:lnTo>
                  <a:lnTo>
                    <a:pt x="699" y="569"/>
                  </a:lnTo>
                  <a:lnTo>
                    <a:pt x="697" y="569"/>
                  </a:lnTo>
                  <a:lnTo>
                    <a:pt x="697" y="569"/>
                  </a:lnTo>
                  <a:lnTo>
                    <a:pt x="697" y="569"/>
                  </a:lnTo>
                  <a:lnTo>
                    <a:pt x="695" y="573"/>
                  </a:lnTo>
                  <a:lnTo>
                    <a:pt x="695" y="577"/>
                  </a:lnTo>
                  <a:lnTo>
                    <a:pt x="695" y="582"/>
                  </a:lnTo>
                  <a:lnTo>
                    <a:pt x="697" y="586"/>
                  </a:lnTo>
                  <a:lnTo>
                    <a:pt x="699" y="588"/>
                  </a:lnTo>
                  <a:lnTo>
                    <a:pt x="705" y="592"/>
                  </a:lnTo>
                  <a:lnTo>
                    <a:pt x="705" y="592"/>
                  </a:lnTo>
                  <a:lnTo>
                    <a:pt x="711" y="590"/>
                  </a:lnTo>
                  <a:lnTo>
                    <a:pt x="713" y="588"/>
                  </a:lnTo>
                  <a:lnTo>
                    <a:pt x="717" y="588"/>
                  </a:lnTo>
                  <a:lnTo>
                    <a:pt x="721" y="586"/>
                  </a:lnTo>
                  <a:lnTo>
                    <a:pt x="723" y="586"/>
                  </a:lnTo>
                  <a:lnTo>
                    <a:pt x="723" y="584"/>
                  </a:lnTo>
                  <a:lnTo>
                    <a:pt x="725" y="584"/>
                  </a:lnTo>
                  <a:lnTo>
                    <a:pt x="727" y="582"/>
                  </a:lnTo>
                  <a:lnTo>
                    <a:pt x="729" y="582"/>
                  </a:lnTo>
                  <a:lnTo>
                    <a:pt x="731" y="582"/>
                  </a:lnTo>
                  <a:lnTo>
                    <a:pt x="731" y="584"/>
                  </a:lnTo>
                  <a:lnTo>
                    <a:pt x="731" y="584"/>
                  </a:lnTo>
                  <a:lnTo>
                    <a:pt x="731" y="584"/>
                  </a:lnTo>
                  <a:lnTo>
                    <a:pt x="734" y="584"/>
                  </a:lnTo>
                  <a:lnTo>
                    <a:pt x="734" y="584"/>
                  </a:lnTo>
                  <a:lnTo>
                    <a:pt x="734" y="582"/>
                  </a:lnTo>
                  <a:lnTo>
                    <a:pt x="734" y="584"/>
                  </a:lnTo>
                  <a:lnTo>
                    <a:pt x="734" y="584"/>
                  </a:lnTo>
                  <a:lnTo>
                    <a:pt x="736" y="584"/>
                  </a:lnTo>
                  <a:lnTo>
                    <a:pt x="736" y="584"/>
                  </a:lnTo>
                  <a:lnTo>
                    <a:pt x="736" y="584"/>
                  </a:lnTo>
                  <a:lnTo>
                    <a:pt x="736" y="584"/>
                  </a:lnTo>
                  <a:lnTo>
                    <a:pt x="736" y="582"/>
                  </a:lnTo>
                  <a:lnTo>
                    <a:pt x="736" y="582"/>
                  </a:lnTo>
                  <a:lnTo>
                    <a:pt x="738" y="584"/>
                  </a:lnTo>
                  <a:lnTo>
                    <a:pt x="740" y="584"/>
                  </a:lnTo>
                  <a:lnTo>
                    <a:pt x="740" y="584"/>
                  </a:lnTo>
                  <a:lnTo>
                    <a:pt x="742" y="582"/>
                  </a:lnTo>
                  <a:lnTo>
                    <a:pt x="744" y="580"/>
                  </a:lnTo>
                  <a:lnTo>
                    <a:pt x="744" y="580"/>
                  </a:lnTo>
                  <a:lnTo>
                    <a:pt x="746" y="580"/>
                  </a:lnTo>
                  <a:lnTo>
                    <a:pt x="746" y="580"/>
                  </a:lnTo>
                  <a:lnTo>
                    <a:pt x="748" y="580"/>
                  </a:lnTo>
                  <a:lnTo>
                    <a:pt x="746" y="580"/>
                  </a:lnTo>
                  <a:lnTo>
                    <a:pt x="746" y="577"/>
                  </a:lnTo>
                  <a:lnTo>
                    <a:pt x="746" y="577"/>
                  </a:lnTo>
                  <a:lnTo>
                    <a:pt x="746" y="577"/>
                  </a:lnTo>
                  <a:lnTo>
                    <a:pt x="750" y="575"/>
                  </a:lnTo>
                  <a:lnTo>
                    <a:pt x="750" y="575"/>
                  </a:lnTo>
                  <a:lnTo>
                    <a:pt x="750" y="575"/>
                  </a:lnTo>
                  <a:lnTo>
                    <a:pt x="750" y="575"/>
                  </a:lnTo>
                  <a:lnTo>
                    <a:pt x="750" y="575"/>
                  </a:lnTo>
                  <a:lnTo>
                    <a:pt x="750" y="575"/>
                  </a:lnTo>
                  <a:lnTo>
                    <a:pt x="752" y="575"/>
                  </a:lnTo>
                  <a:lnTo>
                    <a:pt x="752" y="571"/>
                  </a:lnTo>
                  <a:lnTo>
                    <a:pt x="752" y="569"/>
                  </a:lnTo>
                  <a:lnTo>
                    <a:pt x="754" y="569"/>
                  </a:lnTo>
                  <a:lnTo>
                    <a:pt x="758" y="569"/>
                  </a:lnTo>
                  <a:lnTo>
                    <a:pt x="758" y="567"/>
                  </a:lnTo>
                  <a:lnTo>
                    <a:pt x="760" y="569"/>
                  </a:lnTo>
                  <a:lnTo>
                    <a:pt x="760" y="569"/>
                  </a:lnTo>
                  <a:lnTo>
                    <a:pt x="760" y="569"/>
                  </a:lnTo>
                  <a:lnTo>
                    <a:pt x="758" y="569"/>
                  </a:lnTo>
                  <a:lnTo>
                    <a:pt x="758" y="569"/>
                  </a:lnTo>
                  <a:lnTo>
                    <a:pt x="758" y="571"/>
                  </a:lnTo>
                  <a:lnTo>
                    <a:pt x="758" y="571"/>
                  </a:lnTo>
                  <a:lnTo>
                    <a:pt x="758" y="571"/>
                  </a:lnTo>
                  <a:lnTo>
                    <a:pt x="760" y="571"/>
                  </a:lnTo>
                  <a:lnTo>
                    <a:pt x="760" y="573"/>
                  </a:lnTo>
                  <a:lnTo>
                    <a:pt x="760" y="573"/>
                  </a:lnTo>
                  <a:lnTo>
                    <a:pt x="762" y="571"/>
                  </a:lnTo>
                  <a:lnTo>
                    <a:pt x="764" y="571"/>
                  </a:lnTo>
                  <a:lnTo>
                    <a:pt x="766" y="573"/>
                  </a:lnTo>
                  <a:lnTo>
                    <a:pt x="766" y="575"/>
                  </a:lnTo>
                  <a:lnTo>
                    <a:pt x="766" y="575"/>
                  </a:lnTo>
                  <a:lnTo>
                    <a:pt x="766" y="573"/>
                  </a:lnTo>
                  <a:lnTo>
                    <a:pt x="764" y="571"/>
                  </a:lnTo>
                  <a:lnTo>
                    <a:pt x="762" y="571"/>
                  </a:lnTo>
                  <a:lnTo>
                    <a:pt x="760" y="571"/>
                  </a:lnTo>
                  <a:lnTo>
                    <a:pt x="762" y="569"/>
                  </a:lnTo>
                  <a:lnTo>
                    <a:pt x="764" y="567"/>
                  </a:lnTo>
                  <a:lnTo>
                    <a:pt x="764" y="567"/>
                  </a:lnTo>
                  <a:lnTo>
                    <a:pt x="764" y="569"/>
                  </a:lnTo>
                  <a:lnTo>
                    <a:pt x="766" y="569"/>
                  </a:lnTo>
                  <a:lnTo>
                    <a:pt x="768" y="571"/>
                  </a:lnTo>
                  <a:lnTo>
                    <a:pt x="770" y="573"/>
                  </a:lnTo>
                  <a:lnTo>
                    <a:pt x="770" y="571"/>
                  </a:lnTo>
                  <a:lnTo>
                    <a:pt x="768" y="571"/>
                  </a:lnTo>
                  <a:lnTo>
                    <a:pt x="768" y="569"/>
                  </a:lnTo>
                  <a:lnTo>
                    <a:pt x="768" y="567"/>
                  </a:lnTo>
                  <a:lnTo>
                    <a:pt x="768" y="567"/>
                  </a:lnTo>
                  <a:lnTo>
                    <a:pt x="768" y="563"/>
                  </a:lnTo>
                  <a:lnTo>
                    <a:pt x="768" y="563"/>
                  </a:lnTo>
                  <a:lnTo>
                    <a:pt x="768" y="563"/>
                  </a:lnTo>
                  <a:lnTo>
                    <a:pt x="768" y="561"/>
                  </a:lnTo>
                  <a:lnTo>
                    <a:pt x="772" y="555"/>
                  </a:lnTo>
                  <a:lnTo>
                    <a:pt x="777" y="553"/>
                  </a:lnTo>
                  <a:lnTo>
                    <a:pt x="777" y="551"/>
                  </a:lnTo>
                  <a:lnTo>
                    <a:pt x="774" y="551"/>
                  </a:lnTo>
                  <a:lnTo>
                    <a:pt x="772" y="549"/>
                  </a:lnTo>
                  <a:lnTo>
                    <a:pt x="772" y="549"/>
                  </a:lnTo>
                  <a:lnTo>
                    <a:pt x="772" y="547"/>
                  </a:lnTo>
                  <a:lnTo>
                    <a:pt x="772" y="545"/>
                  </a:lnTo>
                  <a:lnTo>
                    <a:pt x="772" y="545"/>
                  </a:lnTo>
                  <a:lnTo>
                    <a:pt x="772" y="545"/>
                  </a:lnTo>
                  <a:lnTo>
                    <a:pt x="772" y="543"/>
                  </a:lnTo>
                  <a:lnTo>
                    <a:pt x="770" y="541"/>
                  </a:lnTo>
                  <a:lnTo>
                    <a:pt x="770" y="539"/>
                  </a:lnTo>
                  <a:lnTo>
                    <a:pt x="770" y="536"/>
                  </a:lnTo>
                  <a:lnTo>
                    <a:pt x="772" y="534"/>
                  </a:lnTo>
                  <a:lnTo>
                    <a:pt x="772" y="532"/>
                  </a:lnTo>
                  <a:lnTo>
                    <a:pt x="772" y="528"/>
                  </a:lnTo>
                  <a:lnTo>
                    <a:pt x="772" y="526"/>
                  </a:lnTo>
                  <a:lnTo>
                    <a:pt x="774" y="522"/>
                  </a:lnTo>
                  <a:lnTo>
                    <a:pt x="774" y="518"/>
                  </a:lnTo>
                  <a:lnTo>
                    <a:pt x="774" y="514"/>
                  </a:lnTo>
                  <a:lnTo>
                    <a:pt x="774" y="514"/>
                  </a:lnTo>
                  <a:lnTo>
                    <a:pt x="777" y="512"/>
                  </a:lnTo>
                  <a:lnTo>
                    <a:pt x="777" y="512"/>
                  </a:lnTo>
                  <a:lnTo>
                    <a:pt x="779" y="512"/>
                  </a:lnTo>
                  <a:lnTo>
                    <a:pt x="779" y="512"/>
                  </a:lnTo>
                  <a:lnTo>
                    <a:pt x="781" y="510"/>
                  </a:lnTo>
                  <a:lnTo>
                    <a:pt x="779" y="506"/>
                  </a:lnTo>
                  <a:lnTo>
                    <a:pt x="781" y="502"/>
                  </a:lnTo>
                  <a:lnTo>
                    <a:pt x="781" y="498"/>
                  </a:lnTo>
                  <a:lnTo>
                    <a:pt x="783" y="493"/>
                  </a:lnTo>
                  <a:lnTo>
                    <a:pt x="783" y="493"/>
                  </a:lnTo>
                  <a:lnTo>
                    <a:pt x="783" y="493"/>
                  </a:lnTo>
                  <a:lnTo>
                    <a:pt x="785" y="498"/>
                  </a:lnTo>
                  <a:lnTo>
                    <a:pt x="785" y="502"/>
                  </a:lnTo>
                  <a:lnTo>
                    <a:pt x="785" y="506"/>
                  </a:lnTo>
                  <a:lnTo>
                    <a:pt x="787" y="506"/>
                  </a:lnTo>
                  <a:lnTo>
                    <a:pt x="783" y="475"/>
                  </a:lnTo>
                  <a:lnTo>
                    <a:pt x="781" y="473"/>
                  </a:lnTo>
                  <a:close/>
                  <a:moveTo>
                    <a:pt x="686" y="221"/>
                  </a:moveTo>
                  <a:lnTo>
                    <a:pt x="686" y="219"/>
                  </a:lnTo>
                  <a:lnTo>
                    <a:pt x="684" y="215"/>
                  </a:lnTo>
                  <a:lnTo>
                    <a:pt x="684" y="215"/>
                  </a:lnTo>
                  <a:lnTo>
                    <a:pt x="682" y="217"/>
                  </a:lnTo>
                  <a:lnTo>
                    <a:pt x="680" y="219"/>
                  </a:lnTo>
                  <a:lnTo>
                    <a:pt x="678" y="219"/>
                  </a:lnTo>
                  <a:lnTo>
                    <a:pt x="678" y="221"/>
                  </a:lnTo>
                  <a:lnTo>
                    <a:pt x="678" y="223"/>
                  </a:lnTo>
                  <a:lnTo>
                    <a:pt x="676" y="223"/>
                  </a:lnTo>
                  <a:lnTo>
                    <a:pt x="676" y="225"/>
                  </a:lnTo>
                  <a:lnTo>
                    <a:pt x="676" y="229"/>
                  </a:lnTo>
                  <a:lnTo>
                    <a:pt x="678" y="231"/>
                  </a:lnTo>
                  <a:lnTo>
                    <a:pt x="680" y="239"/>
                  </a:lnTo>
                  <a:lnTo>
                    <a:pt x="680" y="241"/>
                  </a:lnTo>
                  <a:lnTo>
                    <a:pt x="682" y="243"/>
                  </a:lnTo>
                  <a:lnTo>
                    <a:pt x="688" y="254"/>
                  </a:lnTo>
                  <a:lnTo>
                    <a:pt x="690" y="256"/>
                  </a:lnTo>
                  <a:lnTo>
                    <a:pt x="688" y="254"/>
                  </a:lnTo>
                  <a:lnTo>
                    <a:pt x="688" y="252"/>
                  </a:lnTo>
                  <a:lnTo>
                    <a:pt x="686" y="250"/>
                  </a:lnTo>
                  <a:lnTo>
                    <a:pt x="686" y="250"/>
                  </a:lnTo>
                  <a:lnTo>
                    <a:pt x="686" y="248"/>
                  </a:lnTo>
                  <a:lnTo>
                    <a:pt x="686" y="245"/>
                  </a:lnTo>
                  <a:lnTo>
                    <a:pt x="684" y="233"/>
                  </a:lnTo>
                  <a:lnTo>
                    <a:pt x="684" y="229"/>
                  </a:lnTo>
                  <a:lnTo>
                    <a:pt x="686" y="221"/>
                  </a:lnTo>
                  <a:close/>
                  <a:moveTo>
                    <a:pt x="690" y="258"/>
                  </a:moveTo>
                  <a:lnTo>
                    <a:pt x="693" y="258"/>
                  </a:lnTo>
                  <a:lnTo>
                    <a:pt x="693" y="260"/>
                  </a:lnTo>
                  <a:lnTo>
                    <a:pt x="693" y="260"/>
                  </a:lnTo>
                  <a:lnTo>
                    <a:pt x="693" y="260"/>
                  </a:lnTo>
                  <a:lnTo>
                    <a:pt x="693" y="260"/>
                  </a:lnTo>
                  <a:lnTo>
                    <a:pt x="693" y="258"/>
                  </a:lnTo>
                  <a:lnTo>
                    <a:pt x="690" y="256"/>
                  </a:lnTo>
                  <a:lnTo>
                    <a:pt x="690" y="256"/>
                  </a:lnTo>
                  <a:lnTo>
                    <a:pt x="690" y="256"/>
                  </a:lnTo>
                  <a:lnTo>
                    <a:pt x="690" y="258"/>
                  </a:lnTo>
                  <a:close/>
                  <a:moveTo>
                    <a:pt x="721" y="301"/>
                  </a:moveTo>
                  <a:lnTo>
                    <a:pt x="723" y="303"/>
                  </a:lnTo>
                  <a:lnTo>
                    <a:pt x="723" y="305"/>
                  </a:lnTo>
                  <a:lnTo>
                    <a:pt x="725" y="305"/>
                  </a:lnTo>
                  <a:lnTo>
                    <a:pt x="725" y="307"/>
                  </a:lnTo>
                  <a:lnTo>
                    <a:pt x="727" y="311"/>
                  </a:lnTo>
                  <a:lnTo>
                    <a:pt x="727" y="313"/>
                  </a:lnTo>
                  <a:lnTo>
                    <a:pt x="729" y="313"/>
                  </a:lnTo>
                  <a:lnTo>
                    <a:pt x="729" y="315"/>
                  </a:lnTo>
                  <a:lnTo>
                    <a:pt x="736" y="332"/>
                  </a:lnTo>
                  <a:lnTo>
                    <a:pt x="738" y="334"/>
                  </a:lnTo>
                  <a:lnTo>
                    <a:pt x="740" y="336"/>
                  </a:lnTo>
                  <a:lnTo>
                    <a:pt x="740" y="336"/>
                  </a:lnTo>
                  <a:lnTo>
                    <a:pt x="740" y="336"/>
                  </a:lnTo>
                  <a:lnTo>
                    <a:pt x="742" y="338"/>
                  </a:lnTo>
                  <a:lnTo>
                    <a:pt x="742" y="338"/>
                  </a:lnTo>
                  <a:lnTo>
                    <a:pt x="750" y="350"/>
                  </a:lnTo>
                  <a:lnTo>
                    <a:pt x="752" y="354"/>
                  </a:lnTo>
                  <a:lnTo>
                    <a:pt x="754" y="356"/>
                  </a:lnTo>
                  <a:lnTo>
                    <a:pt x="756" y="358"/>
                  </a:lnTo>
                  <a:lnTo>
                    <a:pt x="756" y="358"/>
                  </a:lnTo>
                  <a:lnTo>
                    <a:pt x="756" y="358"/>
                  </a:lnTo>
                  <a:lnTo>
                    <a:pt x="754" y="356"/>
                  </a:lnTo>
                  <a:lnTo>
                    <a:pt x="731" y="315"/>
                  </a:lnTo>
                  <a:lnTo>
                    <a:pt x="729" y="313"/>
                  </a:lnTo>
                  <a:lnTo>
                    <a:pt x="729" y="311"/>
                  </a:lnTo>
                  <a:lnTo>
                    <a:pt x="729" y="309"/>
                  </a:lnTo>
                  <a:lnTo>
                    <a:pt x="727" y="307"/>
                  </a:lnTo>
                  <a:lnTo>
                    <a:pt x="721" y="301"/>
                  </a:lnTo>
                  <a:lnTo>
                    <a:pt x="719" y="297"/>
                  </a:lnTo>
                  <a:lnTo>
                    <a:pt x="717" y="293"/>
                  </a:lnTo>
                  <a:lnTo>
                    <a:pt x="717" y="291"/>
                  </a:lnTo>
                  <a:lnTo>
                    <a:pt x="717" y="291"/>
                  </a:lnTo>
                  <a:lnTo>
                    <a:pt x="717" y="291"/>
                  </a:lnTo>
                  <a:lnTo>
                    <a:pt x="717" y="291"/>
                  </a:lnTo>
                  <a:lnTo>
                    <a:pt x="717" y="291"/>
                  </a:lnTo>
                  <a:lnTo>
                    <a:pt x="717" y="291"/>
                  </a:lnTo>
                  <a:lnTo>
                    <a:pt x="717" y="291"/>
                  </a:lnTo>
                  <a:lnTo>
                    <a:pt x="715" y="291"/>
                  </a:lnTo>
                  <a:lnTo>
                    <a:pt x="715" y="291"/>
                  </a:lnTo>
                  <a:lnTo>
                    <a:pt x="717" y="295"/>
                  </a:lnTo>
                  <a:lnTo>
                    <a:pt x="721" y="301"/>
                  </a:lnTo>
                  <a:close/>
                  <a:moveTo>
                    <a:pt x="787" y="705"/>
                  </a:moveTo>
                  <a:lnTo>
                    <a:pt x="789" y="705"/>
                  </a:lnTo>
                  <a:lnTo>
                    <a:pt x="789" y="705"/>
                  </a:lnTo>
                  <a:lnTo>
                    <a:pt x="789" y="705"/>
                  </a:lnTo>
                  <a:lnTo>
                    <a:pt x="787" y="705"/>
                  </a:lnTo>
                  <a:close/>
                  <a:moveTo>
                    <a:pt x="797" y="700"/>
                  </a:moveTo>
                  <a:lnTo>
                    <a:pt x="797" y="698"/>
                  </a:lnTo>
                  <a:lnTo>
                    <a:pt x="797" y="698"/>
                  </a:lnTo>
                  <a:lnTo>
                    <a:pt x="797" y="700"/>
                  </a:lnTo>
                  <a:close/>
                  <a:moveTo>
                    <a:pt x="799" y="698"/>
                  </a:moveTo>
                  <a:lnTo>
                    <a:pt x="799" y="698"/>
                  </a:lnTo>
                  <a:lnTo>
                    <a:pt x="799" y="698"/>
                  </a:lnTo>
                  <a:lnTo>
                    <a:pt x="799" y="698"/>
                  </a:lnTo>
                  <a:close/>
                  <a:moveTo>
                    <a:pt x="803" y="694"/>
                  </a:moveTo>
                  <a:lnTo>
                    <a:pt x="805" y="694"/>
                  </a:lnTo>
                  <a:lnTo>
                    <a:pt x="803" y="694"/>
                  </a:lnTo>
                  <a:lnTo>
                    <a:pt x="803" y="694"/>
                  </a:lnTo>
                  <a:close/>
                  <a:moveTo>
                    <a:pt x="807" y="694"/>
                  </a:moveTo>
                  <a:lnTo>
                    <a:pt x="807" y="694"/>
                  </a:lnTo>
                  <a:lnTo>
                    <a:pt x="807" y="694"/>
                  </a:lnTo>
                  <a:lnTo>
                    <a:pt x="807" y="694"/>
                  </a:lnTo>
                  <a:close/>
                  <a:moveTo>
                    <a:pt x="494" y="243"/>
                  </a:moveTo>
                  <a:lnTo>
                    <a:pt x="494" y="243"/>
                  </a:lnTo>
                  <a:lnTo>
                    <a:pt x="494" y="243"/>
                  </a:lnTo>
                  <a:lnTo>
                    <a:pt x="494" y="243"/>
                  </a:lnTo>
                  <a:lnTo>
                    <a:pt x="494" y="243"/>
                  </a:lnTo>
                  <a:lnTo>
                    <a:pt x="494" y="243"/>
                  </a:lnTo>
                  <a:lnTo>
                    <a:pt x="494" y="243"/>
                  </a:lnTo>
                  <a:lnTo>
                    <a:pt x="494" y="243"/>
                  </a:lnTo>
                  <a:lnTo>
                    <a:pt x="494" y="243"/>
                  </a:lnTo>
                  <a:lnTo>
                    <a:pt x="494" y="243"/>
                  </a:lnTo>
                  <a:close/>
                  <a:moveTo>
                    <a:pt x="492" y="219"/>
                  </a:moveTo>
                  <a:lnTo>
                    <a:pt x="492" y="219"/>
                  </a:lnTo>
                  <a:lnTo>
                    <a:pt x="492" y="219"/>
                  </a:lnTo>
                  <a:lnTo>
                    <a:pt x="492" y="219"/>
                  </a:lnTo>
                  <a:lnTo>
                    <a:pt x="492" y="219"/>
                  </a:lnTo>
                  <a:lnTo>
                    <a:pt x="492" y="219"/>
                  </a:lnTo>
                  <a:lnTo>
                    <a:pt x="492" y="219"/>
                  </a:lnTo>
                  <a:lnTo>
                    <a:pt x="492" y="217"/>
                  </a:lnTo>
                  <a:lnTo>
                    <a:pt x="492" y="217"/>
                  </a:lnTo>
                  <a:lnTo>
                    <a:pt x="490" y="217"/>
                  </a:lnTo>
                  <a:lnTo>
                    <a:pt x="490" y="217"/>
                  </a:lnTo>
                  <a:lnTo>
                    <a:pt x="490" y="217"/>
                  </a:lnTo>
                  <a:lnTo>
                    <a:pt x="490" y="219"/>
                  </a:lnTo>
                  <a:lnTo>
                    <a:pt x="492" y="219"/>
                  </a:lnTo>
                  <a:close/>
                  <a:moveTo>
                    <a:pt x="492" y="231"/>
                  </a:moveTo>
                  <a:lnTo>
                    <a:pt x="492" y="231"/>
                  </a:lnTo>
                  <a:lnTo>
                    <a:pt x="492" y="231"/>
                  </a:lnTo>
                  <a:lnTo>
                    <a:pt x="494" y="231"/>
                  </a:lnTo>
                  <a:lnTo>
                    <a:pt x="494" y="231"/>
                  </a:lnTo>
                  <a:lnTo>
                    <a:pt x="492" y="231"/>
                  </a:lnTo>
                  <a:close/>
                  <a:moveTo>
                    <a:pt x="490" y="233"/>
                  </a:moveTo>
                  <a:lnTo>
                    <a:pt x="490" y="233"/>
                  </a:lnTo>
                  <a:lnTo>
                    <a:pt x="490" y="233"/>
                  </a:lnTo>
                  <a:lnTo>
                    <a:pt x="490" y="233"/>
                  </a:lnTo>
                  <a:lnTo>
                    <a:pt x="490" y="233"/>
                  </a:lnTo>
                  <a:lnTo>
                    <a:pt x="490" y="233"/>
                  </a:lnTo>
                  <a:lnTo>
                    <a:pt x="490" y="233"/>
                  </a:lnTo>
                  <a:lnTo>
                    <a:pt x="490" y="233"/>
                  </a:lnTo>
                  <a:lnTo>
                    <a:pt x="490" y="233"/>
                  </a:lnTo>
                  <a:lnTo>
                    <a:pt x="490" y="235"/>
                  </a:lnTo>
                  <a:lnTo>
                    <a:pt x="490" y="235"/>
                  </a:lnTo>
                  <a:lnTo>
                    <a:pt x="492" y="235"/>
                  </a:lnTo>
                  <a:lnTo>
                    <a:pt x="492" y="235"/>
                  </a:lnTo>
                  <a:lnTo>
                    <a:pt x="492" y="235"/>
                  </a:lnTo>
                  <a:lnTo>
                    <a:pt x="492" y="233"/>
                  </a:lnTo>
                  <a:lnTo>
                    <a:pt x="492" y="233"/>
                  </a:lnTo>
                  <a:lnTo>
                    <a:pt x="492" y="233"/>
                  </a:lnTo>
                  <a:lnTo>
                    <a:pt x="490" y="233"/>
                  </a:lnTo>
                  <a:close/>
                  <a:moveTo>
                    <a:pt x="492" y="237"/>
                  </a:moveTo>
                  <a:lnTo>
                    <a:pt x="492" y="235"/>
                  </a:lnTo>
                  <a:lnTo>
                    <a:pt x="492" y="237"/>
                  </a:lnTo>
                  <a:lnTo>
                    <a:pt x="492" y="237"/>
                  </a:lnTo>
                  <a:lnTo>
                    <a:pt x="492" y="237"/>
                  </a:lnTo>
                  <a:close/>
                  <a:moveTo>
                    <a:pt x="490" y="227"/>
                  </a:moveTo>
                  <a:lnTo>
                    <a:pt x="490" y="227"/>
                  </a:lnTo>
                  <a:lnTo>
                    <a:pt x="488" y="227"/>
                  </a:lnTo>
                  <a:lnTo>
                    <a:pt x="488" y="229"/>
                  </a:lnTo>
                  <a:lnTo>
                    <a:pt x="488" y="229"/>
                  </a:lnTo>
                  <a:lnTo>
                    <a:pt x="490" y="229"/>
                  </a:lnTo>
                  <a:lnTo>
                    <a:pt x="490" y="229"/>
                  </a:lnTo>
                  <a:lnTo>
                    <a:pt x="488" y="229"/>
                  </a:lnTo>
                  <a:lnTo>
                    <a:pt x="488" y="231"/>
                  </a:lnTo>
                  <a:lnTo>
                    <a:pt x="490" y="231"/>
                  </a:lnTo>
                  <a:lnTo>
                    <a:pt x="490" y="231"/>
                  </a:lnTo>
                  <a:lnTo>
                    <a:pt x="490" y="229"/>
                  </a:lnTo>
                  <a:lnTo>
                    <a:pt x="490" y="229"/>
                  </a:lnTo>
                  <a:lnTo>
                    <a:pt x="490" y="227"/>
                  </a:lnTo>
                  <a:close/>
                  <a:moveTo>
                    <a:pt x="492" y="241"/>
                  </a:moveTo>
                  <a:lnTo>
                    <a:pt x="492" y="241"/>
                  </a:lnTo>
                  <a:lnTo>
                    <a:pt x="492" y="239"/>
                  </a:lnTo>
                  <a:lnTo>
                    <a:pt x="492" y="241"/>
                  </a:lnTo>
                  <a:close/>
                  <a:moveTo>
                    <a:pt x="486" y="219"/>
                  </a:moveTo>
                  <a:lnTo>
                    <a:pt x="484" y="219"/>
                  </a:lnTo>
                  <a:lnTo>
                    <a:pt x="484" y="219"/>
                  </a:lnTo>
                  <a:lnTo>
                    <a:pt x="486" y="219"/>
                  </a:lnTo>
                  <a:lnTo>
                    <a:pt x="486" y="219"/>
                  </a:lnTo>
                  <a:lnTo>
                    <a:pt x="486" y="219"/>
                  </a:lnTo>
                  <a:lnTo>
                    <a:pt x="486" y="219"/>
                  </a:lnTo>
                  <a:lnTo>
                    <a:pt x="486" y="219"/>
                  </a:lnTo>
                  <a:lnTo>
                    <a:pt x="486" y="219"/>
                  </a:lnTo>
                  <a:lnTo>
                    <a:pt x="486" y="219"/>
                  </a:lnTo>
                  <a:lnTo>
                    <a:pt x="486" y="219"/>
                  </a:lnTo>
                  <a:lnTo>
                    <a:pt x="486" y="219"/>
                  </a:lnTo>
                  <a:close/>
                  <a:moveTo>
                    <a:pt x="486" y="225"/>
                  </a:moveTo>
                  <a:lnTo>
                    <a:pt x="486" y="225"/>
                  </a:lnTo>
                  <a:lnTo>
                    <a:pt x="484" y="225"/>
                  </a:lnTo>
                  <a:lnTo>
                    <a:pt x="486" y="225"/>
                  </a:lnTo>
                  <a:lnTo>
                    <a:pt x="486" y="225"/>
                  </a:lnTo>
                  <a:lnTo>
                    <a:pt x="486" y="225"/>
                  </a:lnTo>
                  <a:lnTo>
                    <a:pt x="486" y="225"/>
                  </a:lnTo>
                  <a:lnTo>
                    <a:pt x="486" y="225"/>
                  </a:lnTo>
                  <a:lnTo>
                    <a:pt x="488" y="225"/>
                  </a:lnTo>
                  <a:lnTo>
                    <a:pt x="486" y="225"/>
                  </a:lnTo>
                  <a:lnTo>
                    <a:pt x="486" y="225"/>
                  </a:lnTo>
                  <a:close/>
                  <a:moveTo>
                    <a:pt x="484" y="221"/>
                  </a:moveTo>
                  <a:lnTo>
                    <a:pt x="484" y="221"/>
                  </a:lnTo>
                  <a:lnTo>
                    <a:pt x="484" y="221"/>
                  </a:lnTo>
                  <a:lnTo>
                    <a:pt x="484" y="221"/>
                  </a:lnTo>
                  <a:lnTo>
                    <a:pt x="484" y="221"/>
                  </a:lnTo>
                  <a:close/>
                  <a:moveTo>
                    <a:pt x="490" y="219"/>
                  </a:moveTo>
                  <a:lnTo>
                    <a:pt x="490" y="219"/>
                  </a:lnTo>
                  <a:lnTo>
                    <a:pt x="490" y="219"/>
                  </a:lnTo>
                  <a:lnTo>
                    <a:pt x="490" y="219"/>
                  </a:lnTo>
                  <a:lnTo>
                    <a:pt x="488" y="219"/>
                  </a:lnTo>
                  <a:lnTo>
                    <a:pt x="488" y="219"/>
                  </a:lnTo>
                  <a:lnTo>
                    <a:pt x="488" y="219"/>
                  </a:lnTo>
                  <a:lnTo>
                    <a:pt x="488" y="219"/>
                  </a:lnTo>
                  <a:lnTo>
                    <a:pt x="488" y="219"/>
                  </a:lnTo>
                  <a:lnTo>
                    <a:pt x="488" y="219"/>
                  </a:lnTo>
                  <a:lnTo>
                    <a:pt x="490" y="219"/>
                  </a:lnTo>
                  <a:close/>
                  <a:moveTo>
                    <a:pt x="484" y="229"/>
                  </a:moveTo>
                  <a:lnTo>
                    <a:pt x="484" y="229"/>
                  </a:lnTo>
                  <a:lnTo>
                    <a:pt x="484" y="227"/>
                  </a:lnTo>
                  <a:lnTo>
                    <a:pt x="484" y="227"/>
                  </a:lnTo>
                  <a:lnTo>
                    <a:pt x="484" y="229"/>
                  </a:lnTo>
                  <a:close/>
                  <a:moveTo>
                    <a:pt x="473" y="194"/>
                  </a:moveTo>
                  <a:lnTo>
                    <a:pt x="471" y="196"/>
                  </a:lnTo>
                  <a:lnTo>
                    <a:pt x="471" y="196"/>
                  </a:lnTo>
                  <a:lnTo>
                    <a:pt x="471" y="196"/>
                  </a:lnTo>
                  <a:lnTo>
                    <a:pt x="471" y="196"/>
                  </a:lnTo>
                  <a:lnTo>
                    <a:pt x="473" y="196"/>
                  </a:lnTo>
                  <a:lnTo>
                    <a:pt x="473" y="196"/>
                  </a:lnTo>
                  <a:lnTo>
                    <a:pt x="473" y="196"/>
                  </a:lnTo>
                  <a:lnTo>
                    <a:pt x="473" y="194"/>
                  </a:lnTo>
                  <a:close/>
                  <a:moveTo>
                    <a:pt x="451" y="194"/>
                  </a:moveTo>
                  <a:lnTo>
                    <a:pt x="449" y="194"/>
                  </a:lnTo>
                  <a:lnTo>
                    <a:pt x="449" y="194"/>
                  </a:lnTo>
                  <a:lnTo>
                    <a:pt x="449" y="194"/>
                  </a:lnTo>
                  <a:lnTo>
                    <a:pt x="449" y="196"/>
                  </a:lnTo>
                  <a:lnTo>
                    <a:pt x="449" y="196"/>
                  </a:lnTo>
                  <a:lnTo>
                    <a:pt x="451" y="194"/>
                  </a:lnTo>
                  <a:lnTo>
                    <a:pt x="451" y="194"/>
                  </a:lnTo>
                  <a:lnTo>
                    <a:pt x="451" y="194"/>
                  </a:lnTo>
                  <a:lnTo>
                    <a:pt x="451" y="194"/>
                  </a:lnTo>
                  <a:close/>
                  <a:moveTo>
                    <a:pt x="488" y="217"/>
                  </a:moveTo>
                  <a:lnTo>
                    <a:pt x="488" y="217"/>
                  </a:lnTo>
                  <a:lnTo>
                    <a:pt x="490" y="217"/>
                  </a:lnTo>
                  <a:lnTo>
                    <a:pt x="490" y="217"/>
                  </a:lnTo>
                  <a:lnTo>
                    <a:pt x="490" y="217"/>
                  </a:lnTo>
                  <a:lnTo>
                    <a:pt x="488" y="217"/>
                  </a:lnTo>
                  <a:lnTo>
                    <a:pt x="488" y="215"/>
                  </a:lnTo>
                  <a:lnTo>
                    <a:pt x="488" y="215"/>
                  </a:lnTo>
                  <a:lnTo>
                    <a:pt x="488" y="215"/>
                  </a:lnTo>
                  <a:lnTo>
                    <a:pt x="488" y="217"/>
                  </a:lnTo>
                  <a:lnTo>
                    <a:pt x="488" y="217"/>
                  </a:lnTo>
                  <a:lnTo>
                    <a:pt x="488" y="217"/>
                  </a:lnTo>
                  <a:close/>
                  <a:moveTo>
                    <a:pt x="488" y="235"/>
                  </a:moveTo>
                  <a:lnTo>
                    <a:pt x="488" y="235"/>
                  </a:lnTo>
                  <a:lnTo>
                    <a:pt x="488" y="235"/>
                  </a:lnTo>
                  <a:lnTo>
                    <a:pt x="488" y="235"/>
                  </a:lnTo>
                  <a:lnTo>
                    <a:pt x="488" y="235"/>
                  </a:lnTo>
                  <a:lnTo>
                    <a:pt x="488" y="235"/>
                  </a:lnTo>
                  <a:lnTo>
                    <a:pt x="488" y="235"/>
                  </a:lnTo>
                  <a:close/>
                  <a:moveTo>
                    <a:pt x="652" y="661"/>
                  </a:moveTo>
                  <a:lnTo>
                    <a:pt x="652" y="659"/>
                  </a:lnTo>
                  <a:lnTo>
                    <a:pt x="652" y="659"/>
                  </a:lnTo>
                  <a:lnTo>
                    <a:pt x="652" y="659"/>
                  </a:lnTo>
                  <a:lnTo>
                    <a:pt x="652" y="659"/>
                  </a:lnTo>
                  <a:lnTo>
                    <a:pt x="652" y="659"/>
                  </a:lnTo>
                  <a:lnTo>
                    <a:pt x="650" y="661"/>
                  </a:lnTo>
                  <a:lnTo>
                    <a:pt x="647" y="664"/>
                  </a:lnTo>
                  <a:lnTo>
                    <a:pt x="647" y="664"/>
                  </a:lnTo>
                  <a:lnTo>
                    <a:pt x="645" y="664"/>
                  </a:lnTo>
                  <a:lnTo>
                    <a:pt x="645" y="664"/>
                  </a:lnTo>
                  <a:lnTo>
                    <a:pt x="645" y="666"/>
                  </a:lnTo>
                  <a:lnTo>
                    <a:pt x="645" y="664"/>
                  </a:lnTo>
                  <a:lnTo>
                    <a:pt x="645" y="666"/>
                  </a:lnTo>
                  <a:lnTo>
                    <a:pt x="647" y="664"/>
                  </a:lnTo>
                  <a:lnTo>
                    <a:pt x="650" y="664"/>
                  </a:lnTo>
                  <a:lnTo>
                    <a:pt x="650"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2" y="661"/>
                  </a:lnTo>
                  <a:lnTo>
                    <a:pt x="654" y="661"/>
                  </a:lnTo>
                  <a:lnTo>
                    <a:pt x="654" y="661"/>
                  </a:lnTo>
                  <a:lnTo>
                    <a:pt x="652" y="661"/>
                  </a:lnTo>
                  <a:close/>
                  <a:moveTo>
                    <a:pt x="645" y="518"/>
                  </a:moveTo>
                  <a:lnTo>
                    <a:pt x="645" y="518"/>
                  </a:lnTo>
                  <a:lnTo>
                    <a:pt x="645" y="518"/>
                  </a:lnTo>
                  <a:lnTo>
                    <a:pt x="645" y="518"/>
                  </a:lnTo>
                  <a:lnTo>
                    <a:pt x="645" y="520"/>
                  </a:lnTo>
                  <a:lnTo>
                    <a:pt x="645" y="520"/>
                  </a:lnTo>
                  <a:lnTo>
                    <a:pt x="645" y="520"/>
                  </a:lnTo>
                  <a:lnTo>
                    <a:pt x="645" y="518"/>
                  </a:lnTo>
                  <a:close/>
                  <a:moveTo>
                    <a:pt x="615" y="664"/>
                  </a:moveTo>
                  <a:lnTo>
                    <a:pt x="613" y="664"/>
                  </a:lnTo>
                  <a:lnTo>
                    <a:pt x="613" y="664"/>
                  </a:lnTo>
                  <a:lnTo>
                    <a:pt x="613" y="666"/>
                  </a:lnTo>
                  <a:lnTo>
                    <a:pt x="613" y="664"/>
                  </a:lnTo>
                  <a:lnTo>
                    <a:pt x="613" y="664"/>
                  </a:lnTo>
                  <a:lnTo>
                    <a:pt x="615" y="666"/>
                  </a:lnTo>
                  <a:lnTo>
                    <a:pt x="615" y="666"/>
                  </a:lnTo>
                  <a:lnTo>
                    <a:pt x="617" y="666"/>
                  </a:lnTo>
                  <a:lnTo>
                    <a:pt x="617" y="668"/>
                  </a:lnTo>
                  <a:lnTo>
                    <a:pt x="617" y="666"/>
                  </a:lnTo>
                  <a:lnTo>
                    <a:pt x="615" y="666"/>
                  </a:lnTo>
                  <a:lnTo>
                    <a:pt x="615" y="664"/>
                  </a:lnTo>
                  <a:close/>
                  <a:moveTo>
                    <a:pt x="615" y="668"/>
                  </a:moveTo>
                  <a:lnTo>
                    <a:pt x="615" y="670"/>
                  </a:lnTo>
                  <a:lnTo>
                    <a:pt x="615" y="668"/>
                  </a:lnTo>
                  <a:lnTo>
                    <a:pt x="617" y="668"/>
                  </a:lnTo>
                  <a:lnTo>
                    <a:pt x="615" y="668"/>
                  </a:lnTo>
                  <a:lnTo>
                    <a:pt x="615" y="668"/>
                  </a:lnTo>
                  <a:close/>
                  <a:moveTo>
                    <a:pt x="613" y="670"/>
                  </a:moveTo>
                  <a:lnTo>
                    <a:pt x="613" y="670"/>
                  </a:lnTo>
                  <a:lnTo>
                    <a:pt x="613" y="670"/>
                  </a:lnTo>
                  <a:lnTo>
                    <a:pt x="613" y="670"/>
                  </a:lnTo>
                  <a:lnTo>
                    <a:pt x="613" y="670"/>
                  </a:lnTo>
                  <a:lnTo>
                    <a:pt x="613" y="670"/>
                  </a:lnTo>
                  <a:lnTo>
                    <a:pt x="613" y="670"/>
                  </a:lnTo>
                  <a:lnTo>
                    <a:pt x="613" y="670"/>
                  </a:lnTo>
                  <a:lnTo>
                    <a:pt x="613" y="670"/>
                  </a:lnTo>
                  <a:close/>
                  <a:moveTo>
                    <a:pt x="660" y="655"/>
                  </a:moveTo>
                  <a:lnTo>
                    <a:pt x="660" y="655"/>
                  </a:lnTo>
                  <a:lnTo>
                    <a:pt x="660" y="655"/>
                  </a:lnTo>
                  <a:lnTo>
                    <a:pt x="658" y="657"/>
                  </a:lnTo>
                  <a:lnTo>
                    <a:pt x="656" y="657"/>
                  </a:lnTo>
                  <a:lnTo>
                    <a:pt x="656" y="657"/>
                  </a:lnTo>
                  <a:lnTo>
                    <a:pt x="656" y="657"/>
                  </a:lnTo>
                  <a:lnTo>
                    <a:pt x="656" y="657"/>
                  </a:lnTo>
                  <a:lnTo>
                    <a:pt x="654" y="657"/>
                  </a:lnTo>
                  <a:lnTo>
                    <a:pt x="654" y="657"/>
                  </a:lnTo>
                  <a:lnTo>
                    <a:pt x="654" y="659"/>
                  </a:lnTo>
                  <a:lnTo>
                    <a:pt x="654" y="659"/>
                  </a:lnTo>
                  <a:lnTo>
                    <a:pt x="656" y="659"/>
                  </a:lnTo>
                  <a:lnTo>
                    <a:pt x="656" y="659"/>
                  </a:lnTo>
                  <a:lnTo>
                    <a:pt x="654" y="661"/>
                  </a:lnTo>
                  <a:lnTo>
                    <a:pt x="654" y="661"/>
                  </a:lnTo>
                  <a:lnTo>
                    <a:pt x="654" y="661"/>
                  </a:lnTo>
                  <a:lnTo>
                    <a:pt x="654" y="661"/>
                  </a:lnTo>
                  <a:lnTo>
                    <a:pt x="660" y="657"/>
                  </a:lnTo>
                  <a:lnTo>
                    <a:pt x="660" y="657"/>
                  </a:lnTo>
                  <a:lnTo>
                    <a:pt x="660" y="655"/>
                  </a:lnTo>
                  <a:close/>
                  <a:moveTo>
                    <a:pt x="664" y="526"/>
                  </a:moveTo>
                  <a:lnTo>
                    <a:pt x="664" y="526"/>
                  </a:lnTo>
                  <a:lnTo>
                    <a:pt x="664" y="526"/>
                  </a:lnTo>
                  <a:lnTo>
                    <a:pt x="664" y="524"/>
                  </a:lnTo>
                  <a:lnTo>
                    <a:pt x="664" y="524"/>
                  </a:lnTo>
                  <a:lnTo>
                    <a:pt x="664" y="524"/>
                  </a:lnTo>
                  <a:lnTo>
                    <a:pt x="666" y="524"/>
                  </a:lnTo>
                  <a:lnTo>
                    <a:pt x="666" y="524"/>
                  </a:lnTo>
                  <a:lnTo>
                    <a:pt x="666" y="522"/>
                  </a:lnTo>
                  <a:lnTo>
                    <a:pt x="664" y="522"/>
                  </a:lnTo>
                  <a:lnTo>
                    <a:pt x="664" y="522"/>
                  </a:lnTo>
                  <a:lnTo>
                    <a:pt x="662" y="520"/>
                  </a:lnTo>
                  <a:lnTo>
                    <a:pt x="662" y="520"/>
                  </a:lnTo>
                  <a:lnTo>
                    <a:pt x="660" y="520"/>
                  </a:lnTo>
                  <a:lnTo>
                    <a:pt x="658" y="520"/>
                  </a:lnTo>
                  <a:lnTo>
                    <a:pt x="658" y="522"/>
                  </a:lnTo>
                  <a:lnTo>
                    <a:pt x="660" y="522"/>
                  </a:lnTo>
                  <a:lnTo>
                    <a:pt x="660" y="524"/>
                  </a:lnTo>
                  <a:lnTo>
                    <a:pt x="660" y="524"/>
                  </a:lnTo>
                  <a:lnTo>
                    <a:pt x="660" y="524"/>
                  </a:lnTo>
                  <a:lnTo>
                    <a:pt x="662" y="524"/>
                  </a:lnTo>
                  <a:lnTo>
                    <a:pt x="662" y="526"/>
                  </a:lnTo>
                  <a:lnTo>
                    <a:pt x="664" y="526"/>
                  </a:lnTo>
                  <a:close/>
                  <a:moveTo>
                    <a:pt x="666" y="524"/>
                  </a:moveTo>
                  <a:lnTo>
                    <a:pt x="664" y="524"/>
                  </a:lnTo>
                  <a:lnTo>
                    <a:pt x="664" y="526"/>
                  </a:lnTo>
                  <a:lnTo>
                    <a:pt x="666" y="526"/>
                  </a:lnTo>
                  <a:lnTo>
                    <a:pt x="668" y="526"/>
                  </a:lnTo>
                  <a:lnTo>
                    <a:pt x="668" y="524"/>
                  </a:lnTo>
                  <a:lnTo>
                    <a:pt x="668" y="524"/>
                  </a:lnTo>
                  <a:lnTo>
                    <a:pt x="666" y="524"/>
                  </a:lnTo>
                  <a:lnTo>
                    <a:pt x="666" y="524"/>
                  </a:lnTo>
                  <a:lnTo>
                    <a:pt x="666" y="524"/>
                  </a:lnTo>
                  <a:lnTo>
                    <a:pt x="666" y="524"/>
                  </a:lnTo>
                  <a:lnTo>
                    <a:pt x="666" y="524"/>
                  </a:lnTo>
                  <a:close/>
                  <a:moveTo>
                    <a:pt x="611" y="668"/>
                  </a:moveTo>
                  <a:lnTo>
                    <a:pt x="613" y="668"/>
                  </a:lnTo>
                  <a:lnTo>
                    <a:pt x="611" y="668"/>
                  </a:lnTo>
                  <a:lnTo>
                    <a:pt x="611" y="668"/>
                  </a:lnTo>
                  <a:close/>
                  <a:moveTo>
                    <a:pt x="647" y="516"/>
                  </a:moveTo>
                  <a:lnTo>
                    <a:pt x="647" y="516"/>
                  </a:lnTo>
                  <a:lnTo>
                    <a:pt x="645" y="516"/>
                  </a:lnTo>
                  <a:lnTo>
                    <a:pt x="645" y="518"/>
                  </a:lnTo>
                  <a:lnTo>
                    <a:pt x="645" y="518"/>
                  </a:lnTo>
                  <a:lnTo>
                    <a:pt x="647" y="518"/>
                  </a:lnTo>
                  <a:lnTo>
                    <a:pt x="647" y="518"/>
                  </a:lnTo>
                  <a:lnTo>
                    <a:pt x="647" y="520"/>
                  </a:lnTo>
                  <a:lnTo>
                    <a:pt x="647" y="522"/>
                  </a:lnTo>
                  <a:lnTo>
                    <a:pt x="647" y="522"/>
                  </a:lnTo>
                  <a:lnTo>
                    <a:pt x="650" y="520"/>
                  </a:lnTo>
                  <a:lnTo>
                    <a:pt x="650" y="518"/>
                  </a:lnTo>
                  <a:lnTo>
                    <a:pt x="647" y="518"/>
                  </a:lnTo>
                  <a:lnTo>
                    <a:pt x="647" y="518"/>
                  </a:lnTo>
                  <a:lnTo>
                    <a:pt x="647" y="518"/>
                  </a:lnTo>
                  <a:lnTo>
                    <a:pt x="647" y="518"/>
                  </a:lnTo>
                  <a:lnTo>
                    <a:pt x="647" y="516"/>
                  </a:lnTo>
                  <a:close/>
                  <a:moveTo>
                    <a:pt x="654" y="520"/>
                  </a:moveTo>
                  <a:lnTo>
                    <a:pt x="654" y="522"/>
                  </a:lnTo>
                  <a:lnTo>
                    <a:pt x="654" y="520"/>
                  </a:lnTo>
                  <a:lnTo>
                    <a:pt x="656" y="522"/>
                  </a:lnTo>
                  <a:lnTo>
                    <a:pt x="656" y="522"/>
                  </a:lnTo>
                  <a:lnTo>
                    <a:pt x="656" y="522"/>
                  </a:lnTo>
                  <a:lnTo>
                    <a:pt x="658" y="524"/>
                  </a:lnTo>
                  <a:lnTo>
                    <a:pt x="658" y="522"/>
                  </a:lnTo>
                  <a:lnTo>
                    <a:pt x="658" y="522"/>
                  </a:lnTo>
                  <a:lnTo>
                    <a:pt x="658" y="522"/>
                  </a:lnTo>
                  <a:lnTo>
                    <a:pt x="658" y="522"/>
                  </a:lnTo>
                  <a:lnTo>
                    <a:pt x="656" y="520"/>
                  </a:lnTo>
                  <a:lnTo>
                    <a:pt x="656" y="518"/>
                  </a:lnTo>
                  <a:lnTo>
                    <a:pt x="656" y="518"/>
                  </a:lnTo>
                  <a:lnTo>
                    <a:pt x="654" y="518"/>
                  </a:lnTo>
                  <a:lnTo>
                    <a:pt x="654" y="520"/>
                  </a:lnTo>
                  <a:lnTo>
                    <a:pt x="652" y="520"/>
                  </a:lnTo>
                  <a:lnTo>
                    <a:pt x="652" y="520"/>
                  </a:lnTo>
                  <a:lnTo>
                    <a:pt x="652" y="522"/>
                  </a:lnTo>
                  <a:lnTo>
                    <a:pt x="652" y="522"/>
                  </a:lnTo>
                  <a:lnTo>
                    <a:pt x="652" y="522"/>
                  </a:lnTo>
                  <a:lnTo>
                    <a:pt x="652" y="522"/>
                  </a:lnTo>
                  <a:lnTo>
                    <a:pt x="652" y="522"/>
                  </a:lnTo>
                  <a:lnTo>
                    <a:pt x="652" y="522"/>
                  </a:lnTo>
                  <a:lnTo>
                    <a:pt x="652" y="522"/>
                  </a:lnTo>
                  <a:lnTo>
                    <a:pt x="652" y="520"/>
                  </a:lnTo>
                  <a:lnTo>
                    <a:pt x="652" y="520"/>
                  </a:lnTo>
                  <a:lnTo>
                    <a:pt x="654" y="520"/>
                  </a:lnTo>
                  <a:close/>
                  <a:moveTo>
                    <a:pt x="635" y="518"/>
                  </a:moveTo>
                  <a:lnTo>
                    <a:pt x="633" y="518"/>
                  </a:lnTo>
                  <a:lnTo>
                    <a:pt x="633" y="520"/>
                  </a:lnTo>
                  <a:lnTo>
                    <a:pt x="631" y="520"/>
                  </a:lnTo>
                  <a:lnTo>
                    <a:pt x="631" y="520"/>
                  </a:lnTo>
                  <a:lnTo>
                    <a:pt x="631" y="520"/>
                  </a:lnTo>
                  <a:lnTo>
                    <a:pt x="633" y="522"/>
                  </a:lnTo>
                  <a:lnTo>
                    <a:pt x="633" y="522"/>
                  </a:lnTo>
                  <a:lnTo>
                    <a:pt x="633" y="522"/>
                  </a:lnTo>
                  <a:lnTo>
                    <a:pt x="633" y="522"/>
                  </a:lnTo>
                  <a:lnTo>
                    <a:pt x="633" y="522"/>
                  </a:lnTo>
                  <a:lnTo>
                    <a:pt x="635" y="522"/>
                  </a:lnTo>
                  <a:lnTo>
                    <a:pt x="635" y="522"/>
                  </a:lnTo>
                  <a:lnTo>
                    <a:pt x="637" y="520"/>
                  </a:lnTo>
                  <a:lnTo>
                    <a:pt x="635" y="518"/>
                  </a:lnTo>
                  <a:lnTo>
                    <a:pt x="635" y="518"/>
                  </a:lnTo>
                  <a:close/>
                  <a:moveTo>
                    <a:pt x="541" y="672"/>
                  </a:moveTo>
                  <a:lnTo>
                    <a:pt x="541" y="672"/>
                  </a:lnTo>
                  <a:lnTo>
                    <a:pt x="541" y="672"/>
                  </a:lnTo>
                  <a:lnTo>
                    <a:pt x="541" y="672"/>
                  </a:lnTo>
                  <a:close/>
                  <a:moveTo>
                    <a:pt x="541" y="672"/>
                  </a:moveTo>
                  <a:lnTo>
                    <a:pt x="541" y="672"/>
                  </a:lnTo>
                  <a:lnTo>
                    <a:pt x="541" y="672"/>
                  </a:lnTo>
                  <a:lnTo>
                    <a:pt x="541" y="672"/>
                  </a:lnTo>
                  <a:close/>
                  <a:moveTo>
                    <a:pt x="541" y="672"/>
                  </a:moveTo>
                  <a:lnTo>
                    <a:pt x="541" y="672"/>
                  </a:lnTo>
                  <a:lnTo>
                    <a:pt x="541" y="672"/>
                  </a:lnTo>
                  <a:lnTo>
                    <a:pt x="541" y="672"/>
                  </a:lnTo>
                  <a:close/>
                  <a:moveTo>
                    <a:pt x="535" y="672"/>
                  </a:moveTo>
                  <a:lnTo>
                    <a:pt x="535" y="672"/>
                  </a:lnTo>
                  <a:lnTo>
                    <a:pt x="535" y="672"/>
                  </a:lnTo>
                  <a:lnTo>
                    <a:pt x="535" y="672"/>
                  </a:lnTo>
                  <a:close/>
                  <a:moveTo>
                    <a:pt x="523" y="381"/>
                  </a:moveTo>
                  <a:lnTo>
                    <a:pt x="518" y="377"/>
                  </a:lnTo>
                  <a:lnTo>
                    <a:pt x="514" y="373"/>
                  </a:lnTo>
                  <a:lnTo>
                    <a:pt x="514" y="373"/>
                  </a:lnTo>
                  <a:lnTo>
                    <a:pt x="514" y="373"/>
                  </a:lnTo>
                  <a:lnTo>
                    <a:pt x="512" y="370"/>
                  </a:lnTo>
                  <a:lnTo>
                    <a:pt x="512" y="373"/>
                  </a:lnTo>
                  <a:lnTo>
                    <a:pt x="514" y="375"/>
                  </a:lnTo>
                  <a:lnTo>
                    <a:pt x="514" y="375"/>
                  </a:lnTo>
                  <a:lnTo>
                    <a:pt x="516" y="377"/>
                  </a:lnTo>
                  <a:lnTo>
                    <a:pt x="521" y="381"/>
                  </a:lnTo>
                  <a:lnTo>
                    <a:pt x="523" y="381"/>
                  </a:lnTo>
                  <a:lnTo>
                    <a:pt x="523" y="381"/>
                  </a:lnTo>
                  <a:lnTo>
                    <a:pt x="523" y="381"/>
                  </a:lnTo>
                  <a:lnTo>
                    <a:pt x="523" y="381"/>
                  </a:lnTo>
                  <a:close/>
                  <a:moveTo>
                    <a:pt x="578" y="444"/>
                  </a:moveTo>
                  <a:lnTo>
                    <a:pt x="576" y="442"/>
                  </a:lnTo>
                  <a:lnTo>
                    <a:pt x="574" y="442"/>
                  </a:lnTo>
                  <a:lnTo>
                    <a:pt x="574" y="442"/>
                  </a:lnTo>
                  <a:lnTo>
                    <a:pt x="574" y="442"/>
                  </a:lnTo>
                  <a:lnTo>
                    <a:pt x="572" y="442"/>
                  </a:lnTo>
                  <a:lnTo>
                    <a:pt x="574" y="444"/>
                  </a:lnTo>
                  <a:lnTo>
                    <a:pt x="576" y="448"/>
                  </a:lnTo>
                  <a:lnTo>
                    <a:pt x="578" y="450"/>
                  </a:lnTo>
                  <a:lnTo>
                    <a:pt x="578" y="452"/>
                  </a:lnTo>
                  <a:lnTo>
                    <a:pt x="580" y="455"/>
                  </a:lnTo>
                  <a:lnTo>
                    <a:pt x="582" y="461"/>
                  </a:lnTo>
                  <a:lnTo>
                    <a:pt x="584" y="463"/>
                  </a:lnTo>
                  <a:lnTo>
                    <a:pt x="584" y="463"/>
                  </a:lnTo>
                  <a:lnTo>
                    <a:pt x="584" y="463"/>
                  </a:lnTo>
                  <a:lnTo>
                    <a:pt x="586" y="463"/>
                  </a:lnTo>
                  <a:lnTo>
                    <a:pt x="586" y="461"/>
                  </a:lnTo>
                  <a:lnTo>
                    <a:pt x="584" y="455"/>
                  </a:lnTo>
                  <a:lnTo>
                    <a:pt x="582" y="455"/>
                  </a:lnTo>
                  <a:lnTo>
                    <a:pt x="580" y="452"/>
                  </a:lnTo>
                  <a:lnTo>
                    <a:pt x="580" y="450"/>
                  </a:lnTo>
                  <a:lnTo>
                    <a:pt x="580" y="446"/>
                  </a:lnTo>
                  <a:lnTo>
                    <a:pt x="578" y="444"/>
                  </a:lnTo>
                  <a:close/>
                  <a:moveTo>
                    <a:pt x="611" y="670"/>
                  </a:moveTo>
                  <a:lnTo>
                    <a:pt x="611" y="670"/>
                  </a:lnTo>
                  <a:lnTo>
                    <a:pt x="611" y="670"/>
                  </a:lnTo>
                  <a:lnTo>
                    <a:pt x="611" y="670"/>
                  </a:lnTo>
                  <a:lnTo>
                    <a:pt x="611" y="670"/>
                  </a:lnTo>
                  <a:close/>
                  <a:moveTo>
                    <a:pt x="543" y="670"/>
                  </a:moveTo>
                  <a:lnTo>
                    <a:pt x="543" y="670"/>
                  </a:lnTo>
                  <a:lnTo>
                    <a:pt x="541" y="670"/>
                  </a:lnTo>
                  <a:lnTo>
                    <a:pt x="543" y="670"/>
                  </a:lnTo>
                  <a:lnTo>
                    <a:pt x="543" y="670"/>
                  </a:lnTo>
                  <a:lnTo>
                    <a:pt x="543" y="670"/>
                  </a:lnTo>
                  <a:lnTo>
                    <a:pt x="543" y="670"/>
                  </a:lnTo>
                  <a:lnTo>
                    <a:pt x="543" y="670"/>
                  </a:lnTo>
                  <a:lnTo>
                    <a:pt x="543" y="670"/>
                  </a:lnTo>
                  <a:close/>
                  <a:moveTo>
                    <a:pt x="611" y="668"/>
                  </a:moveTo>
                  <a:lnTo>
                    <a:pt x="611" y="668"/>
                  </a:lnTo>
                  <a:lnTo>
                    <a:pt x="611" y="668"/>
                  </a:lnTo>
                  <a:lnTo>
                    <a:pt x="611" y="668"/>
                  </a:lnTo>
                  <a:close/>
                  <a:moveTo>
                    <a:pt x="570" y="450"/>
                  </a:moveTo>
                  <a:lnTo>
                    <a:pt x="568" y="446"/>
                  </a:lnTo>
                  <a:lnTo>
                    <a:pt x="566" y="444"/>
                  </a:lnTo>
                  <a:lnTo>
                    <a:pt x="566" y="442"/>
                  </a:lnTo>
                  <a:lnTo>
                    <a:pt x="566" y="442"/>
                  </a:lnTo>
                  <a:lnTo>
                    <a:pt x="566" y="442"/>
                  </a:lnTo>
                  <a:lnTo>
                    <a:pt x="566" y="442"/>
                  </a:lnTo>
                  <a:lnTo>
                    <a:pt x="568" y="448"/>
                  </a:lnTo>
                  <a:lnTo>
                    <a:pt x="568" y="450"/>
                  </a:lnTo>
                  <a:lnTo>
                    <a:pt x="570" y="452"/>
                  </a:lnTo>
                  <a:lnTo>
                    <a:pt x="570" y="452"/>
                  </a:lnTo>
                  <a:lnTo>
                    <a:pt x="570" y="452"/>
                  </a:lnTo>
                  <a:lnTo>
                    <a:pt x="570" y="450"/>
                  </a:lnTo>
                  <a:close/>
                  <a:moveTo>
                    <a:pt x="670" y="645"/>
                  </a:moveTo>
                  <a:lnTo>
                    <a:pt x="668" y="645"/>
                  </a:lnTo>
                  <a:lnTo>
                    <a:pt x="668" y="645"/>
                  </a:lnTo>
                  <a:lnTo>
                    <a:pt x="668" y="645"/>
                  </a:lnTo>
                  <a:lnTo>
                    <a:pt x="668" y="645"/>
                  </a:lnTo>
                  <a:lnTo>
                    <a:pt x="668" y="645"/>
                  </a:lnTo>
                  <a:lnTo>
                    <a:pt x="668" y="645"/>
                  </a:lnTo>
                  <a:lnTo>
                    <a:pt x="668" y="645"/>
                  </a:lnTo>
                  <a:lnTo>
                    <a:pt x="668" y="645"/>
                  </a:lnTo>
                  <a:lnTo>
                    <a:pt x="668" y="645"/>
                  </a:lnTo>
                  <a:lnTo>
                    <a:pt x="668" y="645"/>
                  </a:lnTo>
                  <a:lnTo>
                    <a:pt x="668" y="647"/>
                  </a:lnTo>
                  <a:lnTo>
                    <a:pt x="668" y="647"/>
                  </a:lnTo>
                  <a:lnTo>
                    <a:pt x="668" y="647"/>
                  </a:lnTo>
                  <a:lnTo>
                    <a:pt x="668" y="647"/>
                  </a:lnTo>
                  <a:lnTo>
                    <a:pt x="668" y="647"/>
                  </a:lnTo>
                  <a:lnTo>
                    <a:pt x="668" y="647"/>
                  </a:lnTo>
                  <a:lnTo>
                    <a:pt x="668" y="647"/>
                  </a:lnTo>
                  <a:lnTo>
                    <a:pt x="668" y="649"/>
                  </a:lnTo>
                  <a:lnTo>
                    <a:pt x="668" y="649"/>
                  </a:lnTo>
                  <a:lnTo>
                    <a:pt x="668" y="649"/>
                  </a:lnTo>
                  <a:lnTo>
                    <a:pt x="670" y="649"/>
                  </a:lnTo>
                  <a:lnTo>
                    <a:pt x="672" y="649"/>
                  </a:lnTo>
                  <a:lnTo>
                    <a:pt x="672" y="649"/>
                  </a:lnTo>
                  <a:lnTo>
                    <a:pt x="672" y="651"/>
                  </a:lnTo>
                  <a:lnTo>
                    <a:pt x="672" y="651"/>
                  </a:lnTo>
                  <a:lnTo>
                    <a:pt x="670" y="649"/>
                  </a:lnTo>
                  <a:lnTo>
                    <a:pt x="670" y="649"/>
                  </a:lnTo>
                  <a:lnTo>
                    <a:pt x="670" y="649"/>
                  </a:lnTo>
                  <a:lnTo>
                    <a:pt x="666" y="649"/>
                  </a:lnTo>
                  <a:lnTo>
                    <a:pt x="666" y="649"/>
                  </a:lnTo>
                  <a:lnTo>
                    <a:pt x="666" y="649"/>
                  </a:lnTo>
                  <a:lnTo>
                    <a:pt x="666" y="649"/>
                  </a:lnTo>
                  <a:lnTo>
                    <a:pt x="666" y="649"/>
                  </a:lnTo>
                  <a:lnTo>
                    <a:pt x="668" y="651"/>
                  </a:lnTo>
                  <a:lnTo>
                    <a:pt x="670" y="651"/>
                  </a:lnTo>
                  <a:lnTo>
                    <a:pt x="668" y="651"/>
                  </a:lnTo>
                  <a:lnTo>
                    <a:pt x="668" y="653"/>
                  </a:lnTo>
                  <a:lnTo>
                    <a:pt x="668" y="653"/>
                  </a:lnTo>
                  <a:lnTo>
                    <a:pt x="668" y="653"/>
                  </a:lnTo>
                  <a:lnTo>
                    <a:pt x="666" y="655"/>
                  </a:lnTo>
                  <a:lnTo>
                    <a:pt x="664" y="653"/>
                  </a:lnTo>
                  <a:lnTo>
                    <a:pt x="664" y="653"/>
                  </a:lnTo>
                  <a:lnTo>
                    <a:pt x="664" y="653"/>
                  </a:lnTo>
                  <a:lnTo>
                    <a:pt x="664" y="655"/>
                  </a:lnTo>
                  <a:lnTo>
                    <a:pt x="662" y="657"/>
                  </a:lnTo>
                  <a:lnTo>
                    <a:pt x="662" y="657"/>
                  </a:lnTo>
                  <a:lnTo>
                    <a:pt x="662" y="657"/>
                  </a:lnTo>
                  <a:lnTo>
                    <a:pt x="662" y="657"/>
                  </a:lnTo>
                  <a:lnTo>
                    <a:pt x="668" y="653"/>
                  </a:lnTo>
                  <a:lnTo>
                    <a:pt x="672" y="653"/>
                  </a:lnTo>
                  <a:lnTo>
                    <a:pt x="674" y="649"/>
                  </a:lnTo>
                  <a:lnTo>
                    <a:pt x="674" y="649"/>
                  </a:lnTo>
                  <a:lnTo>
                    <a:pt x="670" y="645"/>
                  </a:lnTo>
                  <a:close/>
                  <a:moveTo>
                    <a:pt x="564" y="434"/>
                  </a:moveTo>
                  <a:lnTo>
                    <a:pt x="561" y="432"/>
                  </a:lnTo>
                  <a:lnTo>
                    <a:pt x="561" y="432"/>
                  </a:lnTo>
                  <a:lnTo>
                    <a:pt x="561" y="432"/>
                  </a:lnTo>
                  <a:lnTo>
                    <a:pt x="561" y="432"/>
                  </a:lnTo>
                  <a:lnTo>
                    <a:pt x="561" y="432"/>
                  </a:lnTo>
                  <a:lnTo>
                    <a:pt x="561" y="432"/>
                  </a:lnTo>
                  <a:lnTo>
                    <a:pt x="561" y="434"/>
                  </a:lnTo>
                  <a:lnTo>
                    <a:pt x="564" y="440"/>
                  </a:lnTo>
                  <a:lnTo>
                    <a:pt x="564" y="442"/>
                  </a:lnTo>
                  <a:lnTo>
                    <a:pt x="564" y="442"/>
                  </a:lnTo>
                  <a:lnTo>
                    <a:pt x="564" y="442"/>
                  </a:lnTo>
                  <a:lnTo>
                    <a:pt x="564" y="438"/>
                  </a:lnTo>
                  <a:lnTo>
                    <a:pt x="564" y="436"/>
                  </a:lnTo>
                  <a:lnTo>
                    <a:pt x="564" y="434"/>
                  </a:lnTo>
                  <a:close/>
                  <a:moveTo>
                    <a:pt x="701" y="571"/>
                  </a:moveTo>
                  <a:lnTo>
                    <a:pt x="701" y="571"/>
                  </a:lnTo>
                  <a:lnTo>
                    <a:pt x="701" y="571"/>
                  </a:lnTo>
                  <a:lnTo>
                    <a:pt x="703" y="569"/>
                  </a:lnTo>
                  <a:lnTo>
                    <a:pt x="703" y="569"/>
                  </a:lnTo>
                  <a:lnTo>
                    <a:pt x="703" y="569"/>
                  </a:lnTo>
                  <a:lnTo>
                    <a:pt x="701" y="569"/>
                  </a:lnTo>
                  <a:lnTo>
                    <a:pt x="701" y="569"/>
                  </a:lnTo>
                  <a:lnTo>
                    <a:pt x="699" y="569"/>
                  </a:lnTo>
                  <a:lnTo>
                    <a:pt x="699" y="569"/>
                  </a:lnTo>
                  <a:lnTo>
                    <a:pt x="699" y="569"/>
                  </a:lnTo>
                  <a:lnTo>
                    <a:pt x="699" y="569"/>
                  </a:lnTo>
                  <a:lnTo>
                    <a:pt x="699" y="569"/>
                  </a:lnTo>
                  <a:lnTo>
                    <a:pt x="701" y="571"/>
                  </a:lnTo>
                  <a:close/>
                  <a:moveTo>
                    <a:pt x="713" y="575"/>
                  </a:moveTo>
                  <a:lnTo>
                    <a:pt x="715" y="575"/>
                  </a:lnTo>
                  <a:lnTo>
                    <a:pt x="715" y="575"/>
                  </a:lnTo>
                  <a:lnTo>
                    <a:pt x="715" y="575"/>
                  </a:lnTo>
                  <a:lnTo>
                    <a:pt x="713" y="575"/>
                  </a:lnTo>
                  <a:lnTo>
                    <a:pt x="713" y="575"/>
                  </a:lnTo>
                  <a:lnTo>
                    <a:pt x="713" y="575"/>
                  </a:lnTo>
                  <a:lnTo>
                    <a:pt x="713" y="575"/>
                  </a:lnTo>
                  <a:lnTo>
                    <a:pt x="713" y="575"/>
                  </a:lnTo>
                  <a:lnTo>
                    <a:pt x="713" y="575"/>
                  </a:lnTo>
                  <a:close/>
                  <a:moveTo>
                    <a:pt x="715" y="580"/>
                  </a:moveTo>
                  <a:lnTo>
                    <a:pt x="717" y="580"/>
                  </a:lnTo>
                  <a:lnTo>
                    <a:pt x="717" y="580"/>
                  </a:lnTo>
                  <a:lnTo>
                    <a:pt x="717" y="577"/>
                  </a:lnTo>
                  <a:lnTo>
                    <a:pt x="717" y="577"/>
                  </a:lnTo>
                  <a:lnTo>
                    <a:pt x="717" y="577"/>
                  </a:lnTo>
                  <a:lnTo>
                    <a:pt x="717" y="577"/>
                  </a:lnTo>
                  <a:lnTo>
                    <a:pt x="717" y="577"/>
                  </a:lnTo>
                  <a:lnTo>
                    <a:pt x="717" y="577"/>
                  </a:lnTo>
                  <a:lnTo>
                    <a:pt x="717" y="577"/>
                  </a:lnTo>
                  <a:lnTo>
                    <a:pt x="717" y="577"/>
                  </a:lnTo>
                  <a:lnTo>
                    <a:pt x="717" y="577"/>
                  </a:lnTo>
                  <a:lnTo>
                    <a:pt x="715" y="580"/>
                  </a:lnTo>
                  <a:close/>
                  <a:moveTo>
                    <a:pt x="705" y="571"/>
                  </a:moveTo>
                  <a:lnTo>
                    <a:pt x="707" y="569"/>
                  </a:lnTo>
                  <a:lnTo>
                    <a:pt x="707" y="569"/>
                  </a:lnTo>
                  <a:lnTo>
                    <a:pt x="705" y="569"/>
                  </a:lnTo>
                  <a:lnTo>
                    <a:pt x="705" y="569"/>
                  </a:lnTo>
                  <a:lnTo>
                    <a:pt x="703" y="569"/>
                  </a:lnTo>
                  <a:lnTo>
                    <a:pt x="705" y="571"/>
                  </a:lnTo>
                  <a:lnTo>
                    <a:pt x="705" y="571"/>
                  </a:lnTo>
                  <a:lnTo>
                    <a:pt x="705" y="571"/>
                  </a:lnTo>
                  <a:close/>
                  <a:moveTo>
                    <a:pt x="703" y="571"/>
                  </a:moveTo>
                  <a:lnTo>
                    <a:pt x="703" y="573"/>
                  </a:lnTo>
                  <a:lnTo>
                    <a:pt x="705" y="575"/>
                  </a:lnTo>
                  <a:lnTo>
                    <a:pt x="705" y="575"/>
                  </a:lnTo>
                  <a:lnTo>
                    <a:pt x="707" y="573"/>
                  </a:lnTo>
                  <a:lnTo>
                    <a:pt x="707" y="573"/>
                  </a:lnTo>
                  <a:lnTo>
                    <a:pt x="707" y="571"/>
                  </a:lnTo>
                  <a:lnTo>
                    <a:pt x="707" y="571"/>
                  </a:lnTo>
                  <a:lnTo>
                    <a:pt x="707" y="571"/>
                  </a:lnTo>
                  <a:lnTo>
                    <a:pt x="705" y="571"/>
                  </a:lnTo>
                  <a:lnTo>
                    <a:pt x="703" y="571"/>
                  </a:lnTo>
                  <a:lnTo>
                    <a:pt x="703" y="571"/>
                  </a:lnTo>
                  <a:close/>
                  <a:moveTo>
                    <a:pt x="703" y="567"/>
                  </a:moveTo>
                  <a:lnTo>
                    <a:pt x="703" y="567"/>
                  </a:lnTo>
                  <a:lnTo>
                    <a:pt x="701" y="567"/>
                  </a:lnTo>
                  <a:lnTo>
                    <a:pt x="699" y="567"/>
                  </a:lnTo>
                  <a:lnTo>
                    <a:pt x="699" y="567"/>
                  </a:lnTo>
                  <a:lnTo>
                    <a:pt x="699" y="567"/>
                  </a:lnTo>
                  <a:lnTo>
                    <a:pt x="699" y="567"/>
                  </a:lnTo>
                  <a:lnTo>
                    <a:pt x="703" y="567"/>
                  </a:lnTo>
                  <a:close/>
                  <a:moveTo>
                    <a:pt x="516" y="358"/>
                  </a:moveTo>
                  <a:lnTo>
                    <a:pt x="516" y="358"/>
                  </a:lnTo>
                  <a:lnTo>
                    <a:pt x="516" y="358"/>
                  </a:lnTo>
                  <a:lnTo>
                    <a:pt x="516" y="358"/>
                  </a:lnTo>
                  <a:lnTo>
                    <a:pt x="516" y="358"/>
                  </a:lnTo>
                  <a:lnTo>
                    <a:pt x="516" y="358"/>
                  </a:lnTo>
                  <a:lnTo>
                    <a:pt x="516" y="358"/>
                  </a:lnTo>
                  <a:lnTo>
                    <a:pt x="518" y="358"/>
                  </a:lnTo>
                  <a:lnTo>
                    <a:pt x="518" y="358"/>
                  </a:lnTo>
                  <a:lnTo>
                    <a:pt x="518" y="358"/>
                  </a:lnTo>
                  <a:lnTo>
                    <a:pt x="518" y="358"/>
                  </a:lnTo>
                  <a:lnTo>
                    <a:pt x="518" y="358"/>
                  </a:lnTo>
                  <a:lnTo>
                    <a:pt x="518" y="358"/>
                  </a:lnTo>
                  <a:lnTo>
                    <a:pt x="518" y="358"/>
                  </a:lnTo>
                  <a:lnTo>
                    <a:pt x="518" y="358"/>
                  </a:lnTo>
                  <a:lnTo>
                    <a:pt x="516" y="358"/>
                  </a:lnTo>
                  <a:close/>
                  <a:moveTo>
                    <a:pt x="717" y="575"/>
                  </a:moveTo>
                  <a:lnTo>
                    <a:pt x="719" y="575"/>
                  </a:lnTo>
                  <a:lnTo>
                    <a:pt x="719" y="577"/>
                  </a:lnTo>
                  <a:lnTo>
                    <a:pt x="719" y="577"/>
                  </a:lnTo>
                  <a:lnTo>
                    <a:pt x="719" y="575"/>
                  </a:lnTo>
                  <a:lnTo>
                    <a:pt x="719" y="575"/>
                  </a:lnTo>
                  <a:lnTo>
                    <a:pt x="719" y="573"/>
                  </a:lnTo>
                  <a:lnTo>
                    <a:pt x="717" y="573"/>
                  </a:lnTo>
                  <a:lnTo>
                    <a:pt x="717" y="573"/>
                  </a:lnTo>
                  <a:lnTo>
                    <a:pt x="717" y="575"/>
                  </a:lnTo>
                  <a:lnTo>
                    <a:pt x="717" y="575"/>
                  </a:lnTo>
                  <a:lnTo>
                    <a:pt x="717" y="575"/>
                  </a:lnTo>
                  <a:close/>
                  <a:moveTo>
                    <a:pt x="674" y="645"/>
                  </a:moveTo>
                  <a:lnTo>
                    <a:pt x="674" y="643"/>
                  </a:lnTo>
                  <a:lnTo>
                    <a:pt x="674" y="643"/>
                  </a:lnTo>
                  <a:lnTo>
                    <a:pt x="674" y="643"/>
                  </a:lnTo>
                  <a:lnTo>
                    <a:pt x="672" y="643"/>
                  </a:lnTo>
                  <a:lnTo>
                    <a:pt x="672" y="643"/>
                  </a:lnTo>
                  <a:lnTo>
                    <a:pt x="672" y="643"/>
                  </a:lnTo>
                  <a:lnTo>
                    <a:pt x="672" y="645"/>
                  </a:lnTo>
                  <a:lnTo>
                    <a:pt x="672" y="645"/>
                  </a:lnTo>
                  <a:lnTo>
                    <a:pt x="672" y="647"/>
                  </a:lnTo>
                  <a:lnTo>
                    <a:pt x="672" y="647"/>
                  </a:lnTo>
                  <a:lnTo>
                    <a:pt x="672" y="647"/>
                  </a:lnTo>
                  <a:lnTo>
                    <a:pt x="674" y="647"/>
                  </a:lnTo>
                  <a:lnTo>
                    <a:pt x="674" y="647"/>
                  </a:lnTo>
                  <a:lnTo>
                    <a:pt x="674" y="647"/>
                  </a:lnTo>
                  <a:lnTo>
                    <a:pt x="674" y="647"/>
                  </a:lnTo>
                  <a:lnTo>
                    <a:pt x="676" y="647"/>
                  </a:lnTo>
                  <a:lnTo>
                    <a:pt x="676" y="647"/>
                  </a:lnTo>
                  <a:lnTo>
                    <a:pt x="676" y="647"/>
                  </a:lnTo>
                  <a:lnTo>
                    <a:pt x="676" y="645"/>
                  </a:lnTo>
                  <a:lnTo>
                    <a:pt x="674" y="645"/>
                  </a:lnTo>
                  <a:close/>
                  <a:moveTo>
                    <a:pt x="496" y="254"/>
                  </a:moveTo>
                  <a:lnTo>
                    <a:pt x="496" y="254"/>
                  </a:lnTo>
                  <a:lnTo>
                    <a:pt x="496" y="254"/>
                  </a:lnTo>
                  <a:lnTo>
                    <a:pt x="496" y="254"/>
                  </a:lnTo>
                  <a:lnTo>
                    <a:pt x="496" y="252"/>
                  </a:lnTo>
                  <a:lnTo>
                    <a:pt x="496" y="252"/>
                  </a:lnTo>
                  <a:lnTo>
                    <a:pt x="496" y="252"/>
                  </a:lnTo>
                  <a:lnTo>
                    <a:pt x="496" y="252"/>
                  </a:lnTo>
                  <a:lnTo>
                    <a:pt x="496" y="254"/>
                  </a:lnTo>
                  <a:close/>
                  <a:moveTo>
                    <a:pt x="758" y="575"/>
                  </a:moveTo>
                  <a:lnTo>
                    <a:pt x="758" y="575"/>
                  </a:lnTo>
                  <a:lnTo>
                    <a:pt x="758" y="575"/>
                  </a:lnTo>
                  <a:lnTo>
                    <a:pt x="756" y="575"/>
                  </a:lnTo>
                  <a:lnTo>
                    <a:pt x="756" y="575"/>
                  </a:lnTo>
                  <a:lnTo>
                    <a:pt x="756" y="575"/>
                  </a:lnTo>
                  <a:lnTo>
                    <a:pt x="758" y="575"/>
                  </a:lnTo>
                  <a:lnTo>
                    <a:pt x="758" y="575"/>
                  </a:lnTo>
                  <a:close/>
                  <a:moveTo>
                    <a:pt x="746" y="586"/>
                  </a:moveTo>
                  <a:lnTo>
                    <a:pt x="746" y="584"/>
                  </a:lnTo>
                  <a:lnTo>
                    <a:pt x="744" y="584"/>
                  </a:lnTo>
                  <a:lnTo>
                    <a:pt x="744" y="586"/>
                  </a:lnTo>
                  <a:lnTo>
                    <a:pt x="746" y="586"/>
                  </a:lnTo>
                  <a:lnTo>
                    <a:pt x="746" y="586"/>
                  </a:lnTo>
                  <a:close/>
                  <a:moveTo>
                    <a:pt x="748" y="608"/>
                  </a:moveTo>
                  <a:lnTo>
                    <a:pt x="748" y="608"/>
                  </a:lnTo>
                  <a:lnTo>
                    <a:pt x="748" y="608"/>
                  </a:lnTo>
                  <a:lnTo>
                    <a:pt x="748" y="608"/>
                  </a:lnTo>
                  <a:close/>
                  <a:moveTo>
                    <a:pt x="748" y="586"/>
                  </a:moveTo>
                  <a:lnTo>
                    <a:pt x="748" y="586"/>
                  </a:lnTo>
                  <a:lnTo>
                    <a:pt x="748" y="586"/>
                  </a:lnTo>
                  <a:lnTo>
                    <a:pt x="748" y="586"/>
                  </a:lnTo>
                  <a:lnTo>
                    <a:pt x="748" y="586"/>
                  </a:lnTo>
                  <a:lnTo>
                    <a:pt x="748" y="586"/>
                  </a:lnTo>
                  <a:lnTo>
                    <a:pt x="748" y="588"/>
                  </a:lnTo>
                  <a:lnTo>
                    <a:pt x="748" y="588"/>
                  </a:lnTo>
                  <a:lnTo>
                    <a:pt x="748" y="586"/>
                  </a:lnTo>
                  <a:lnTo>
                    <a:pt x="748" y="586"/>
                  </a:lnTo>
                  <a:lnTo>
                    <a:pt x="748" y="586"/>
                  </a:lnTo>
                  <a:close/>
                  <a:moveTo>
                    <a:pt x="742" y="584"/>
                  </a:moveTo>
                  <a:lnTo>
                    <a:pt x="742" y="584"/>
                  </a:lnTo>
                  <a:lnTo>
                    <a:pt x="742" y="584"/>
                  </a:lnTo>
                  <a:lnTo>
                    <a:pt x="742" y="584"/>
                  </a:lnTo>
                  <a:close/>
                  <a:moveTo>
                    <a:pt x="746" y="612"/>
                  </a:moveTo>
                  <a:lnTo>
                    <a:pt x="746" y="612"/>
                  </a:lnTo>
                  <a:lnTo>
                    <a:pt x="744" y="614"/>
                  </a:lnTo>
                  <a:lnTo>
                    <a:pt x="744" y="614"/>
                  </a:lnTo>
                  <a:lnTo>
                    <a:pt x="746" y="614"/>
                  </a:lnTo>
                  <a:lnTo>
                    <a:pt x="746" y="612"/>
                  </a:lnTo>
                  <a:lnTo>
                    <a:pt x="748" y="612"/>
                  </a:lnTo>
                  <a:lnTo>
                    <a:pt x="748" y="610"/>
                  </a:lnTo>
                  <a:lnTo>
                    <a:pt x="748" y="610"/>
                  </a:lnTo>
                  <a:lnTo>
                    <a:pt x="746" y="612"/>
                  </a:lnTo>
                  <a:close/>
                  <a:moveTo>
                    <a:pt x="754" y="602"/>
                  </a:moveTo>
                  <a:lnTo>
                    <a:pt x="754" y="604"/>
                  </a:lnTo>
                  <a:lnTo>
                    <a:pt x="752" y="608"/>
                  </a:lnTo>
                  <a:lnTo>
                    <a:pt x="752" y="606"/>
                  </a:lnTo>
                  <a:lnTo>
                    <a:pt x="754" y="604"/>
                  </a:lnTo>
                  <a:lnTo>
                    <a:pt x="754" y="604"/>
                  </a:lnTo>
                  <a:lnTo>
                    <a:pt x="754" y="602"/>
                  </a:lnTo>
                  <a:lnTo>
                    <a:pt x="754" y="602"/>
                  </a:lnTo>
                  <a:close/>
                  <a:moveTo>
                    <a:pt x="750" y="586"/>
                  </a:moveTo>
                  <a:lnTo>
                    <a:pt x="750" y="586"/>
                  </a:lnTo>
                  <a:lnTo>
                    <a:pt x="750" y="584"/>
                  </a:lnTo>
                  <a:lnTo>
                    <a:pt x="748" y="582"/>
                  </a:lnTo>
                  <a:lnTo>
                    <a:pt x="748" y="582"/>
                  </a:lnTo>
                  <a:lnTo>
                    <a:pt x="748" y="584"/>
                  </a:lnTo>
                  <a:lnTo>
                    <a:pt x="748" y="584"/>
                  </a:lnTo>
                  <a:lnTo>
                    <a:pt x="750" y="586"/>
                  </a:lnTo>
                  <a:close/>
                  <a:moveTo>
                    <a:pt x="781" y="553"/>
                  </a:moveTo>
                  <a:lnTo>
                    <a:pt x="779" y="555"/>
                  </a:lnTo>
                  <a:lnTo>
                    <a:pt x="777" y="559"/>
                  </a:lnTo>
                  <a:lnTo>
                    <a:pt x="774" y="559"/>
                  </a:lnTo>
                  <a:lnTo>
                    <a:pt x="772" y="561"/>
                  </a:lnTo>
                  <a:lnTo>
                    <a:pt x="772" y="561"/>
                  </a:lnTo>
                  <a:lnTo>
                    <a:pt x="772" y="563"/>
                  </a:lnTo>
                  <a:lnTo>
                    <a:pt x="772" y="563"/>
                  </a:lnTo>
                  <a:lnTo>
                    <a:pt x="774" y="563"/>
                  </a:lnTo>
                  <a:lnTo>
                    <a:pt x="774" y="565"/>
                  </a:lnTo>
                  <a:lnTo>
                    <a:pt x="774" y="567"/>
                  </a:lnTo>
                  <a:lnTo>
                    <a:pt x="770" y="571"/>
                  </a:lnTo>
                  <a:lnTo>
                    <a:pt x="770" y="577"/>
                  </a:lnTo>
                  <a:lnTo>
                    <a:pt x="766" y="577"/>
                  </a:lnTo>
                  <a:lnTo>
                    <a:pt x="766" y="580"/>
                  </a:lnTo>
                  <a:lnTo>
                    <a:pt x="766" y="580"/>
                  </a:lnTo>
                  <a:lnTo>
                    <a:pt x="766" y="580"/>
                  </a:lnTo>
                  <a:lnTo>
                    <a:pt x="766" y="577"/>
                  </a:lnTo>
                  <a:lnTo>
                    <a:pt x="766" y="577"/>
                  </a:lnTo>
                  <a:lnTo>
                    <a:pt x="768" y="580"/>
                  </a:lnTo>
                  <a:lnTo>
                    <a:pt x="768" y="580"/>
                  </a:lnTo>
                  <a:lnTo>
                    <a:pt x="768" y="582"/>
                  </a:lnTo>
                  <a:lnTo>
                    <a:pt x="768" y="580"/>
                  </a:lnTo>
                  <a:lnTo>
                    <a:pt x="768" y="580"/>
                  </a:lnTo>
                  <a:lnTo>
                    <a:pt x="768" y="580"/>
                  </a:lnTo>
                  <a:lnTo>
                    <a:pt x="768" y="580"/>
                  </a:lnTo>
                  <a:lnTo>
                    <a:pt x="768" y="582"/>
                  </a:lnTo>
                  <a:lnTo>
                    <a:pt x="768" y="582"/>
                  </a:lnTo>
                  <a:lnTo>
                    <a:pt x="768" y="584"/>
                  </a:lnTo>
                  <a:lnTo>
                    <a:pt x="766" y="584"/>
                  </a:lnTo>
                  <a:lnTo>
                    <a:pt x="764" y="584"/>
                  </a:lnTo>
                  <a:lnTo>
                    <a:pt x="764" y="586"/>
                  </a:lnTo>
                  <a:lnTo>
                    <a:pt x="764" y="588"/>
                  </a:lnTo>
                  <a:lnTo>
                    <a:pt x="762" y="590"/>
                  </a:lnTo>
                  <a:lnTo>
                    <a:pt x="762" y="592"/>
                  </a:lnTo>
                  <a:lnTo>
                    <a:pt x="760" y="594"/>
                  </a:lnTo>
                  <a:lnTo>
                    <a:pt x="760" y="594"/>
                  </a:lnTo>
                  <a:lnTo>
                    <a:pt x="760" y="594"/>
                  </a:lnTo>
                  <a:lnTo>
                    <a:pt x="758" y="598"/>
                  </a:lnTo>
                  <a:lnTo>
                    <a:pt x="758" y="598"/>
                  </a:lnTo>
                  <a:lnTo>
                    <a:pt x="756" y="600"/>
                  </a:lnTo>
                  <a:lnTo>
                    <a:pt x="756" y="600"/>
                  </a:lnTo>
                  <a:lnTo>
                    <a:pt x="756" y="602"/>
                  </a:lnTo>
                  <a:lnTo>
                    <a:pt x="756" y="602"/>
                  </a:lnTo>
                  <a:lnTo>
                    <a:pt x="756" y="602"/>
                  </a:lnTo>
                  <a:lnTo>
                    <a:pt x="758" y="600"/>
                  </a:lnTo>
                  <a:lnTo>
                    <a:pt x="760" y="598"/>
                  </a:lnTo>
                  <a:lnTo>
                    <a:pt x="762" y="594"/>
                  </a:lnTo>
                  <a:lnTo>
                    <a:pt x="764" y="590"/>
                  </a:lnTo>
                  <a:lnTo>
                    <a:pt x="766" y="588"/>
                  </a:lnTo>
                  <a:lnTo>
                    <a:pt x="766" y="586"/>
                  </a:lnTo>
                  <a:lnTo>
                    <a:pt x="766" y="586"/>
                  </a:lnTo>
                  <a:lnTo>
                    <a:pt x="768" y="586"/>
                  </a:lnTo>
                  <a:lnTo>
                    <a:pt x="768" y="584"/>
                  </a:lnTo>
                  <a:lnTo>
                    <a:pt x="774" y="575"/>
                  </a:lnTo>
                  <a:lnTo>
                    <a:pt x="774" y="575"/>
                  </a:lnTo>
                  <a:lnTo>
                    <a:pt x="774" y="573"/>
                  </a:lnTo>
                  <a:lnTo>
                    <a:pt x="774" y="569"/>
                  </a:lnTo>
                  <a:lnTo>
                    <a:pt x="777" y="565"/>
                  </a:lnTo>
                  <a:lnTo>
                    <a:pt x="781" y="561"/>
                  </a:lnTo>
                  <a:lnTo>
                    <a:pt x="781" y="559"/>
                  </a:lnTo>
                  <a:lnTo>
                    <a:pt x="781" y="559"/>
                  </a:lnTo>
                  <a:lnTo>
                    <a:pt x="781" y="557"/>
                  </a:lnTo>
                  <a:lnTo>
                    <a:pt x="781" y="557"/>
                  </a:lnTo>
                  <a:lnTo>
                    <a:pt x="781" y="555"/>
                  </a:lnTo>
                  <a:lnTo>
                    <a:pt x="781" y="555"/>
                  </a:lnTo>
                  <a:lnTo>
                    <a:pt x="783" y="555"/>
                  </a:lnTo>
                  <a:lnTo>
                    <a:pt x="783" y="555"/>
                  </a:lnTo>
                  <a:lnTo>
                    <a:pt x="783" y="553"/>
                  </a:lnTo>
                  <a:lnTo>
                    <a:pt x="781" y="553"/>
                  </a:lnTo>
                  <a:lnTo>
                    <a:pt x="781" y="553"/>
                  </a:lnTo>
                  <a:close/>
                  <a:moveTo>
                    <a:pt x="754" y="577"/>
                  </a:moveTo>
                  <a:lnTo>
                    <a:pt x="752" y="577"/>
                  </a:lnTo>
                  <a:lnTo>
                    <a:pt x="752" y="577"/>
                  </a:lnTo>
                  <a:lnTo>
                    <a:pt x="752" y="577"/>
                  </a:lnTo>
                  <a:lnTo>
                    <a:pt x="752" y="580"/>
                  </a:lnTo>
                  <a:lnTo>
                    <a:pt x="752" y="580"/>
                  </a:lnTo>
                  <a:lnTo>
                    <a:pt x="754" y="577"/>
                  </a:lnTo>
                  <a:close/>
                  <a:moveTo>
                    <a:pt x="748" y="588"/>
                  </a:moveTo>
                  <a:lnTo>
                    <a:pt x="750" y="590"/>
                  </a:lnTo>
                  <a:lnTo>
                    <a:pt x="750" y="588"/>
                  </a:lnTo>
                  <a:lnTo>
                    <a:pt x="750" y="588"/>
                  </a:lnTo>
                  <a:lnTo>
                    <a:pt x="748" y="588"/>
                  </a:lnTo>
                  <a:close/>
                  <a:moveTo>
                    <a:pt x="742" y="598"/>
                  </a:moveTo>
                  <a:lnTo>
                    <a:pt x="744" y="598"/>
                  </a:lnTo>
                  <a:lnTo>
                    <a:pt x="742" y="598"/>
                  </a:lnTo>
                  <a:lnTo>
                    <a:pt x="742" y="598"/>
                  </a:lnTo>
                  <a:close/>
                  <a:moveTo>
                    <a:pt x="746" y="586"/>
                  </a:moveTo>
                  <a:lnTo>
                    <a:pt x="746" y="586"/>
                  </a:lnTo>
                  <a:lnTo>
                    <a:pt x="748" y="588"/>
                  </a:lnTo>
                  <a:lnTo>
                    <a:pt x="746" y="586"/>
                  </a:lnTo>
                  <a:close/>
                  <a:moveTo>
                    <a:pt x="697" y="641"/>
                  </a:moveTo>
                  <a:lnTo>
                    <a:pt x="695" y="643"/>
                  </a:lnTo>
                  <a:lnTo>
                    <a:pt x="697" y="643"/>
                  </a:lnTo>
                  <a:lnTo>
                    <a:pt x="697" y="643"/>
                  </a:lnTo>
                  <a:lnTo>
                    <a:pt x="697" y="643"/>
                  </a:lnTo>
                  <a:lnTo>
                    <a:pt x="697" y="641"/>
                  </a:lnTo>
                  <a:lnTo>
                    <a:pt x="697" y="641"/>
                  </a:lnTo>
                  <a:close/>
                  <a:moveTo>
                    <a:pt x="684" y="639"/>
                  </a:moveTo>
                  <a:lnTo>
                    <a:pt x="680" y="637"/>
                  </a:lnTo>
                  <a:lnTo>
                    <a:pt x="680" y="637"/>
                  </a:lnTo>
                  <a:lnTo>
                    <a:pt x="680" y="637"/>
                  </a:lnTo>
                  <a:lnTo>
                    <a:pt x="680" y="637"/>
                  </a:lnTo>
                  <a:lnTo>
                    <a:pt x="680" y="637"/>
                  </a:lnTo>
                  <a:lnTo>
                    <a:pt x="678" y="637"/>
                  </a:lnTo>
                  <a:lnTo>
                    <a:pt x="680" y="637"/>
                  </a:lnTo>
                  <a:lnTo>
                    <a:pt x="680" y="637"/>
                  </a:lnTo>
                  <a:lnTo>
                    <a:pt x="678" y="637"/>
                  </a:lnTo>
                  <a:lnTo>
                    <a:pt x="686" y="645"/>
                  </a:lnTo>
                  <a:lnTo>
                    <a:pt x="688" y="647"/>
                  </a:lnTo>
                  <a:lnTo>
                    <a:pt x="688" y="647"/>
                  </a:lnTo>
                  <a:lnTo>
                    <a:pt x="688" y="647"/>
                  </a:lnTo>
                  <a:lnTo>
                    <a:pt x="690" y="645"/>
                  </a:lnTo>
                  <a:lnTo>
                    <a:pt x="688" y="641"/>
                  </a:lnTo>
                  <a:lnTo>
                    <a:pt x="684" y="639"/>
                  </a:lnTo>
                  <a:close/>
                  <a:moveTo>
                    <a:pt x="678" y="643"/>
                  </a:moveTo>
                  <a:lnTo>
                    <a:pt x="678" y="645"/>
                  </a:lnTo>
                  <a:lnTo>
                    <a:pt x="678" y="645"/>
                  </a:lnTo>
                  <a:lnTo>
                    <a:pt x="678" y="645"/>
                  </a:lnTo>
                  <a:lnTo>
                    <a:pt x="678" y="645"/>
                  </a:lnTo>
                  <a:lnTo>
                    <a:pt x="678" y="645"/>
                  </a:lnTo>
                  <a:lnTo>
                    <a:pt x="678" y="645"/>
                  </a:lnTo>
                  <a:lnTo>
                    <a:pt x="678" y="647"/>
                  </a:lnTo>
                  <a:lnTo>
                    <a:pt x="678" y="647"/>
                  </a:lnTo>
                  <a:lnTo>
                    <a:pt x="680" y="647"/>
                  </a:lnTo>
                  <a:lnTo>
                    <a:pt x="680" y="645"/>
                  </a:lnTo>
                  <a:lnTo>
                    <a:pt x="678" y="645"/>
                  </a:lnTo>
                  <a:lnTo>
                    <a:pt x="678" y="643"/>
                  </a:lnTo>
                  <a:close/>
                  <a:moveTo>
                    <a:pt x="680" y="647"/>
                  </a:moveTo>
                  <a:lnTo>
                    <a:pt x="682" y="647"/>
                  </a:lnTo>
                  <a:lnTo>
                    <a:pt x="682" y="647"/>
                  </a:lnTo>
                  <a:lnTo>
                    <a:pt x="682" y="645"/>
                  </a:lnTo>
                  <a:lnTo>
                    <a:pt x="682" y="645"/>
                  </a:lnTo>
                  <a:lnTo>
                    <a:pt x="680" y="647"/>
                  </a:lnTo>
                  <a:close/>
                  <a:moveTo>
                    <a:pt x="690" y="639"/>
                  </a:moveTo>
                  <a:lnTo>
                    <a:pt x="688" y="639"/>
                  </a:lnTo>
                  <a:lnTo>
                    <a:pt x="688" y="641"/>
                  </a:lnTo>
                  <a:lnTo>
                    <a:pt x="688" y="641"/>
                  </a:lnTo>
                  <a:lnTo>
                    <a:pt x="688" y="641"/>
                  </a:lnTo>
                  <a:lnTo>
                    <a:pt x="690" y="641"/>
                  </a:lnTo>
                  <a:lnTo>
                    <a:pt x="690" y="643"/>
                  </a:lnTo>
                  <a:lnTo>
                    <a:pt x="690" y="641"/>
                  </a:lnTo>
                  <a:lnTo>
                    <a:pt x="690" y="641"/>
                  </a:lnTo>
                  <a:lnTo>
                    <a:pt x="690" y="639"/>
                  </a:lnTo>
                  <a:close/>
                  <a:moveTo>
                    <a:pt x="738" y="606"/>
                  </a:moveTo>
                  <a:lnTo>
                    <a:pt x="738" y="606"/>
                  </a:lnTo>
                  <a:lnTo>
                    <a:pt x="738" y="606"/>
                  </a:lnTo>
                  <a:lnTo>
                    <a:pt x="738" y="606"/>
                  </a:lnTo>
                  <a:close/>
                  <a:moveTo>
                    <a:pt x="740" y="616"/>
                  </a:moveTo>
                  <a:lnTo>
                    <a:pt x="740" y="616"/>
                  </a:lnTo>
                  <a:lnTo>
                    <a:pt x="740" y="616"/>
                  </a:lnTo>
                  <a:lnTo>
                    <a:pt x="740" y="618"/>
                  </a:lnTo>
                  <a:lnTo>
                    <a:pt x="740" y="618"/>
                  </a:lnTo>
                  <a:lnTo>
                    <a:pt x="740" y="618"/>
                  </a:lnTo>
                  <a:lnTo>
                    <a:pt x="738" y="616"/>
                  </a:lnTo>
                  <a:lnTo>
                    <a:pt x="738" y="616"/>
                  </a:lnTo>
                  <a:lnTo>
                    <a:pt x="738" y="616"/>
                  </a:lnTo>
                  <a:lnTo>
                    <a:pt x="738" y="616"/>
                  </a:lnTo>
                  <a:lnTo>
                    <a:pt x="736" y="620"/>
                  </a:lnTo>
                  <a:lnTo>
                    <a:pt x="734" y="620"/>
                  </a:lnTo>
                  <a:lnTo>
                    <a:pt x="734" y="620"/>
                  </a:lnTo>
                  <a:lnTo>
                    <a:pt x="734" y="620"/>
                  </a:lnTo>
                  <a:lnTo>
                    <a:pt x="738" y="620"/>
                  </a:lnTo>
                  <a:lnTo>
                    <a:pt x="740" y="620"/>
                  </a:lnTo>
                  <a:lnTo>
                    <a:pt x="740" y="618"/>
                  </a:lnTo>
                  <a:lnTo>
                    <a:pt x="740" y="618"/>
                  </a:lnTo>
                  <a:lnTo>
                    <a:pt x="740" y="618"/>
                  </a:lnTo>
                  <a:lnTo>
                    <a:pt x="740" y="616"/>
                  </a:lnTo>
                  <a:lnTo>
                    <a:pt x="740" y="616"/>
                  </a:lnTo>
                  <a:close/>
                  <a:moveTo>
                    <a:pt x="729" y="598"/>
                  </a:moveTo>
                  <a:lnTo>
                    <a:pt x="729" y="598"/>
                  </a:lnTo>
                  <a:lnTo>
                    <a:pt x="729" y="598"/>
                  </a:lnTo>
                  <a:lnTo>
                    <a:pt x="729" y="598"/>
                  </a:lnTo>
                  <a:close/>
                  <a:moveTo>
                    <a:pt x="717" y="631"/>
                  </a:moveTo>
                  <a:lnTo>
                    <a:pt x="717" y="631"/>
                  </a:lnTo>
                  <a:lnTo>
                    <a:pt x="715" y="633"/>
                  </a:lnTo>
                  <a:lnTo>
                    <a:pt x="711" y="635"/>
                  </a:lnTo>
                  <a:lnTo>
                    <a:pt x="709" y="637"/>
                  </a:lnTo>
                  <a:lnTo>
                    <a:pt x="709" y="637"/>
                  </a:lnTo>
                  <a:lnTo>
                    <a:pt x="709" y="637"/>
                  </a:lnTo>
                  <a:lnTo>
                    <a:pt x="711" y="635"/>
                  </a:lnTo>
                  <a:lnTo>
                    <a:pt x="713" y="635"/>
                  </a:lnTo>
                  <a:lnTo>
                    <a:pt x="713" y="637"/>
                  </a:lnTo>
                  <a:lnTo>
                    <a:pt x="713" y="637"/>
                  </a:lnTo>
                  <a:lnTo>
                    <a:pt x="713" y="637"/>
                  </a:lnTo>
                  <a:lnTo>
                    <a:pt x="713" y="637"/>
                  </a:lnTo>
                  <a:lnTo>
                    <a:pt x="713" y="637"/>
                  </a:lnTo>
                  <a:lnTo>
                    <a:pt x="715" y="635"/>
                  </a:lnTo>
                  <a:lnTo>
                    <a:pt x="715" y="635"/>
                  </a:lnTo>
                  <a:lnTo>
                    <a:pt x="717" y="633"/>
                  </a:lnTo>
                  <a:lnTo>
                    <a:pt x="717" y="633"/>
                  </a:lnTo>
                  <a:lnTo>
                    <a:pt x="717" y="631"/>
                  </a:lnTo>
                  <a:lnTo>
                    <a:pt x="717" y="631"/>
                  </a:lnTo>
                  <a:close/>
                  <a:moveTo>
                    <a:pt x="727" y="625"/>
                  </a:moveTo>
                  <a:lnTo>
                    <a:pt x="727" y="625"/>
                  </a:lnTo>
                  <a:lnTo>
                    <a:pt x="725" y="627"/>
                  </a:lnTo>
                  <a:lnTo>
                    <a:pt x="717" y="633"/>
                  </a:lnTo>
                  <a:lnTo>
                    <a:pt x="719" y="633"/>
                  </a:lnTo>
                  <a:lnTo>
                    <a:pt x="719" y="633"/>
                  </a:lnTo>
                  <a:lnTo>
                    <a:pt x="725" y="629"/>
                  </a:lnTo>
                  <a:lnTo>
                    <a:pt x="725" y="627"/>
                  </a:lnTo>
                  <a:lnTo>
                    <a:pt x="727" y="627"/>
                  </a:lnTo>
                  <a:lnTo>
                    <a:pt x="727" y="627"/>
                  </a:lnTo>
                  <a:lnTo>
                    <a:pt x="727" y="627"/>
                  </a:lnTo>
                  <a:lnTo>
                    <a:pt x="727" y="625"/>
                  </a:lnTo>
                  <a:lnTo>
                    <a:pt x="727" y="625"/>
                  </a:lnTo>
                  <a:close/>
                  <a:moveTo>
                    <a:pt x="740" y="596"/>
                  </a:moveTo>
                  <a:lnTo>
                    <a:pt x="740" y="594"/>
                  </a:lnTo>
                  <a:lnTo>
                    <a:pt x="740" y="594"/>
                  </a:lnTo>
                  <a:lnTo>
                    <a:pt x="740" y="596"/>
                  </a:lnTo>
                  <a:lnTo>
                    <a:pt x="740" y="596"/>
                  </a:lnTo>
                  <a:close/>
                  <a:moveTo>
                    <a:pt x="785" y="536"/>
                  </a:moveTo>
                  <a:lnTo>
                    <a:pt x="785" y="536"/>
                  </a:lnTo>
                  <a:lnTo>
                    <a:pt x="785" y="536"/>
                  </a:lnTo>
                  <a:lnTo>
                    <a:pt x="785" y="536"/>
                  </a:lnTo>
                  <a:lnTo>
                    <a:pt x="785" y="545"/>
                  </a:lnTo>
                  <a:lnTo>
                    <a:pt x="783" y="545"/>
                  </a:lnTo>
                  <a:lnTo>
                    <a:pt x="783" y="547"/>
                  </a:lnTo>
                  <a:lnTo>
                    <a:pt x="783" y="547"/>
                  </a:lnTo>
                  <a:lnTo>
                    <a:pt x="783" y="547"/>
                  </a:lnTo>
                  <a:lnTo>
                    <a:pt x="783" y="547"/>
                  </a:lnTo>
                  <a:lnTo>
                    <a:pt x="783" y="547"/>
                  </a:lnTo>
                  <a:lnTo>
                    <a:pt x="783" y="547"/>
                  </a:lnTo>
                  <a:lnTo>
                    <a:pt x="783" y="547"/>
                  </a:lnTo>
                  <a:lnTo>
                    <a:pt x="783" y="547"/>
                  </a:lnTo>
                  <a:lnTo>
                    <a:pt x="785" y="545"/>
                  </a:lnTo>
                  <a:lnTo>
                    <a:pt x="785" y="543"/>
                  </a:lnTo>
                  <a:lnTo>
                    <a:pt x="785" y="541"/>
                  </a:lnTo>
                  <a:lnTo>
                    <a:pt x="785" y="539"/>
                  </a:lnTo>
                  <a:lnTo>
                    <a:pt x="785" y="539"/>
                  </a:lnTo>
                  <a:lnTo>
                    <a:pt x="785" y="536"/>
                  </a:lnTo>
                  <a:lnTo>
                    <a:pt x="785" y="536"/>
                  </a:lnTo>
                  <a:lnTo>
                    <a:pt x="785" y="536"/>
                  </a:lnTo>
                  <a:close/>
                  <a:moveTo>
                    <a:pt x="764" y="582"/>
                  </a:moveTo>
                  <a:lnTo>
                    <a:pt x="764" y="582"/>
                  </a:lnTo>
                  <a:lnTo>
                    <a:pt x="764" y="582"/>
                  </a:lnTo>
                  <a:lnTo>
                    <a:pt x="764" y="582"/>
                  </a:lnTo>
                  <a:lnTo>
                    <a:pt x="764" y="584"/>
                  </a:lnTo>
                  <a:lnTo>
                    <a:pt x="762" y="584"/>
                  </a:lnTo>
                  <a:lnTo>
                    <a:pt x="762" y="584"/>
                  </a:lnTo>
                  <a:lnTo>
                    <a:pt x="764" y="584"/>
                  </a:lnTo>
                  <a:lnTo>
                    <a:pt x="764" y="582"/>
                  </a:lnTo>
                  <a:lnTo>
                    <a:pt x="764" y="582"/>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192000" bIns="0" numCol="1" anchor="ctr" anchorCtr="0" compatLnSpc="1">
              <a:prstTxWarp prst="textNoShape">
                <a:avLst/>
              </a:prstTxWarp>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FL</a:t>
              </a:r>
            </a:p>
          </p:txBody>
        </p:sp>
        <p:sp>
          <p:nvSpPr>
            <p:cNvPr id="106" name="Freeform 47">
              <a:extLst>
                <a:ext uri="{FF2B5EF4-FFF2-40B4-BE49-F238E27FC236}">
                  <a16:creationId xmlns:a16="http://schemas.microsoft.com/office/drawing/2014/main" id="{6D2FE67B-DCCF-227E-5CC5-715FCAE5AB60}"/>
                </a:ext>
              </a:extLst>
            </p:cNvPr>
            <p:cNvSpPr>
              <a:spLocks/>
            </p:cNvSpPr>
            <p:nvPr/>
          </p:nvSpPr>
          <p:spPr bwMode="auto">
            <a:xfrm>
              <a:off x="4750" y="912"/>
              <a:ext cx="92" cy="150"/>
            </a:xfrm>
            <a:custGeom>
              <a:avLst/>
              <a:gdLst>
                <a:gd name="T0" fmla="*/ 26 w 92"/>
                <a:gd name="T1" fmla="*/ 6 h 150"/>
                <a:gd name="T2" fmla="*/ 24 w 92"/>
                <a:gd name="T3" fmla="*/ 12 h 150"/>
                <a:gd name="T4" fmla="*/ 18 w 92"/>
                <a:gd name="T5" fmla="*/ 21 h 150"/>
                <a:gd name="T6" fmla="*/ 18 w 92"/>
                <a:gd name="T7" fmla="*/ 25 h 150"/>
                <a:gd name="T8" fmla="*/ 20 w 92"/>
                <a:gd name="T9" fmla="*/ 29 h 150"/>
                <a:gd name="T10" fmla="*/ 24 w 92"/>
                <a:gd name="T11" fmla="*/ 33 h 150"/>
                <a:gd name="T12" fmla="*/ 22 w 92"/>
                <a:gd name="T13" fmla="*/ 39 h 150"/>
                <a:gd name="T14" fmla="*/ 26 w 92"/>
                <a:gd name="T15" fmla="*/ 43 h 150"/>
                <a:gd name="T16" fmla="*/ 35 w 92"/>
                <a:gd name="T17" fmla="*/ 51 h 150"/>
                <a:gd name="T18" fmla="*/ 37 w 92"/>
                <a:gd name="T19" fmla="*/ 51 h 150"/>
                <a:gd name="T20" fmla="*/ 43 w 92"/>
                <a:gd name="T21" fmla="*/ 59 h 150"/>
                <a:gd name="T22" fmla="*/ 47 w 92"/>
                <a:gd name="T23" fmla="*/ 72 h 150"/>
                <a:gd name="T24" fmla="*/ 49 w 92"/>
                <a:gd name="T25" fmla="*/ 76 h 150"/>
                <a:gd name="T26" fmla="*/ 51 w 92"/>
                <a:gd name="T27" fmla="*/ 80 h 150"/>
                <a:gd name="T28" fmla="*/ 57 w 92"/>
                <a:gd name="T29" fmla="*/ 88 h 150"/>
                <a:gd name="T30" fmla="*/ 59 w 92"/>
                <a:gd name="T31" fmla="*/ 92 h 150"/>
                <a:gd name="T32" fmla="*/ 74 w 92"/>
                <a:gd name="T33" fmla="*/ 102 h 150"/>
                <a:gd name="T34" fmla="*/ 80 w 92"/>
                <a:gd name="T35" fmla="*/ 100 h 150"/>
                <a:gd name="T36" fmla="*/ 86 w 92"/>
                <a:gd name="T37" fmla="*/ 117 h 150"/>
                <a:gd name="T38" fmla="*/ 82 w 92"/>
                <a:gd name="T39" fmla="*/ 111 h 150"/>
                <a:gd name="T40" fmla="*/ 80 w 92"/>
                <a:gd name="T41" fmla="*/ 117 h 150"/>
                <a:gd name="T42" fmla="*/ 78 w 92"/>
                <a:gd name="T43" fmla="*/ 117 h 150"/>
                <a:gd name="T44" fmla="*/ 78 w 92"/>
                <a:gd name="T45" fmla="*/ 117 h 150"/>
                <a:gd name="T46" fmla="*/ 82 w 92"/>
                <a:gd name="T47" fmla="*/ 119 h 150"/>
                <a:gd name="T48" fmla="*/ 76 w 92"/>
                <a:gd name="T49" fmla="*/ 123 h 150"/>
                <a:gd name="T50" fmla="*/ 76 w 92"/>
                <a:gd name="T51" fmla="*/ 125 h 150"/>
                <a:gd name="T52" fmla="*/ 76 w 92"/>
                <a:gd name="T53" fmla="*/ 127 h 150"/>
                <a:gd name="T54" fmla="*/ 82 w 92"/>
                <a:gd name="T55" fmla="*/ 123 h 150"/>
                <a:gd name="T56" fmla="*/ 84 w 92"/>
                <a:gd name="T57" fmla="*/ 125 h 150"/>
                <a:gd name="T58" fmla="*/ 86 w 92"/>
                <a:gd name="T59" fmla="*/ 121 h 150"/>
                <a:gd name="T60" fmla="*/ 86 w 92"/>
                <a:gd name="T61" fmla="*/ 119 h 150"/>
                <a:gd name="T62" fmla="*/ 88 w 92"/>
                <a:gd name="T63" fmla="*/ 127 h 150"/>
                <a:gd name="T64" fmla="*/ 92 w 92"/>
                <a:gd name="T65" fmla="*/ 133 h 150"/>
                <a:gd name="T66" fmla="*/ 90 w 92"/>
                <a:gd name="T67" fmla="*/ 137 h 150"/>
                <a:gd name="T68" fmla="*/ 88 w 92"/>
                <a:gd name="T69" fmla="*/ 137 h 150"/>
                <a:gd name="T70" fmla="*/ 82 w 92"/>
                <a:gd name="T71" fmla="*/ 139 h 150"/>
                <a:gd name="T72" fmla="*/ 63 w 92"/>
                <a:gd name="T73" fmla="*/ 143 h 150"/>
                <a:gd name="T74" fmla="*/ 43 w 92"/>
                <a:gd name="T75" fmla="*/ 148 h 150"/>
                <a:gd name="T76" fmla="*/ 35 w 92"/>
                <a:gd name="T77" fmla="*/ 139 h 150"/>
                <a:gd name="T78" fmla="*/ 28 w 92"/>
                <a:gd name="T79" fmla="*/ 117 h 150"/>
                <a:gd name="T80" fmla="*/ 22 w 92"/>
                <a:gd name="T81" fmla="*/ 94 h 150"/>
                <a:gd name="T82" fmla="*/ 16 w 92"/>
                <a:gd name="T83" fmla="*/ 72 h 150"/>
                <a:gd name="T84" fmla="*/ 8 w 92"/>
                <a:gd name="T85" fmla="*/ 47 h 150"/>
                <a:gd name="T86" fmla="*/ 2 w 92"/>
                <a:gd name="T87" fmla="*/ 25 h 150"/>
                <a:gd name="T88" fmla="*/ 2 w 92"/>
                <a:gd name="T89" fmla="*/ 18 h 150"/>
                <a:gd name="T90" fmla="*/ 6 w 92"/>
                <a:gd name="T91" fmla="*/ 6 h 150"/>
                <a:gd name="T92" fmla="*/ 10 w 92"/>
                <a:gd name="T93" fmla="*/ 2 h 150"/>
                <a:gd name="T94" fmla="*/ 16 w 92"/>
                <a:gd name="T95" fmla="*/ 0 h 150"/>
                <a:gd name="T96" fmla="*/ 26 w 92"/>
                <a:gd name="T97" fmla="*/ 0 h 150"/>
                <a:gd name="T98" fmla="*/ 28 w 92"/>
                <a:gd name="T99" fmla="*/ 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150">
                  <a:moveTo>
                    <a:pt x="28" y="2"/>
                  </a:moveTo>
                  <a:lnTo>
                    <a:pt x="28" y="2"/>
                  </a:lnTo>
                  <a:lnTo>
                    <a:pt x="26" y="6"/>
                  </a:lnTo>
                  <a:lnTo>
                    <a:pt x="24" y="6"/>
                  </a:lnTo>
                  <a:lnTo>
                    <a:pt x="24" y="10"/>
                  </a:lnTo>
                  <a:lnTo>
                    <a:pt x="24" y="12"/>
                  </a:lnTo>
                  <a:lnTo>
                    <a:pt x="22" y="18"/>
                  </a:lnTo>
                  <a:lnTo>
                    <a:pt x="20" y="18"/>
                  </a:lnTo>
                  <a:lnTo>
                    <a:pt x="18" y="21"/>
                  </a:lnTo>
                  <a:lnTo>
                    <a:pt x="18" y="23"/>
                  </a:lnTo>
                  <a:lnTo>
                    <a:pt x="18" y="23"/>
                  </a:lnTo>
                  <a:lnTo>
                    <a:pt x="18" y="25"/>
                  </a:lnTo>
                  <a:lnTo>
                    <a:pt x="18" y="25"/>
                  </a:lnTo>
                  <a:lnTo>
                    <a:pt x="18" y="27"/>
                  </a:lnTo>
                  <a:lnTo>
                    <a:pt x="20" y="29"/>
                  </a:lnTo>
                  <a:lnTo>
                    <a:pt x="22" y="29"/>
                  </a:lnTo>
                  <a:lnTo>
                    <a:pt x="24" y="31"/>
                  </a:lnTo>
                  <a:lnTo>
                    <a:pt x="24" y="33"/>
                  </a:lnTo>
                  <a:lnTo>
                    <a:pt x="24" y="35"/>
                  </a:lnTo>
                  <a:lnTo>
                    <a:pt x="22" y="37"/>
                  </a:lnTo>
                  <a:lnTo>
                    <a:pt x="22" y="39"/>
                  </a:lnTo>
                  <a:lnTo>
                    <a:pt x="24" y="41"/>
                  </a:lnTo>
                  <a:lnTo>
                    <a:pt x="26" y="43"/>
                  </a:lnTo>
                  <a:lnTo>
                    <a:pt x="26" y="43"/>
                  </a:lnTo>
                  <a:lnTo>
                    <a:pt x="28" y="45"/>
                  </a:lnTo>
                  <a:lnTo>
                    <a:pt x="33" y="51"/>
                  </a:lnTo>
                  <a:lnTo>
                    <a:pt x="35" y="51"/>
                  </a:lnTo>
                  <a:lnTo>
                    <a:pt x="35" y="51"/>
                  </a:lnTo>
                  <a:lnTo>
                    <a:pt x="37" y="51"/>
                  </a:lnTo>
                  <a:lnTo>
                    <a:pt x="37" y="51"/>
                  </a:lnTo>
                  <a:lnTo>
                    <a:pt x="39" y="53"/>
                  </a:lnTo>
                  <a:lnTo>
                    <a:pt x="43" y="57"/>
                  </a:lnTo>
                  <a:lnTo>
                    <a:pt x="43" y="59"/>
                  </a:lnTo>
                  <a:lnTo>
                    <a:pt x="45" y="61"/>
                  </a:lnTo>
                  <a:lnTo>
                    <a:pt x="45" y="70"/>
                  </a:lnTo>
                  <a:lnTo>
                    <a:pt x="47" y="72"/>
                  </a:lnTo>
                  <a:lnTo>
                    <a:pt x="47" y="72"/>
                  </a:lnTo>
                  <a:lnTo>
                    <a:pt x="47" y="74"/>
                  </a:lnTo>
                  <a:lnTo>
                    <a:pt x="49" y="76"/>
                  </a:lnTo>
                  <a:lnTo>
                    <a:pt x="49" y="78"/>
                  </a:lnTo>
                  <a:lnTo>
                    <a:pt x="49" y="78"/>
                  </a:lnTo>
                  <a:lnTo>
                    <a:pt x="51" y="80"/>
                  </a:lnTo>
                  <a:lnTo>
                    <a:pt x="53" y="82"/>
                  </a:lnTo>
                  <a:lnTo>
                    <a:pt x="57" y="86"/>
                  </a:lnTo>
                  <a:lnTo>
                    <a:pt x="57" y="88"/>
                  </a:lnTo>
                  <a:lnTo>
                    <a:pt x="59" y="90"/>
                  </a:lnTo>
                  <a:lnTo>
                    <a:pt x="59" y="92"/>
                  </a:lnTo>
                  <a:lnTo>
                    <a:pt x="59" y="92"/>
                  </a:lnTo>
                  <a:lnTo>
                    <a:pt x="65" y="96"/>
                  </a:lnTo>
                  <a:lnTo>
                    <a:pt x="72" y="100"/>
                  </a:lnTo>
                  <a:lnTo>
                    <a:pt x="74" y="102"/>
                  </a:lnTo>
                  <a:lnTo>
                    <a:pt x="78" y="102"/>
                  </a:lnTo>
                  <a:lnTo>
                    <a:pt x="80" y="102"/>
                  </a:lnTo>
                  <a:lnTo>
                    <a:pt x="80" y="100"/>
                  </a:lnTo>
                  <a:lnTo>
                    <a:pt x="82" y="102"/>
                  </a:lnTo>
                  <a:lnTo>
                    <a:pt x="86" y="113"/>
                  </a:lnTo>
                  <a:lnTo>
                    <a:pt x="86" y="117"/>
                  </a:lnTo>
                  <a:lnTo>
                    <a:pt x="86" y="117"/>
                  </a:lnTo>
                  <a:lnTo>
                    <a:pt x="84" y="113"/>
                  </a:lnTo>
                  <a:lnTo>
                    <a:pt x="82" y="111"/>
                  </a:lnTo>
                  <a:lnTo>
                    <a:pt x="78" y="113"/>
                  </a:lnTo>
                  <a:lnTo>
                    <a:pt x="78" y="113"/>
                  </a:lnTo>
                  <a:lnTo>
                    <a:pt x="80" y="117"/>
                  </a:lnTo>
                  <a:lnTo>
                    <a:pt x="80" y="117"/>
                  </a:lnTo>
                  <a:lnTo>
                    <a:pt x="80" y="117"/>
                  </a:lnTo>
                  <a:lnTo>
                    <a:pt x="78" y="117"/>
                  </a:lnTo>
                  <a:lnTo>
                    <a:pt x="78" y="117"/>
                  </a:lnTo>
                  <a:lnTo>
                    <a:pt x="78" y="117"/>
                  </a:lnTo>
                  <a:lnTo>
                    <a:pt x="78" y="117"/>
                  </a:lnTo>
                  <a:lnTo>
                    <a:pt x="80" y="117"/>
                  </a:lnTo>
                  <a:lnTo>
                    <a:pt x="80" y="119"/>
                  </a:lnTo>
                  <a:lnTo>
                    <a:pt x="82" y="119"/>
                  </a:lnTo>
                  <a:lnTo>
                    <a:pt x="84" y="119"/>
                  </a:lnTo>
                  <a:lnTo>
                    <a:pt x="82" y="121"/>
                  </a:lnTo>
                  <a:lnTo>
                    <a:pt x="76" y="123"/>
                  </a:lnTo>
                  <a:lnTo>
                    <a:pt x="76" y="125"/>
                  </a:lnTo>
                  <a:lnTo>
                    <a:pt x="78" y="125"/>
                  </a:lnTo>
                  <a:lnTo>
                    <a:pt x="76" y="125"/>
                  </a:lnTo>
                  <a:lnTo>
                    <a:pt x="76" y="127"/>
                  </a:lnTo>
                  <a:lnTo>
                    <a:pt x="76" y="127"/>
                  </a:lnTo>
                  <a:lnTo>
                    <a:pt x="76" y="127"/>
                  </a:lnTo>
                  <a:lnTo>
                    <a:pt x="78" y="127"/>
                  </a:lnTo>
                  <a:lnTo>
                    <a:pt x="80" y="125"/>
                  </a:lnTo>
                  <a:lnTo>
                    <a:pt x="82" y="123"/>
                  </a:lnTo>
                  <a:lnTo>
                    <a:pt x="82" y="125"/>
                  </a:lnTo>
                  <a:lnTo>
                    <a:pt x="84" y="125"/>
                  </a:lnTo>
                  <a:lnTo>
                    <a:pt x="84" y="125"/>
                  </a:lnTo>
                  <a:lnTo>
                    <a:pt x="86" y="125"/>
                  </a:lnTo>
                  <a:lnTo>
                    <a:pt x="86" y="123"/>
                  </a:lnTo>
                  <a:lnTo>
                    <a:pt x="86" y="121"/>
                  </a:lnTo>
                  <a:lnTo>
                    <a:pt x="86" y="121"/>
                  </a:lnTo>
                  <a:lnTo>
                    <a:pt x="86" y="121"/>
                  </a:lnTo>
                  <a:lnTo>
                    <a:pt x="86" y="119"/>
                  </a:lnTo>
                  <a:lnTo>
                    <a:pt x="88" y="121"/>
                  </a:lnTo>
                  <a:lnTo>
                    <a:pt x="88" y="121"/>
                  </a:lnTo>
                  <a:lnTo>
                    <a:pt x="88" y="127"/>
                  </a:lnTo>
                  <a:lnTo>
                    <a:pt x="90" y="129"/>
                  </a:lnTo>
                  <a:lnTo>
                    <a:pt x="90" y="131"/>
                  </a:lnTo>
                  <a:lnTo>
                    <a:pt x="92" y="133"/>
                  </a:lnTo>
                  <a:lnTo>
                    <a:pt x="92" y="137"/>
                  </a:lnTo>
                  <a:lnTo>
                    <a:pt x="90" y="137"/>
                  </a:lnTo>
                  <a:lnTo>
                    <a:pt x="90" y="137"/>
                  </a:lnTo>
                  <a:lnTo>
                    <a:pt x="90" y="135"/>
                  </a:lnTo>
                  <a:lnTo>
                    <a:pt x="90" y="135"/>
                  </a:lnTo>
                  <a:lnTo>
                    <a:pt x="88" y="137"/>
                  </a:lnTo>
                  <a:lnTo>
                    <a:pt x="88" y="137"/>
                  </a:lnTo>
                  <a:lnTo>
                    <a:pt x="86" y="137"/>
                  </a:lnTo>
                  <a:lnTo>
                    <a:pt x="82" y="139"/>
                  </a:lnTo>
                  <a:lnTo>
                    <a:pt x="76" y="139"/>
                  </a:lnTo>
                  <a:lnTo>
                    <a:pt x="69" y="141"/>
                  </a:lnTo>
                  <a:lnTo>
                    <a:pt x="63" y="143"/>
                  </a:lnTo>
                  <a:lnTo>
                    <a:pt x="57" y="143"/>
                  </a:lnTo>
                  <a:lnTo>
                    <a:pt x="49" y="146"/>
                  </a:lnTo>
                  <a:lnTo>
                    <a:pt x="43" y="148"/>
                  </a:lnTo>
                  <a:lnTo>
                    <a:pt x="37" y="150"/>
                  </a:lnTo>
                  <a:lnTo>
                    <a:pt x="35" y="143"/>
                  </a:lnTo>
                  <a:lnTo>
                    <a:pt x="35" y="139"/>
                  </a:lnTo>
                  <a:lnTo>
                    <a:pt x="33" y="131"/>
                  </a:lnTo>
                  <a:lnTo>
                    <a:pt x="31" y="123"/>
                  </a:lnTo>
                  <a:lnTo>
                    <a:pt x="28" y="117"/>
                  </a:lnTo>
                  <a:lnTo>
                    <a:pt x="26" y="109"/>
                  </a:lnTo>
                  <a:lnTo>
                    <a:pt x="24" y="100"/>
                  </a:lnTo>
                  <a:lnTo>
                    <a:pt x="22" y="94"/>
                  </a:lnTo>
                  <a:lnTo>
                    <a:pt x="20" y="86"/>
                  </a:lnTo>
                  <a:lnTo>
                    <a:pt x="18" y="78"/>
                  </a:lnTo>
                  <a:lnTo>
                    <a:pt x="16" y="72"/>
                  </a:lnTo>
                  <a:lnTo>
                    <a:pt x="14" y="64"/>
                  </a:lnTo>
                  <a:lnTo>
                    <a:pt x="12" y="55"/>
                  </a:lnTo>
                  <a:lnTo>
                    <a:pt x="8" y="47"/>
                  </a:lnTo>
                  <a:lnTo>
                    <a:pt x="6" y="41"/>
                  </a:lnTo>
                  <a:lnTo>
                    <a:pt x="4" y="33"/>
                  </a:lnTo>
                  <a:lnTo>
                    <a:pt x="2" y="25"/>
                  </a:lnTo>
                  <a:lnTo>
                    <a:pt x="0" y="18"/>
                  </a:lnTo>
                  <a:lnTo>
                    <a:pt x="2" y="18"/>
                  </a:lnTo>
                  <a:lnTo>
                    <a:pt x="2" y="18"/>
                  </a:lnTo>
                  <a:lnTo>
                    <a:pt x="2" y="14"/>
                  </a:lnTo>
                  <a:lnTo>
                    <a:pt x="4" y="10"/>
                  </a:lnTo>
                  <a:lnTo>
                    <a:pt x="6" y="6"/>
                  </a:lnTo>
                  <a:lnTo>
                    <a:pt x="6" y="6"/>
                  </a:lnTo>
                  <a:lnTo>
                    <a:pt x="8" y="4"/>
                  </a:lnTo>
                  <a:lnTo>
                    <a:pt x="10" y="2"/>
                  </a:lnTo>
                  <a:lnTo>
                    <a:pt x="12" y="2"/>
                  </a:lnTo>
                  <a:lnTo>
                    <a:pt x="14" y="0"/>
                  </a:lnTo>
                  <a:lnTo>
                    <a:pt x="16" y="0"/>
                  </a:lnTo>
                  <a:lnTo>
                    <a:pt x="20" y="0"/>
                  </a:lnTo>
                  <a:lnTo>
                    <a:pt x="24" y="0"/>
                  </a:lnTo>
                  <a:lnTo>
                    <a:pt x="26" y="0"/>
                  </a:lnTo>
                  <a:lnTo>
                    <a:pt x="28" y="2"/>
                  </a:lnTo>
                  <a:lnTo>
                    <a:pt x="28" y="2"/>
                  </a:lnTo>
                  <a:lnTo>
                    <a:pt x="28" y="2"/>
                  </a:lnTo>
                  <a:close/>
                </a:path>
              </a:pathLst>
            </a:custGeom>
            <a:solidFill>
              <a:schemeClr val="accent1"/>
            </a:solidFill>
            <a:ln w="3175" cap="rnd">
              <a:solidFill>
                <a:schemeClr val="bg1"/>
              </a:solidFill>
              <a:prstDash val="solid"/>
              <a:round/>
              <a:headEnd/>
              <a:tailEnd/>
            </a:ln>
          </p:spPr>
          <p:txBody>
            <a:bodyPr vert="horz" wrap="square" lIns="0" tIns="19200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DE</a:t>
              </a:r>
            </a:p>
          </p:txBody>
        </p:sp>
        <p:sp>
          <p:nvSpPr>
            <p:cNvPr id="107" name="Freeform 48">
              <a:extLst>
                <a:ext uri="{FF2B5EF4-FFF2-40B4-BE49-F238E27FC236}">
                  <a16:creationId xmlns:a16="http://schemas.microsoft.com/office/drawing/2014/main" id="{018A73C4-8692-C08A-2427-CFC9C7792B2C}"/>
                </a:ext>
              </a:extLst>
            </p:cNvPr>
            <p:cNvSpPr>
              <a:spLocks/>
            </p:cNvSpPr>
            <p:nvPr/>
          </p:nvSpPr>
          <p:spPr bwMode="auto">
            <a:xfrm>
              <a:off x="4658" y="1027"/>
              <a:ext cx="16" cy="20"/>
            </a:xfrm>
            <a:custGeom>
              <a:avLst/>
              <a:gdLst>
                <a:gd name="T0" fmla="*/ 12 w 16"/>
                <a:gd name="T1" fmla="*/ 20 h 20"/>
                <a:gd name="T2" fmla="*/ 10 w 16"/>
                <a:gd name="T3" fmla="*/ 18 h 20"/>
                <a:gd name="T4" fmla="*/ 10 w 16"/>
                <a:gd name="T5" fmla="*/ 12 h 20"/>
                <a:gd name="T6" fmla="*/ 6 w 16"/>
                <a:gd name="T7" fmla="*/ 10 h 20"/>
                <a:gd name="T8" fmla="*/ 6 w 16"/>
                <a:gd name="T9" fmla="*/ 10 h 20"/>
                <a:gd name="T10" fmla="*/ 4 w 16"/>
                <a:gd name="T11" fmla="*/ 10 h 20"/>
                <a:gd name="T12" fmla="*/ 2 w 16"/>
                <a:gd name="T13" fmla="*/ 8 h 20"/>
                <a:gd name="T14" fmla="*/ 0 w 16"/>
                <a:gd name="T15" fmla="*/ 8 h 20"/>
                <a:gd name="T16" fmla="*/ 6 w 16"/>
                <a:gd name="T17" fmla="*/ 0 h 20"/>
                <a:gd name="T18" fmla="*/ 16 w 16"/>
                <a:gd name="T19" fmla="*/ 10 h 20"/>
                <a:gd name="T20" fmla="*/ 12 w 16"/>
                <a:gd name="T21" fmla="*/ 20 h 20"/>
                <a:gd name="T22" fmla="*/ 12 w 16"/>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0">
                  <a:moveTo>
                    <a:pt x="12" y="20"/>
                  </a:moveTo>
                  <a:lnTo>
                    <a:pt x="10" y="18"/>
                  </a:lnTo>
                  <a:lnTo>
                    <a:pt x="10" y="12"/>
                  </a:lnTo>
                  <a:lnTo>
                    <a:pt x="6" y="10"/>
                  </a:lnTo>
                  <a:lnTo>
                    <a:pt x="6" y="10"/>
                  </a:lnTo>
                  <a:lnTo>
                    <a:pt x="4" y="10"/>
                  </a:lnTo>
                  <a:lnTo>
                    <a:pt x="2" y="8"/>
                  </a:lnTo>
                  <a:lnTo>
                    <a:pt x="0" y="8"/>
                  </a:lnTo>
                  <a:lnTo>
                    <a:pt x="6" y="0"/>
                  </a:lnTo>
                  <a:lnTo>
                    <a:pt x="16" y="10"/>
                  </a:lnTo>
                  <a:lnTo>
                    <a:pt x="12" y="20"/>
                  </a:lnTo>
                  <a:lnTo>
                    <a:pt x="12" y="20"/>
                  </a:lnTo>
                  <a:close/>
                </a:path>
              </a:pathLst>
            </a:custGeom>
            <a:solidFill>
              <a:srgbClr val="FFFFFF"/>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08" name="Freeform 49">
              <a:extLst>
                <a:ext uri="{FF2B5EF4-FFF2-40B4-BE49-F238E27FC236}">
                  <a16:creationId xmlns:a16="http://schemas.microsoft.com/office/drawing/2014/main" id="{D8F065AF-149F-8E5B-08A6-D156A5850898}"/>
                </a:ext>
              </a:extLst>
            </p:cNvPr>
            <p:cNvSpPr>
              <a:spLocks/>
            </p:cNvSpPr>
            <p:nvPr/>
          </p:nvSpPr>
          <p:spPr bwMode="auto">
            <a:xfrm>
              <a:off x="4881" y="615"/>
              <a:ext cx="149" cy="141"/>
            </a:xfrm>
            <a:custGeom>
              <a:avLst/>
              <a:gdLst>
                <a:gd name="T0" fmla="*/ 139 w 149"/>
                <a:gd name="T1" fmla="*/ 18 h 141"/>
                <a:gd name="T2" fmla="*/ 145 w 149"/>
                <a:gd name="T3" fmla="*/ 41 h 141"/>
                <a:gd name="T4" fmla="*/ 149 w 149"/>
                <a:gd name="T5" fmla="*/ 61 h 141"/>
                <a:gd name="T6" fmla="*/ 149 w 149"/>
                <a:gd name="T7" fmla="*/ 70 h 141"/>
                <a:gd name="T8" fmla="*/ 147 w 149"/>
                <a:gd name="T9" fmla="*/ 72 h 141"/>
                <a:gd name="T10" fmla="*/ 143 w 149"/>
                <a:gd name="T11" fmla="*/ 70 h 141"/>
                <a:gd name="T12" fmla="*/ 129 w 149"/>
                <a:gd name="T13" fmla="*/ 74 h 141"/>
                <a:gd name="T14" fmla="*/ 127 w 149"/>
                <a:gd name="T15" fmla="*/ 80 h 141"/>
                <a:gd name="T16" fmla="*/ 119 w 149"/>
                <a:gd name="T17" fmla="*/ 82 h 141"/>
                <a:gd name="T18" fmla="*/ 110 w 149"/>
                <a:gd name="T19" fmla="*/ 84 h 141"/>
                <a:gd name="T20" fmla="*/ 108 w 149"/>
                <a:gd name="T21" fmla="*/ 82 h 141"/>
                <a:gd name="T22" fmla="*/ 106 w 149"/>
                <a:gd name="T23" fmla="*/ 78 h 141"/>
                <a:gd name="T24" fmla="*/ 108 w 149"/>
                <a:gd name="T25" fmla="*/ 82 h 141"/>
                <a:gd name="T26" fmla="*/ 108 w 149"/>
                <a:gd name="T27" fmla="*/ 88 h 141"/>
                <a:gd name="T28" fmla="*/ 100 w 149"/>
                <a:gd name="T29" fmla="*/ 90 h 141"/>
                <a:gd name="T30" fmla="*/ 96 w 149"/>
                <a:gd name="T31" fmla="*/ 92 h 141"/>
                <a:gd name="T32" fmla="*/ 94 w 149"/>
                <a:gd name="T33" fmla="*/ 92 h 141"/>
                <a:gd name="T34" fmla="*/ 84 w 149"/>
                <a:gd name="T35" fmla="*/ 94 h 141"/>
                <a:gd name="T36" fmla="*/ 82 w 149"/>
                <a:gd name="T37" fmla="*/ 96 h 141"/>
                <a:gd name="T38" fmla="*/ 76 w 149"/>
                <a:gd name="T39" fmla="*/ 96 h 141"/>
                <a:gd name="T40" fmla="*/ 72 w 149"/>
                <a:gd name="T41" fmla="*/ 98 h 141"/>
                <a:gd name="T42" fmla="*/ 65 w 149"/>
                <a:gd name="T43" fmla="*/ 96 h 141"/>
                <a:gd name="T44" fmla="*/ 63 w 149"/>
                <a:gd name="T45" fmla="*/ 98 h 141"/>
                <a:gd name="T46" fmla="*/ 57 w 149"/>
                <a:gd name="T47" fmla="*/ 106 h 141"/>
                <a:gd name="T48" fmla="*/ 53 w 149"/>
                <a:gd name="T49" fmla="*/ 111 h 141"/>
                <a:gd name="T50" fmla="*/ 51 w 149"/>
                <a:gd name="T51" fmla="*/ 113 h 141"/>
                <a:gd name="T52" fmla="*/ 47 w 149"/>
                <a:gd name="T53" fmla="*/ 115 h 141"/>
                <a:gd name="T54" fmla="*/ 43 w 149"/>
                <a:gd name="T55" fmla="*/ 117 h 141"/>
                <a:gd name="T56" fmla="*/ 43 w 149"/>
                <a:gd name="T57" fmla="*/ 117 h 141"/>
                <a:gd name="T58" fmla="*/ 41 w 149"/>
                <a:gd name="T59" fmla="*/ 119 h 141"/>
                <a:gd name="T60" fmla="*/ 39 w 149"/>
                <a:gd name="T61" fmla="*/ 121 h 141"/>
                <a:gd name="T62" fmla="*/ 35 w 149"/>
                <a:gd name="T63" fmla="*/ 123 h 141"/>
                <a:gd name="T64" fmla="*/ 33 w 149"/>
                <a:gd name="T65" fmla="*/ 127 h 141"/>
                <a:gd name="T66" fmla="*/ 24 w 149"/>
                <a:gd name="T67" fmla="*/ 133 h 141"/>
                <a:gd name="T68" fmla="*/ 20 w 149"/>
                <a:gd name="T69" fmla="*/ 137 h 141"/>
                <a:gd name="T70" fmla="*/ 14 w 149"/>
                <a:gd name="T71" fmla="*/ 137 h 141"/>
                <a:gd name="T72" fmla="*/ 12 w 149"/>
                <a:gd name="T73" fmla="*/ 139 h 141"/>
                <a:gd name="T74" fmla="*/ 10 w 149"/>
                <a:gd name="T75" fmla="*/ 139 h 141"/>
                <a:gd name="T76" fmla="*/ 4 w 149"/>
                <a:gd name="T77" fmla="*/ 133 h 141"/>
                <a:gd name="T78" fmla="*/ 16 w 149"/>
                <a:gd name="T79" fmla="*/ 121 h 141"/>
                <a:gd name="T80" fmla="*/ 16 w 149"/>
                <a:gd name="T81" fmla="*/ 113 h 141"/>
                <a:gd name="T82" fmla="*/ 12 w 149"/>
                <a:gd name="T83" fmla="*/ 102 h 141"/>
                <a:gd name="T84" fmla="*/ 8 w 149"/>
                <a:gd name="T85" fmla="*/ 82 h 141"/>
                <a:gd name="T86" fmla="*/ 6 w 149"/>
                <a:gd name="T87" fmla="*/ 63 h 141"/>
                <a:gd name="T88" fmla="*/ 2 w 149"/>
                <a:gd name="T89" fmla="*/ 45 h 141"/>
                <a:gd name="T90" fmla="*/ 10 w 149"/>
                <a:gd name="T91" fmla="*/ 27 h 141"/>
                <a:gd name="T92" fmla="*/ 45 w 149"/>
                <a:gd name="T93" fmla="*/ 20 h 141"/>
                <a:gd name="T94" fmla="*/ 57 w 149"/>
                <a:gd name="T95" fmla="*/ 20 h 141"/>
                <a:gd name="T96" fmla="*/ 72 w 149"/>
                <a:gd name="T97" fmla="*/ 14 h 141"/>
                <a:gd name="T98" fmla="*/ 90 w 149"/>
                <a:gd name="T99" fmla="*/ 10 h 141"/>
                <a:gd name="T100" fmla="*/ 133 w 149"/>
                <a:gd name="T10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 h="141">
                  <a:moveTo>
                    <a:pt x="133" y="0"/>
                  </a:moveTo>
                  <a:lnTo>
                    <a:pt x="135" y="6"/>
                  </a:lnTo>
                  <a:lnTo>
                    <a:pt x="137" y="12"/>
                  </a:lnTo>
                  <a:lnTo>
                    <a:pt x="139" y="18"/>
                  </a:lnTo>
                  <a:lnTo>
                    <a:pt x="141" y="24"/>
                  </a:lnTo>
                  <a:lnTo>
                    <a:pt x="141" y="31"/>
                  </a:lnTo>
                  <a:lnTo>
                    <a:pt x="143" y="37"/>
                  </a:lnTo>
                  <a:lnTo>
                    <a:pt x="145" y="41"/>
                  </a:lnTo>
                  <a:lnTo>
                    <a:pt x="147" y="47"/>
                  </a:lnTo>
                  <a:lnTo>
                    <a:pt x="147" y="51"/>
                  </a:lnTo>
                  <a:lnTo>
                    <a:pt x="147" y="55"/>
                  </a:lnTo>
                  <a:lnTo>
                    <a:pt x="149" y="61"/>
                  </a:lnTo>
                  <a:lnTo>
                    <a:pt x="149" y="61"/>
                  </a:lnTo>
                  <a:lnTo>
                    <a:pt x="147" y="63"/>
                  </a:lnTo>
                  <a:lnTo>
                    <a:pt x="147" y="65"/>
                  </a:lnTo>
                  <a:lnTo>
                    <a:pt x="149" y="70"/>
                  </a:lnTo>
                  <a:lnTo>
                    <a:pt x="149" y="72"/>
                  </a:lnTo>
                  <a:lnTo>
                    <a:pt x="147" y="74"/>
                  </a:lnTo>
                  <a:lnTo>
                    <a:pt x="145" y="72"/>
                  </a:lnTo>
                  <a:lnTo>
                    <a:pt x="147" y="72"/>
                  </a:lnTo>
                  <a:lnTo>
                    <a:pt x="147" y="72"/>
                  </a:lnTo>
                  <a:lnTo>
                    <a:pt x="145" y="72"/>
                  </a:lnTo>
                  <a:lnTo>
                    <a:pt x="145" y="70"/>
                  </a:lnTo>
                  <a:lnTo>
                    <a:pt x="143" y="70"/>
                  </a:lnTo>
                  <a:lnTo>
                    <a:pt x="139" y="72"/>
                  </a:lnTo>
                  <a:lnTo>
                    <a:pt x="137" y="72"/>
                  </a:lnTo>
                  <a:lnTo>
                    <a:pt x="133" y="76"/>
                  </a:lnTo>
                  <a:lnTo>
                    <a:pt x="129" y="74"/>
                  </a:lnTo>
                  <a:lnTo>
                    <a:pt x="129" y="76"/>
                  </a:lnTo>
                  <a:lnTo>
                    <a:pt x="129" y="78"/>
                  </a:lnTo>
                  <a:lnTo>
                    <a:pt x="129" y="78"/>
                  </a:lnTo>
                  <a:lnTo>
                    <a:pt x="127" y="80"/>
                  </a:lnTo>
                  <a:lnTo>
                    <a:pt x="123" y="78"/>
                  </a:lnTo>
                  <a:lnTo>
                    <a:pt x="121" y="80"/>
                  </a:lnTo>
                  <a:lnTo>
                    <a:pt x="121" y="82"/>
                  </a:lnTo>
                  <a:lnTo>
                    <a:pt x="119" y="82"/>
                  </a:lnTo>
                  <a:lnTo>
                    <a:pt x="115" y="86"/>
                  </a:lnTo>
                  <a:lnTo>
                    <a:pt x="113" y="84"/>
                  </a:lnTo>
                  <a:lnTo>
                    <a:pt x="110" y="84"/>
                  </a:lnTo>
                  <a:lnTo>
                    <a:pt x="110" y="84"/>
                  </a:lnTo>
                  <a:lnTo>
                    <a:pt x="108" y="84"/>
                  </a:lnTo>
                  <a:lnTo>
                    <a:pt x="108" y="84"/>
                  </a:lnTo>
                  <a:lnTo>
                    <a:pt x="108" y="82"/>
                  </a:lnTo>
                  <a:lnTo>
                    <a:pt x="108" y="82"/>
                  </a:lnTo>
                  <a:lnTo>
                    <a:pt x="108" y="80"/>
                  </a:lnTo>
                  <a:lnTo>
                    <a:pt x="108" y="80"/>
                  </a:lnTo>
                  <a:lnTo>
                    <a:pt x="106" y="80"/>
                  </a:lnTo>
                  <a:lnTo>
                    <a:pt x="106" y="78"/>
                  </a:lnTo>
                  <a:lnTo>
                    <a:pt x="104" y="78"/>
                  </a:lnTo>
                  <a:lnTo>
                    <a:pt x="104" y="80"/>
                  </a:lnTo>
                  <a:lnTo>
                    <a:pt x="106" y="82"/>
                  </a:lnTo>
                  <a:lnTo>
                    <a:pt x="108" y="82"/>
                  </a:lnTo>
                  <a:lnTo>
                    <a:pt x="108" y="86"/>
                  </a:lnTo>
                  <a:lnTo>
                    <a:pt x="108" y="86"/>
                  </a:lnTo>
                  <a:lnTo>
                    <a:pt x="108" y="86"/>
                  </a:lnTo>
                  <a:lnTo>
                    <a:pt x="108" y="88"/>
                  </a:lnTo>
                  <a:lnTo>
                    <a:pt x="106" y="88"/>
                  </a:lnTo>
                  <a:lnTo>
                    <a:pt x="102" y="88"/>
                  </a:lnTo>
                  <a:lnTo>
                    <a:pt x="100" y="88"/>
                  </a:lnTo>
                  <a:lnTo>
                    <a:pt x="100" y="90"/>
                  </a:lnTo>
                  <a:lnTo>
                    <a:pt x="98" y="90"/>
                  </a:lnTo>
                  <a:lnTo>
                    <a:pt x="98" y="92"/>
                  </a:lnTo>
                  <a:lnTo>
                    <a:pt x="96" y="92"/>
                  </a:lnTo>
                  <a:lnTo>
                    <a:pt x="96" y="92"/>
                  </a:lnTo>
                  <a:lnTo>
                    <a:pt x="96" y="92"/>
                  </a:lnTo>
                  <a:lnTo>
                    <a:pt x="96" y="92"/>
                  </a:lnTo>
                  <a:lnTo>
                    <a:pt x="96" y="92"/>
                  </a:lnTo>
                  <a:lnTo>
                    <a:pt x="94" y="92"/>
                  </a:lnTo>
                  <a:lnTo>
                    <a:pt x="92" y="92"/>
                  </a:lnTo>
                  <a:lnTo>
                    <a:pt x="90" y="92"/>
                  </a:lnTo>
                  <a:lnTo>
                    <a:pt x="84" y="94"/>
                  </a:lnTo>
                  <a:lnTo>
                    <a:pt x="84" y="94"/>
                  </a:lnTo>
                  <a:lnTo>
                    <a:pt x="84" y="96"/>
                  </a:lnTo>
                  <a:lnTo>
                    <a:pt x="84" y="96"/>
                  </a:lnTo>
                  <a:lnTo>
                    <a:pt x="82" y="96"/>
                  </a:lnTo>
                  <a:lnTo>
                    <a:pt x="82" y="96"/>
                  </a:lnTo>
                  <a:lnTo>
                    <a:pt x="80" y="96"/>
                  </a:lnTo>
                  <a:lnTo>
                    <a:pt x="80" y="96"/>
                  </a:lnTo>
                  <a:lnTo>
                    <a:pt x="78" y="96"/>
                  </a:lnTo>
                  <a:lnTo>
                    <a:pt x="76" y="96"/>
                  </a:lnTo>
                  <a:lnTo>
                    <a:pt x="76" y="96"/>
                  </a:lnTo>
                  <a:lnTo>
                    <a:pt x="74" y="98"/>
                  </a:lnTo>
                  <a:lnTo>
                    <a:pt x="74" y="98"/>
                  </a:lnTo>
                  <a:lnTo>
                    <a:pt x="72" y="98"/>
                  </a:lnTo>
                  <a:lnTo>
                    <a:pt x="67" y="100"/>
                  </a:lnTo>
                  <a:lnTo>
                    <a:pt x="65" y="98"/>
                  </a:lnTo>
                  <a:lnTo>
                    <a:pt x="65" y="98"/>
                  </a:lnTo>
                  <a:lnTo>
                    <a:pt x="65" y="96"/>
                  </a:lnTo>
                  <a:lnTo>
                    <a:pt x="63" y="96"/>
                  </a:lnTo>
                  <a:lnTo>
                    <a:pt x="63" y="96"/>
                  </a:lnTo>
                  <a:lnTo>
                    <a:pt x="63" y="98"/>
                  </a:lnTo>
                  <a:lnTo>
                    <a:pt x="63" y="98"/>
                  </a:lnTo>
                  <a:lnTo>
                    <a:pt x="61" y="102"/>
                  </a:lnTo>
                  <a:lnTo>
                    <a:pt x="59" y="104"/>
                  </a:lnTo>
                  <a:lnTo>
                    <a:pt x="59" y="106"/>
                  </a:lnTo>
                  <a:lnTo>
                    <a:pt x="57" y="106"/>
                  </a:lnTo>
                  <a:lnTo>
                    <a:pt x="55" y="106"/>
                  </a:lnTo>
                  <a:lnTo>
                    <a:pt x="55" y="108"/>
                  </a:lnTo>
                  <a:lnTo>
                    <a:pt x="55" y="108"/>
                  </a:lnTo>
                  <a:lnTo>
                    <a:pt x="53" y="111"/>
                  </a:lnTo>
                  <a:lnTo>
                    <a:pt x="53" y="111"/>
                  </a:lnTo>
                  <a:lnTo>
                    <a:pt x="51" y="113"/>
                  </a:lnTo>
                  <a:lnTo>
                    <a:pt x="51" y="113"/>
                  </a:lnTo>
                  <a:lnTo>
                    <a:pt x="51" y="113"/>
                  </a:lnTo>
                  <a:lnTo>
                    <a:pt x="51" y="115"/>
                  </a:lnTo>
                  <a:lnTo>
                    <a:pt x="49" y="115"/>
                  </a:lnTo>
                  <a:lnTo>
                    <a:pt x="49" y="115"/>
                  </a:lnTo>
                  <a:lnTo>
                    <a:pt x="47" y="115"/>
                  </a:lnTo>
                  <a:lnTo>
                    <a:pt x="47" y="113"/>
                  </a:lnTo>
                  <a:lnTo>
                    <a:pt x="47" y="115"/>
                  </a:lnTo>
                  <a:lnTo>
                    <a:pt x="45" y="117"/>
                  </a:lnTo>
                  <a:lnTo>
                    <a:pt x="43" y="117"/>
                  </a:lnTo>
                  <a:lnTo>
                    <a:pt x="43" y="117"/>
                  </a:lnTo>
                  <a:lnTo>
                    <a:pt x="43" y="117"/>
                  </a:lnTo>
                  <a:lnTo>
                    <a:pt x="43" y="117"/>
                  </a:lnTo>
                  <a:lnTo>
                    <a:pt x="43" y="117"/>
                  </a:lnTo>
                  <a:lnTo>
                    <a:pt x="43" y="117"/>
                  </a:lnTo>
                  <a:lnTo>
                    <a:pt x="43" y="117"/>
                  </a:lnTo>
                  <a:lnTo>
                    <a:pt x="43" y="119"/>
                  </a:lnTo>
                  <a:lnTo>
                    <a:pt x="41" y="119"/>
                  </a:lnTo>
                  <a:lnTo>
                    <a:pt x="41" y="121"/>
                  </a:lnTo>
                  <a:lnTo>
                    <a:pt x="41" y="121"/>
                  </a:lnTo>
                  <a:lnTo>
                    <a:pt x="39" y="121"/>
                  </a:lnTo>
                  <a:lnTo>
                    <a:pt x="39" y="121"/>
                  </a:lnTo>
                  <a:lnTo>
                    <a:pt x="37" y="121"/>
                  </a:lnTo>
                  <a:lnTo>
                    <a:pt x="37" y="121"/>
                  </a:lnTo>
                  <a:lnTo>
                    <a:pt x="37" y="123"/>
                  </a:lnTo>
                  <a:lnTo>
                    <a:pt x="35" y="123"/>
                  </a:lnTo>
                  <a:lnTo>
                    <a:pt x="35" y="123"/>
                  </a:lnTo>
                  <a:lnTo>
                    <a:pt x="33" y="125"/>
                  </a:lnTo>
                  <a:lnTo>
                    <a:pt x="33" y="125"/>
                  </a:lnTo>
                  <a:lnTo>
                    <a:pt x="33" y="127"/>
                  </a:lnTo>
                  <a:lnTo>
                    <a:pt x="29" y="129"/>
                  </a:lnTo>
                  <a:lnTo>
                    <a:pt x="29" y="129"/>
                  </a:lnTo>
                  <a:lnTo>
                    <a:pt x="24" y="133"/>
                  </a:lnTo>
                  <a:lnTo>
                    <a:pt x="24" y="133"/>
                  </a:lnTo>
                  <a:lnTo>
                    <a:pt x="22" y="133"/>
                  </a:lnTo>
                  <a:lnTo>
                    <a:pt x="22" y="135"/>
                  </a:lnTo>
                  <a:lnTo>
                    <a:pt x="20" y="135"/>
                  </a:lnTo>
                  <a:lnTo>
                    <a:pt x="20" y="137"/>
                  </a:lnTo>
                  <a:lnTo>
                    <a:pt x="18" y="137"/>
                  </a:lnTo>
                  <a:lnTo>
                    <a:pt x="18" y="139"/>
                  </a:lnTo>
                  <a:lnTo>
                    <a:pt x="16" y="137"/>
                  </a:lnTo>
                  <a:lnTo>
                    <a:pt x="14" y="137"/>
                  </a:lnTo>
                  <a:lnTo>
                    <a:pt x="14" y="139"/>
                  </a:lnTo>
                  <a:lnTo>
                    <a:pt x="14" y="139"/>
                  </a:lnTo>
                  <a:lnTo>
                    <a:pt x="12" y="141"/>
                  </a:lnTo>
                  <a:lnTo>
                    <a:pt x="12" y="139"/>
                  </a:lnTo>
                  <a:lnTo>
                    <a:pt x="12" y="139"/>
                  </a:lnTo>
                  <a:lnTo>
                    <a:pt x="10" y="139"/>
                  </a:lnTo>
                  <a:lnTo>
                    <a:pt x="10" y="139"/>
                  </a:lnTo>
                  <a:lnTo>
                    <a:pt x="10" y="139"/>
                  </a:lnTo>
                  <a:lnTo>
                    <a:pt x="10" y="137"/>
                  </a:lnTo>
                  <a:lnTo>
                    <a:pt x="8" y="135"/>
                  </a:lnTo>
                  <a:lnTo>
                    <a:pt x="4" y="133"/>
                  </a:lnTo>
                  <a:lnTo>
                    <a:pt x="4" y="133"/>
                  </a:lnTo>
                  <a:lnTo>
                    <a:pt x="4" y="131"/>
                  </a:lnTo>
                  <a:lnTo>
                    <a:pt x="8" y="129"/>
                  </a:lnTo>
                  <a:lnTo>
                    <a:pt x="12" y="125"/>
                  </a:lnTo>
                  <a:lnTo>
                    <a:pt x="16" y="121"/>
                  </a:lnTo>
                  <a:lnTo>
                    <a:pt x="18" y="117"/>
                  </a:lnTo>
                  <a:lnTo>
                    <a:pt x="20" y="117"/>
                  </a:lnTo>
                  <a:lnTo>
                    <a:pt x="18" y="115"/>
                  </a:lnTo>
                  <a:lnTo>
                    <a:pt x="16" y="113"/>
                  </a:lnTo>
                  <a:lnTo>
                    <a:pt x="16" y="111"/>
                  </a:lnTo>
                  <a:lnTo>
                    <a:pt x="14" y="108"/>
                  </a:lnTo>
                  <a:lnTo>
                    <a:pt x="12" y="106"/>
                  </a:lnTo>
                  <a:lnTo>
                    <a:pt x="12" y="102"/>
                  </a:lnTo>
                  <a:lnTo>
                    <a:pt x="12" y="98"/>
                  </a:lnTo>
                  <a:lnTo>
                    <a:pt x="10" y="92"/>
                  </a:lnTo>
                  <a:lnTo>
                    <a:pt x="10" y="88"/>
                  </a:lnTo>
                  <a:lnTo>
                    <a:pt x="8" y="82"/>
                  </a:lnTo>
                  <a:lnTo>
                    <a:pt x="8" y="78"/>
                  </a:lnTo>
                  <a:lnTo>
                    <a:pt x="8" y="74"/>
                  </a:lnTo>
                  <a:lnTo>
                    <a:pt x="6" y="67"/>
                  </a:lnTo>
                  <a:lnTo>
                    <a:pt x="6" y="63"/>
                  </a:lnTo>
                  <a:lnTo>
                    <a:pt x="4" y="59"/>
                  </a:lnTo>
                  <a:lnTo>
                    <a:pt x="4" y="53"/>
                  </a:lnTo>
                  <a:lnTo>
                    <a:pt x="2" y="49"/>
                  </a:lnTo>
                  <a:lnTo>
                    <a:pt x="2" y="45"/>
                  </a:lnTo>
                  <a:lnTo>
                    <a:pt x="2" y="39"/>
                  </a:lnTo>
                  <a:lnTo>
                    <a:pt x="0" y="35"/>
                  </a:lnTo>
                  <a:lnTo>
                    <a:pt x="0" y="29"/>
                  </a:lnTo>
                  <a:lnTo>
                    <a:pt x="10" y="27"/>
                  </a:lnTo>
                  <a:lnTo>
                    <a:pt x="18" y="24"/>
                  </a:lnTo>
                  <a:lnTo>
                    <a:pt x="29" y="22"/>
                  </a:lnTo>
                  <a:lnTo>
                    <a:pt x="39" y="20"/>
                  </a:lnTo>
                  <a:lnTo>
                    <a:pt x="45" y="20"/>
                  </a:lnTo>
                  <a:lnTo>
                    <a:pt x="49" y="18"/>
                  </a:lnTo>
                  <a:lnTo>
                    <a:pt x="53" y="18"/>
                  </a:lnTo>
                  <a:lnTo>
                    <a:pt x="55" y="20"/>
                  </a:lnTo>
                  <a:lnTo>
                    <a:pt x="57" y="20"/>
                  </a:lnTo>
                  <a:lnTo>
                    <a:pt x="57" y="18"/>
                  </a:lnTo>
                  <a:lnTo>
                    <a:pt x="67" y="14"/>
                  </a:lnTo>
                  <a:lnTo>
                    <a:pt x="70" y="14"/>
                  </a:lnTo>
                  <a:lnTo>
                    <a:pt x="72" y="14"/>
                  </a:lnTo>
                  <a:lnTo>
                    <a:pt x="72" y="14"/>
                  </a:lnTo>
                  <a:lnTo>
                    <a:pt x="74" y="14"/>
                  </a:lnTo>
                  <a:lnTo>
                    <a:pt x="78" y="12"/>
                  </a:lnTo>
                  <a:lnTo>
                    <a:pt x="90" y="10"/>
                  </a:lnTo>
                  <a:lnTo>
                    <a:pt x="100" y="6"/>
                  </a:lnTo>
                  <a:lnTo>
                    <a:pt x="113" y="4"/>
                  </a:lnTo>
                  <a:lnTo>
                    <a:pt x="125" y="2"/>
                  </a:lnTo>
                  <a:lnTo>
                    <a:pt x="133" y="0"/>
                  </a:lnTo>
                  <a:lnTo>
                    <a:pt x="133" y="0"/>
                  </a:lnTo>
                  <a:lnTo>
                    <a:pt x="133" y="0"/>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48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CT</a:t>
              </a:r>
            </a:p>
          </p:txBody>
        </p:sp>
        <p:sp>
          <p:nvSpPr>
            <p:cNvPr id="109" name="Freeform 50">
              <a:extLst>
                <a:ext uri="{FF2B5EF4-FFF2-40B4-BE49-F238E27FC236}">
                  <a16:creationId xmlns:a16="http://schemas.microsoft.com/office/drawing/2014/main" id="{A0E2F47D-FCC2-4351-914B-1FB9044B69D6}"/>
                </a:ext>
              </a:extLst>
            </p:cNvPr>
            <p:cNvSpPr>
              <a:spLocks/>
            </p:cNvSpPr>
            <p:nvPr/>
          </p:nvSpPr>
          <p:spPr bwMode="auto">
            <a:xfrm>
              <a:off x="1943" y="986"/>
              <a:ext cx="614" cy="457"/>
            </a:xfrm>
            <a:custGeom>
              <a:avLst/>
              <a:gdLst>
                <a:gd name="T0" fmla="*/ 612 w 614"/>
                <a:gd name="T1" fmla="*/ 153 h 457"/>
                <a:gd name="T2" fmla="*/ 612 w 614"/>
                <a:gd name="T3" fmla="*/ 184 h 457"/>
                <a:gd name="T4" fmla="*/ 612 w 614"/>
                <a:gd name="T5" fmla="*/ 215 h 457"/>
                <a:gd name="T6" fmla="*/ 612 w 614"/>
                <a:gd name="T7" fmla="*/ 246 h 457"/>
                <a:gd name="T8" fmla="*/ 610 w 614"/>
                <a:gd name="T9" fmla="*/ 274 h 457"/>
                <a:gd name="T10" fmla="*/ 610 w 614"/>
                <a:gd name="T11" fmla="*/ 305 h 457"/>
                <a:gd name="T12" fmla="*/ 610 w 614"/>
                <a:gd name="T13" fmla="*/ 336 h 457"/>
                <a:gd name="T14" fmla="*/ 610 w 614"/>
                <a:gd name="T15" fmla="*/ 365 h 457"/>
                <a:gd name="T16" fmla="*/ 608 w 614"/>
                <a:gd name="T17" fmla="*/ 395 h 457"/>
                <a:gd name="T18" fmla="*/ 608 w 614"/>
                <a:gd name="T19" fmla="*/ 426 h 457"/>
                <a:gd name="T20" fmla="*/ 608 w 614"/>
                <a:gd name="T21" fmla="*/ 457 h 457"/>
                <a:gd name="T22" fmla="*/ 576 w 614"/>
                <a:gd name="T23" fmla="*/ 455 h 457"/>
                <a:gd name="T24" fmla="*/ 545 w 614"/>
                <a:gd name="T25" fmla="*/ 455 h 457"/>
                <a:gd name="T26" fmla="*/ 506 w 614"/>
                <a:gd name="T27" fmla="*/ 453 h 457"/>
                <a:gd name="T28" fmla="*/ 457 w 614"/>
                <a:gd name="T29" fmla="*/ 453 h 457"/>
                <a:gd name="T30" fmla="*/ 408 w 614"/>
                <a:gd name="T31" fmla="*/ 451 h 457"/>
                <a:gd name="T32" fmla="*/ 358 w 614"/>
                <a:gd name="T33" fmla="*/ 449 h 457"/>
                <a:gd name="T34" fmla="*/ 309 w 614"/>
                <a:gd name="T35" fmla="*/ 447 h 457"/>
                <a:gd name="T36" fmla="*/ 260 w 614"/>
                <a:gd name="T37" fmla="*/ 442 h 457"/>
                <a:gd name="T38" fmla="*/ 211 w 614"/>
                <a:gd name="T39" fmla="*/ 440 h 457"/>
                <a:gd name="T40" fmla="*/ 162 w 614"/>
                <a:gd name="T41" fmla="*/ 438 h 457"/>
                <a:gd name="T42" fmla="*/ 113 w 614"/>
                <a:gd name="T43" fmla="*/ 434 h 457"/>
                <a:gd name="T44" fmla="*/ 66 w 614"/>
                <a:gd name="T45" fmla="*/ 430 h 457"/>
                <a:gd name="T46" fmla="*/ 16 w 614"/>
                <a:gd name="T47" fmla="*/ 426 h 457"/>
                <a:gd name="T48" fmla="*/ 2 w 614"/>
                <a:gd name="T49" fmla="*/ 399 h 457"/>
                <a:gd name="T50" fmla="*/ 4 w 614"/>
                <a:gd name="T51" fmla="*/ 358 h 457"/>
                <a:gd name="T52" fmla="*/ 8 w 614"/>
                <a:gd name="T53" fmla="*/ 319 h 457"/>
                <a:gd name="T54" fmla="*/ 10 w 614"/>
                <a:gd name="T55" fmla="*/ 278 h 457"/>
                <a:gd name="T56" fmla="*/ 14 w 614"/>
                <a:gd name="T57" fmla="*/ 238 h 457"/>
                <a:gd name="T58" fmla="*/ 19 w 614"/>
                <a:gd name="T59" fmla="*/ 199 h 457"/>
                <a:gd name="T60" fmla="*/ 21 w 614"/>
                <a:gd name="T61" fmla="*/ 158 h 457"/>
                <a:gd name="T62" fmla="*/ 25 w 614"/>
                <a:gd name="T63" fmla="*/ 119 h 457"/>
                <a:gd name="T64" fmla="*/ 27 w 614"/>
                <a:gd name="T65" fmla="*/ 78 h 457"/>
                <a:gd name="T66" fmla="*/ 31 w 614"/>
                <a:gd name="T67" fmla="*/ 39 h 457"/>
                <a:gd name="T68" fmla="*/ 35 w 614"/>
                <a:gd name="T69" fmla="*/ 0 h 457"/>
                <a:gd name="T70" fmla="*/ 74 w 614"/>
                <a:gd name="T71" fmla="*/ 2 h 457"/>
                <a:gd name="T72" fmla="*/ 113 w 614"/>
                <a:gd name="T73" fmla="*/ 4 h 457"/>
                <a:gd name="T74" fmla="*/ 152 w 614"/>
                <a:gd name="T75" fmla="*/ 8 h 457"/>
                <a:gd name="T76" fmla="*/ 191 w 614"/>
                <a:gd name="T77" fmla="*/ 10 h 457"/>
                <a:gd name="T78" fmla="*/ 229 w 614"/>
                <a:gd name="T79" fmla="*/ 12 h 457"/>
                <a:gd name="T80" fmla="*/ 268 w 614"/>
                <a:gd name="T81" fmla="*/ 14 h 457"/>
                <a:gd name="T82" fmla="*/ 307 w 614"/>
                <a:gd name="T83" fmla="*/ 16 h 457"/>
                <a:gd name="T84" fmla="*/ 346 w 614"/>
                <a:gd name="T85" fmla="*/ 18 h 457"/>
                <a:gd name="T86" fmla="*/ 385 w 614"/>
                <a:gd name="T87" fmla="*/ 20 h 457"/>
                <a:gd name="T88" fmla="*/ 424 w 614"/>
                <a:gd name="T89" fmla="*/ 22 h 457"/>
                <a:gd name="T90" fmla="*/ 459 w 614"/>
                <a:gd name="T91" fmla="*/ 24 h 457"/>
                <a:gd name="T92" fmla="*/ 490 w 614"/>
                <a:gd name="T93" fmla="*/ 24 h 457"/>
                <a:gd name="T94" fmla="*/ 518 w 614"/>
                <a:gd name="T95" fmla="*/ 26 h 457"/>
                <a:gd name="T96" fmla="*/ 549 w 614"/>
                <a:gd name="T97" fmla="*/ 26 h 457"/>
                <a:gd name="T98" fmla="*/ 578 w 614"/>
                <a:gd name="T99" fmla="*/ 26 h 457"/>
                <a:gd name="T100" fmla="*/ 608 w 614"/>
                <a:gd name="T101" fmla="*/ 28 h 457"/>
                <a:gd name="T102" fmla="*/ 614 w 614"/>
                <a:gd name="T103" fmla="*/ 41 h 457"/>
                <a:gd name="T104" fmla="*/ 614 w 614"/>
                <a:gd name="T105" fmla="*/ 61 h 457"/>
                <a:gd name="T106" fmla="*/ 614 w 614"/>
                <a:gd name="T107" fmla="*/ 82 h 457"/>
                <a:gd name="T108" fmla="*/ 614 w 614"/>
                <a:gd name="T109" fmla="*/ 100 h 457"/>
                <a:gd name="T110" fmla="*/ 612 w 614"/>
                <a:gd name="T111" fmla="*/ 121 h 457"/>
                <a:gd name="T112" fmla="*/ 612 w 614"/>
                <a:gd name="T113" fmla="*/ 135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 h="457">
                  <a:moveTo>
                    <a:pt x="612" y="135"/>
                  </a:moveTo>
                  <a:lnTo>
                    <a:pt x="612" y="145"/>
                  </a:lnTo>
                  <a:lnTo>
                    <a:pt x="612" y="153"/>
                  </a:lnTo>
                  <a:lnTo>
                    <a:pt x="612" y="164"/>
                  </a:lnTo>
                  <a:lnTo>
                    <a:pt x="612" y="174"/>
                  </a:lnTo>
                  <a:lnTo>
                    <a:pt x="612" y="184"/>
                  </a:lnTo>
                  <a:lnTo>
                    <a:pt x="612" y="194"/>
                  </a:lnTo>
                  <a:lnTo>
                    <a:pt x="612" y="205"/>
                  </a:lnTo>
                  <a:lnTo>
                    <a:pt x="612" y="215"/>
                  </a:lnTo>
                  <a:lnTo>
                    <a:pt x="612" y="225"/>
                  </a:lnTo>
                  <a:lnTo>
                    <a:pt x="612" y="235"/>
                  </a:lnTo>
                  <a:lnTo>
                    <a:pt x="612" y="246"/>
                  </a:lnTo>
                  <a:lnTo>
                    <a:pt x="610" y="254"/>
                  </a:lnTo>
                  <a:lnTo>
                    <a:pt x="610" y="264"/>
                  </a:lnTo>
                  <a:lnTo>
                    <a:pt x="610" y="274"/>
                  </a:lnTo>
                  <a:lnTo>
                    <a:pt x="610" y="285"/>
                  </a:lnTo>
                  <a:lnTo>
                    <a:pt x="610" y="295"/>
                  </a:lnTo>
                  <a:lnTo>
                    <a:pt x="610" y="305"/>
                  </a:lnTo>
                  <a:lnTo>
                    <a:pt x="610" y="315"/>
                  </a:lnTo>
                  <a:lnTo>
                    <a:pt x="610" y="326"/>
                  </a:lnTo>
                  <a:lnTo>
                    <a:pt x="610" y="336"/>
                  </a:lnTo>
                  <a:lnTo>
                    <a:pt x="610" y="346"/>
                  </a:lnTo>
                  <a:lnTo>
                    <a:pt x="610" y="354"/>
                  </a:lnTo>
                  <a:lnTo>
                    <a:pt x="610" y="365"/>
                  </a:lnTo>
                  <a:lnTo>
                    <a:pt x="610" y="375"/>
                  </a:lnTo>
                  <a:lnTo>
                    <a:pt x="610" y="385"/>
                  </a:lnTo>
                  <a:lnTo>
                    <a:pt x="608" y="395"/>
                  </a:lnTo>
                  <a:lnTo>
                    <a:pt x="608" y="406"/>
                  </a:lnTo>
                  <a:lnTo>
                    <a:pt x="608" y="416"/>
                  </a:lnTo>
                  <a:lnTo>
                    <a:pt x="608" y="426"/>
                  </a:lnTo>
                  <a:lnTo>
                    <a:pt x="608" y="436"/>
                  </a:lnTo>
                  <a:lnTo>
                    <a:pt x="608" y="447"/>
                  </a:lnTo>
                  <a:lnTo>
                    <a:pt x="608" y="457"/>
                  </a:lnTo>
                  <a:lnTo>
                    <a:pt x="598" y="457"/>
                  </a:lnTo>
                  <a:lnTo>
                    <a:pt x="588" y="455"/>
                  </a:lnTo>
                  <a:lnTo>
                    <a:pt x="576" y="455"/>
                  </a:lnTo>
                  <a:lnTo>
                    <a:pt x="565" y="455"/>
                  </a:lnTo>
                  <a:lnTo>
                    <a:pt x="555" y="455"/>
                  </a:lnTo>
                  <a:lnTo>
                    <a:pt x="545" y="455"/>
                  </a:lnTo>
                  <a:lnTo>
                    <a:pt x="533" y="455"/>
                  </a:lnTo>
                  <a:lnTo>
                    <a:pt x="522" y="455"/>
                  </a:lnTo>
                  <a:lnTo>
                    <a:pt x="506" y="453"/>
                  </a:lnTo>
                  <a:lnTo>
                    <a:pt x="490" y="453"/>
                  </a:lnTo>
                  <a:lnTo>
                    <a:pt x="473" y="453"/>
                  </a:lnTo>
                  <a:lnTo>
                    <a:pt x="457" y="453"/>
                  </a:lnTo>
                  <a:lnTo>
                    <a:pt x="440" y="451"/>
                  </a:lnTo>
                  <a:lnTo>
                    <a:pt x="424" y="451"/>
                  </a:lnTo>
                  <a:lnTo>
                    <a:pt x="408" y="451"/>
                  </a:lnTo>
                  <a:lnTo>
                    <a:pt x="391" y="449"/>
                  </a:lnTo>
                  <a:lnTo>
                    <a:pt x="375" y="449"/>
                  </a:lnTo>
                  <a:lnTo>
                    <a:pt x="358" y="449"/>
                  </a:lnTo>
                  <a:lnTo>
                    <a:pt x="342" y="447"/>
                  </a:lnTo>
                  <a:lnTo>
                    <a:pt x="326" y="447"/>
                  </a:lnTo>
                  <a:lnTo>
                    <a:pt x="309" y="447"/>
                  </a:lnTo>
                  <a:lnTo>
                    <a:pt x="293" y="444"/>
                  </a:lnTo>
                  <a:lnTo>
                    <a:pt x="277" y="444"/>
                  </a:lnTo>
                  <a:lnTo>
                    <a:pt x="260" y="442"/>
                  </a:lnTo>
                  <a:lnTo>
                    <a:pt x="244" y="442"/>
                  </a:lnTo>
                  <a:lnTo>
                    <a:pt x="227" y="442"/>
                  </a:lnTo>
                  <a:lnTo>
                    <a:pt x="211" y="440"/>
                  </a:lnTo>
                  <a:lnTo>
                    <a:pt x="195" y="440"/>
                  </a:lnTo>
                  <a:lnTo>
                    <a:pt x="178" y="438"/>
                  </a:lnTo>
                  <a:lnTo>
                    <a:pt x="162" y="438"/>
                  </a:lnTo>
                  <a:lnTo>
                    <a:pt x="145" y="436"/>
                  </a:lnTo>
                  <a:lnTo>
                    <a:pt x="129" y="436"/>
                  </a:lnTo>
                  <a:lnTo>
                    <a:pt x="113" y="434"/>
                  </a:lnTo>
                  <a:lnTo>
                    <a:pt x="96" y="432"/>
                  </a:lnTo>
                  <a:lnTo>
                    <a:pt x="80" y="432"/>
                  </a:lnTo>
                  <a:lnTo>
                    <a:pt x="66" y="430"/>
                  </a:lnTo>
                  <a:lnTo>
                    <a:pt x="49" y="430"/>
                  </a:lnTo>
                  <a:lnTo>
                    <a:pt x="33" y="428"/>
                  </a:lnTo>
                  <a:lnTo>
                    <a:pt x="16" y="426"/>
                  </a:lnTo>
                  <a:lnTo>
                    <a:pt x="0" y="426"/>
                  </a:lnTo>
                  <a:lnTo>
                    <a:pt x="0" y="412"/>
                  </a:lnTo>
                  <a:lnTo>
                    <a:pt x="2" y="399"/>
                  </a:lnTo>
                  <a:lnTo>
                    <a:pt x="2" y="385"/>
                  </a:lnTo>
                  <a:lnTo>
                    <a:pt x="4" y="373"/>
                  </a:lnTo>
                  <a:lnTo>
                    <a:pt x="4" y="358"/>
                  </a:lnTo>
                  <a:lnTo>
                    <a:pt x="6" y="346"/>
                  </a:lnTo>
                  <a:lnTo>
                    <a:pt x="6" y="332"/>
                  </a:lnTo>
                  <a:lnTo>
                    <a:pt x="8" y="319"/>
                  </a:lnTo>
                  <a:lnTo>
                    <a:pt x="8" y="305"/>
                  </a:lnTo>
                  <a:lnTo>
                    <a:pt x="10" y="291"/>
                  </a:lnTo>
                  <a:lnTo>
                    <a:pt x="10" y="278"/>
                  </a:lnTo>
                  <a:lnTo>
                    <a:pt x="12" y="264"/>
                  </a:lnTo>
                  <a:lnTo>
                    <a:pt x="14" y="252"/>
                  </a:lnTo>
                  <a:lnTo>
                    <a:pt x="14" y="238"/>
                  </a:lnTo>
                  <a:lnTo>
                    <a:pt x="16" y="225"/>
                  </a:lnTo>
                  <a:lnTo>
                    <a:pt x="16" y="211"/>
                  </a:lnTo>
                  <a:lnTo>
                    <a:pt x="19" y="199"/>
                  </a:lnTo>
                  <a:lnTo>
                    <a:pt x="19" y="184"/>
                  </a:lnTo>
                  <a:lnTo>
                    <a:pt x="21" y="172"/>
                  </a:lnTo>
                  <a:lnTo>
                    <a:pt x="21" y="158"/>
                  </a:lnTo>
                  <a:lnTo>
                    <a:pt x="23" y="145"/>
                  </a:lnTo>
                  <a:lnTo>
                    <a:pt x="23" y="131"/>
                  </a:lnTo>
                  <a:lnTo>
                    <a:pt x="25" y="119"/>
                  </a:lnTo>
                  <a:lnTo>
                    <a:pt x="25" y="104"/>
                  </a:lnTo>
                  <a:lnTo>
                    <a:pt x="27" y="92"/>
                  </a:lnTo>
                  <a:lnTo>
                    <a:pt x="27" y="78"/>
                  </a:lnTo>
                  <a:lnTo>
                    <a:pt x="29" y="65"/>
                  </a:lnTo>
                  <a:lnTo>
                    <a:pt x="31" y="51"/>
                  </a:lnTo>
                  <a:lnTo>
                    <a:pt x="31" y="39"/>
                  </a:lnTo>
                  <a:lnTo>
                    <a:pt x="33" y="24"/>
                  </a:lnTo>
                  <a:lnTo>
                    <a:pt x="33" y="12"/>
                  </a:lnTo>
                  <a:lnTo>
                    <a:pt x="35" y="0"/>
                  </a:lnTo>
                  <a:lnTo>
                    <a:pt x="47" y="0"/>
                  </a:lnTo>
                  <a:lnTo>
                    <a:pt x="59" y="2"/>
                  </a:lnTo>
                  <a:lnTo>
                    <a:pt x="74" y="2"/>
                  </a:lnTo>
                  <a:lnTo>
                    <a:pt x="86" y="4"/>
                  </a:lnTo>
                  <a:lnTo>
                    <a:pt x="98" y="4"/>
                  </a:lnTo>
                  <a:lnTo>
                    <a:pt x="113" y="4"/>
                  </a:lnTo>
                  <a:lnTo>
                    <a:pt x="125" y="6"/>
                  </a:lnTo>
                  <a:lnTo>
                    <a:pt x="137" y="6"/>
                  </a:lnTo>
                  <a:lnTo>
                    <a:pt x="152" y="8"/>
                  </a:lnTo>
                  <a:lnTo>
                    <a:pt x="164" y="8"/>
                  </a:lnTo>
                  <a:lnTo>
                    <a:pt x="176" y="10"/>
                  </a:lnTo>
                  <a:lnTo>
                    <a:pt x="191" y="10"/>
                  </a:lnTo>
                  <a:lnTo>
                    <a:pt x="203" y="12"/>
                  </a:lnTo>
                  <a:lnTo>
                    <a:pt x="215" y="12"/>
                  </a:lnTo>
                  <a:lnTo>
                    <a:pt x="229" y="12"/>
                  </a:lnTo>
                  <a:lnTo>
                    <a:pt x="242" y="14"/>
                  </a:lnTo>
                  <a:lnTo>
                    <a:pt x="254" y="14"/>
                  </a:lnTo>
                  <a:lnTo>
                    <a:pt x="268" y="14"/>
                  </a:lnTo>
                  <a:lnTo>
                    <a:pt x="281" y="16"/>
                  </a:lnTo>
                  <a:lnTo>
                    <a:pt x="293" y="16"/>
                  </a:lnTo>
                  <a:lnTo>
                    <a:pt x="307" y="16"/>
                  </a:lnTo>
                  <a:lnTo>
                    <a:pt x="320" y="18"/>
                  </a:lnTo>
                  <a:lnTo>
                    <a:pt x="332" y="18"/>
                  </a:lnTo>
                  <a:lnTo>
                    <a:pt x="346" y="18"/>
                  </a:lnTo>
                  <a:lnTo>
                    <a:pt x="358" y="20"/>
                  </a:lnTo>
                  <a:lnTo>
                    <a:pt x="371" y="20"/>
                  </a:lnTo>
                  <a:lnTo>
                    <a:pt x="385" y="20"/>
                  </a:lnTo>
                  <a:lnTo>
                    <a:pt x="397" y="22"/>
                  </a:lnTo>
                  <a:lnTo>
                    <a:pt x="412" y="22"/>
                  </a:lnTo>
                  <a:lnTo>
                    <a:pt x="424" y="22"/>
                  </a:lnTo>
                  <a:lnTo>
                    <a:pt x="436" y="22"/>
                  </a:lnTo>
                  <a:lnTo>
                    <a:pt x="451" y="24"/>
                  </a:lnTo>
                  <a:lnTo>
                    <a:pt x="459" y="24"/>
                  </a:lnTo>
                  <a:lnTo>
                    <a:pt x="469" y="24"/>
                  </a:lnTo>
                  <a:lnTo>
                    <a:pt x="479" y="24"/>
                  </a:lnTo>
                  <a:lnTo>
                    <a:pt x="490" y="24"/>
                  </a:lnTo>
                  <a:lnTo>
                    <a:pt x="500" y="24"/>
                  </a:lnTo>
                  <a:lnTo>
                    <a:pt x="508" y="24"/>
                  </a:lnTo>
                  <a:lnTo>
                    <a:pt x="518" y="26"/>
                  </a:lnTo>
                  <a:lnTo>
                    <a:pt x="528" y="26"/>
                  </a:lnTo>
                  <a:lnTo>
                    <a:pt x="539" y="26"/>
                  </a:lnTo>
                  <a:lnTo>
                    <a:pt x="549" y="26"/>
                  </a:lnTo>
                  <a:lnTo>
                    <a:pt x="557" y="26"/>
                  </a:lnTo>
                  <a:lnTo>
                    <a:pt x="567" y="26"/>
                  </a:lnTo>
                  <a:lnTo>
                    <a:pt x="578" y="26"/>
                  </a:lnTo>
                  <a:lnTo>
                    <a:pt x="588" y="26"/>
                  </a:lnTo>
                  <a:lnTo>
                    <a:pt x="598" y="28"/>
                  </a:lnTo>
                  <a:lnTo>
                    <a:pt x="608" y="28"/>
                  </a:lnTo>
                  <a:lnTo>
                    <a:pt x="614" y="28"/>
                  </a:lnTo>
                  <a:lnTo>
                    <a:pt x="614" y="35"/>
                  </a:lnTo>
                  <a:lnTo>
                    <a:pt x="614" y="41"/>
                  </a:lnTo>
                  <a:lnTo>
                    <a:pt x="614" y="47"/>
                  </a:lnTo>
                  <a:lnTo>
                    <a:pt x="614" y="55"/>
                  </a:lnTo>
                  <a:lnTo>
                    <a:pt x="614" y="61"/>
                  </a:lnTo>
                  <a:lnTo>
                    <a:pt x="614" y="67"/>
                  </a:lnTo>
                  <a:lnTo>
                    <a:pt x="614" y="74"/>
                  </a:lnTo>
                  <a:lnTo>
                    <a:pt x="614" y="82"/>
                  </a:lnTo>
                  <a:lnTo>
                    <a:pt x="614" y="88"/>
                  </a:lnTo>
                  <a:lnTo>
                    <a:pt x="614" y="94"/>
                  </a:lnTo>
                  <a:lnTo>
                    <a:pt x="614" y="100"/>
                  </a:lnTo>
                  <a:lnTo>
                    <a:pt x="614" y="108"/>
                  </a:lnTo>
                  <a:lnTo>
                    <a:pt x="614" y="115"/>
                  </a:lnTo>
                  <a:lnTo>
                    <a:pt x="612" y="121"/>
                  </a:lnTo>
                  <a:lnTo>
                    <a:pt x="612" y="127"/>
                  </a:lnTo>
                  <a:lnTo>
                    <a:pt x="612" y="135"/>
                  </a:lnTo>
                  <a:lnTo>
                    <a:pt x="612" y="135"/>
                  </a:lnTo>
                  <a:close/>
                </a:path>
              </a:pathLst>
            </a:custGeom>
            <a:solidFill>
              <a:schemeClr val="bg1">
                <a:lumMod val="75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CO</a:t>
              </a:r>
            </a:p>
          </p:txBody>
        </p:sp>
        <p:sp>
          <p:nvSpPr>
            <p:cNvPr id="110" name="Freeform 51">
              <a:extLst>
                <a:ext uri="{FF2B5EF4-FFF2-40B4-BE49-F238E27FC236}">
                  <a16:creationId xmlns:a16="http://schemas.microsoft.com/office/drawing/2014/main" id="{8EDB5424-2A49-FA2A-9CD1-4A70537F1A50}"/>
                </a:ext>
              </a:extLst>
            </p:cNvPr>
            <p:cNvSpPr>
              <a:spLocks noEditPoints="1"/>
            </p:cNvSpPr>
            <p:nvPr/>
          </p:nvSpPr>
          <p:spPr bwMode="auto">
            <a:xfrm>
              <a:off x="711" y="693"/>
              <a:ext cx="760" cy="1125"/>
            </a:xfrm>
            <a:custGeom>
              <a:avLst/>
              <a:gdLst>
                <a:gd name="T0" fmla="*/ 350 w 760"/>
                <a:gd name="T1" fmla="*/ 1061 h 1125"/>
                <a:gd name="T2" fmla="*/ 260 w 760"/>
                <a:gd name="T3" fmla="*/ 998 h 1125"/>
                <a:gd name="T4" fmla="*/ 359 w 760"/>
                <a:gd name="T5" fmla="*/ 1004 h 1125"/>
                <a:gd name="T6" fmla="*/ 223 w 760"/>
                <a:gd name="T7" fmla="*/ 908 h 1125"/>
                <a:gd name="T8" fmla="*/ 234 w 760"/>
                <a:gd name="T9" fmla="*/ 918 h 1125"/>
                <a:gd name="T10" fmla="*/ 201 w 760"/>
                <a:gd name="T11" fmla="*/ 903 h 1125"/>
                <a:gd name="T12" fmla="*/ 242 w 760"/>
                <a:gd name="T13" fmla="*/ 906 h 1125"/>
                <a:gd name="T14" fmla="*/ 756 w 760"/>
                <a:gd name="T15" fmla="*/ 955 h 1125"/>
                <a:gd name="T16" fmla="*/ 741 w 760"/>
                <a:gd name="T17" fmla="*/ 934 h 1125"/>
                <a:gd name="T18" fmla="*/ 725 w 760"/>
                <a:gd name="T19" fmla="*/ 895 h 1125"/>
                <a:gd name="T20" fmla="*/ 518 w 760"/>
                <a:gd name="T21" fmla="*/ 617 h 1125"/>
                <a:gd name="T22" fmla="*/ 354 w 760"/>
                <a:gd name="T23" fmla="*/ 260 h 1125"/>
                <a:gd name="T24" fmla="*/ 178 w 760"/>
                <a:gd name="T25" fmla="*/ 28 h 1125"/>
                <a:gd name="T26" fmla="*/ 49 w 760"/>
                <a:gd name="T27" fmla="*/ 35 h 1125"/>
                <a:gd name="T28" fmla="*/ 37 w 760"/>
                <a:gd name="T29" fmla="*/ 90 h 1125"/>
                <a:gd name="T30" fmla="*/ 33 w 760"/>
                <a:gd name="T31" fmla="*/ 125 h 1125"/>
                <a:gd name="T32" fmla="*/ 12 w 760"/>
                <a:gd name="T33" fmla="*/ 139 h 1125"/>
                <a:gd name="T34" fmla="*/ 2 w 760"/>
                <a:gd name="T35" fmla="*/ 180 h 1125"/>
                <a:gd name="T36" fmla="*/ 33 w 760"/>
                <a:gd name="T37" fmla="*/ 246 h 1125"/>
                <a:gd name="T38" fmla="*/ 27 w 760"/>
                <a:gd name="T39" fmla="*/ 311 h 1125"/>
                <a:gd name="T40" fmla="*/ 57 w 760"/>
                <a:gd name="T41" fmla="*/ 387 h 1125"/>
                <a:gd name="T42" fmla="*/ 72 w 760"/>
                <a:gd name="T43" fmla="*/ 428 h 1125"/>
                <a:gd name="T44" fmla="*/ 66 w 760"/>
                <a:gd name="T45" fmla="*/ 434 h 1125"/>
                <a:gd name="T46" fmla="*/ 84 w 760"/>
                <a:gd name="T47" fmla="*/ 453 h 1125"/>
                <a:gd name="T48" fmla="*/ 100 w 760"/>
                <a:gd name="T49" fmla="*/ 455 h 1125"/>
                <a:gd name="T50" fmla="*/ 125 w 760"/>
                <a:gd name="T51" fmla="*/ 444 h 1125"/>
                <a:gd name="T52" fmla="*/ 152 w 760"/>
                <a:gd name="T53" fmla="*/ 451 h 1125"/>
                <a:gd name="T54" fmla="*/ 166 w 760"/>
                <a:gd name="T55" fmla="*/ 453 h 1125"/>
                <a:gd name="T56" fmla="*/ 178 w 760"/>
                <a:gd name="T57" fmla="*/ 451 h 1125"/>
                <a:gd name="T58" fmla="*/ 178 w 760"/>
                <a:gd name="T59" fmla="*/ 453 h 1125"/>
                <a:gd name="T60" fmla="*/ 164 w 760"/>
                <a:gd name="T61" fmla="*/ 457 h 1125"/>
                <a:gd name="T62" fmla="*/ 109 w 760"/>
                <a:gd name="T63" fmla="*/ 455 h 1125"/>
                <a:gd name="T64" fmla="*/ 123 w 760"/>
                <a:gd name="T65" fmla="*/ 490 h 1125"/>
                <a:gd name="T66" fmla="*/ 121 w 760"/>
                <a:gd name="T67" fmla="*/ 506 h 1125"/>
                <a:gd name="T68" fmla="*/ 105 w 760"/>
                <a:gd name="T69" fmla="*/ 492 h 1125"/>
                <a:gd name="T70" fmla="*/ 94 w 760"/>
                <a:gd name="T71" fmla="*/ 473 h 1125"/>
                <a:gd name="T72" fmla="*/ 94 w 760"/>
                <a:gd name="T73" fmla="*/ 528 h 1125"/>
                <a:gd name="T74" fmla="*/ 133 w 760"/>
                <a:gd name="T75" fmla="*/ 571 h 1125"/>
                <a:gd name="T76" fmla="*/ 125 w 760"/>
                <a:gd name="T77" fmla="*/ 604 h 1125"/>
                <a:gd name="T78" fmla="*/ 119 w 760"/>
                <a:gd name="T79" fmla="*/ 635 h 1125"/>
                <a:gd name="T80" fmla="*/ 143 w 760"/>
                <a:gd name="T81" fmla="*/ 676 h 1125"/>
                <a:gd name="T82" fmla="*/ 172 w 760"/>
                <a:gd name="T83" fmla="*/ 733 h 1125"/>
                <a:gd name="T84" fmla="*/ 182 w 760"/>
                <a:gd name="T85" fmla="*/ 768 h 1125"/>
                <a:gd name="T86" fmla="*/ 197 w 760"/>
                <a:gd name="T87" fmla="*/ 809 h 1125"/>
                <a:gd name="T88" fmla="*/ 195 w 760"/>
                <a:gd name="T89" fmla="*/ 844 h 1125"/>
                <a:gd name="T90" fmla="*/ 266 w 760"/>
                <a:gd name="T91" fmla="*/ 875 h 1125"/>
                <a:gd name="T92" fmla="*/ 305 w 760"/>
                <a:gd name="T93" fmla="*/ 899 h 1125"/>
                <a:gd name="T94" fmla="*/ 332 w 760"/>
                <a:gd name="T95" fmla="*/ 924 h 1125"/>
                <a:gd name="T96" fmla="*/ 373 w 760"/>
                <a:gd name="T97" fmla="*/ 959 h 1125"/>
                <a:gd name="T98" fmla="*/ 383 w 760"/>
                <a:gd name="T99" fmla="*/ 965 h 1125"/>
                <a:gd name="T100" fmla="*/ 445 w 760"/>
                <a:gd name="T101" fmla="*/ 1020 h 1125"/>
                <a:gd name="T102" fmla="*/ 459 w 760"/>
                <a:gd name="T103" fmla="*/ 1092 h 1125"/>
                <a:gd name="T104" fmla="*/ 459 w 760"/>
                <a:gd name="T105" fmla="*/ 1094 h 1125"/>
                <a:gd name="T106" fmla="*/ 533 w 760"/>
                <a:gd name="T107" fmla="*/ 1117 h 1125"/>
                <a:gd name="T108" fmla="*/ 674 w 760"/>
                <a:gd name="T109" fmla="*/ 1123 h 1125"/>
                <a:gd name="T110" fmla="*/ 711 w 760"/>
                <a:gd name="T111" fmla="*/ 1098 h 1125"/>
                <a:gd name="T112" fmla="*/ 694 w 760"/>
                <a:gd name="T113" fmla="*/ 1049 h 1125"/>
                <a:gd name="T114" fmla="*/ 719 w 760"/>
                <a:gd name="T115" fmla="*/ 1018 h 1125"/>
                <a:gd name="T116" fmla="*/ 725 w 760"/>
                <a:gd name="T117" fmla="*/ 990 h 1125"/>
                <a:gd name="T118" fmla="*/ 53 w 760"/>
                <a:gd name="T119" fmla="*/ 471 h 1125"/>
                <a:gd name="T120" fmla="*/ 109 w 760"/>
                <a:gd name="T121" fmla="*/ 469 h 1125"/>
                <a:gd name="T122" fmla="*/ 289 w 760"/>
                <a:gd name="T123" fmla="*/ 922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0" h="1125">
                  <a:moveTo>
                    <a:pt x="354" y="1057"/>
                  </a:moveTo>
                  <a:lnTo>
                    <a:pt x="352" y="1053"/>
                  </a:lnTo>
                  <a:lnTo>
                    <a:pt x="348" y="1049"/>
                  </a:lnTo>
                  <a:lnTo>
                    <a:pt x="346" y="1047"/>
                  </a:lnTo>
                  <a:lnTo>
                    <a:pt x="346" y="1043"/>
                  </a:lnTo>
                  <a:lnTo>
                    <a:pt x="346" y="1043"/>
                  </a:lnTo>
                  <a:lnTo>
                    <a:pt x="346" y="1041"/>
                  </a:lnTo>
                  <a:lnTo>
                    <a:pt x="344" y="1041"/>
                  </a:lnTo>
                  <a:lnTo>
                    <a:pt x="344" y="1039"/>
                  </a:lnTo>
                  <a:lnTo>
                    <a:pt x="344" y="1039"/>
                  </a:lnTo>
                  <a:lnTo>
                    <a:pt x="344" y="1037"/>
                  </a:lnTo>
                  <a:lnTo>
                    <a:pt x="342" y="1037"/>
                  </a:lnTo>
                  <a:lnTo>
                    <a:pt x="342" y="1037"/>
                  </a:lnTo>
                  <a:lnTo>
                    <a:pt x="340" y="1039"/>
                  </a:lnTo>
                  <a:lnTo>
                    <a:pt x="342" y="1043"/>
                  </a:lnTo>
                  <a:lnTo>
                    <a:pt x="344" y="1045"/>
                  </a:lnTo>
                  <a:lnTo>
                    <a:pt x="344" y="1049"/>
                  </a:lnTo>
                  <a:lnTo>
                    <a:pt x="346" y="1055"/>
                  </a:lnTo>
                  <a:lnTo>
                    <a:pt x="348" y="1059"/>
                  </a:lnTo>
                  <a:lnTo>
                    <a:pt x="350" y="1061"/>
                  </a:lnTo>
                  <a:lnTo>
                    <a:pt x="352" y="1061"/>
                  </a:lnTo>
                  <a:lnTo>
                    <a:pt x="352" y="1063"/>
                  </a:lnTo>
                  <a:lnTo>
                    <a:pt x="354" y="1063"/>
                  </a:lnTo>
                  <a:lnTo>
                    <a:pt x="354" y="1063"/>
                  </a:lnTo>
                  <a:lnTo>
                    <a:pt x="354" y="1063"/>
                  </a:lnTo>
                  <a:lnTo>
                    <a:pt x="356" y="1063"/>
                  </a:lnTo>
                  <a:lnTo>
                    <a:pt x="359" y="1063"/>
                  </a:lnTo>
                  <a:lnTo>
                    <a:pt x="359" y="1063"/>
                  </a:lnTo>
                  <a:lnTo>
                    <a:pt x="361" y="1063"/>
                  </a:lnTo>
                  <a:lnTo>
                    <a:pt x="356" y="1059"/>
                  </a:lnTo>
                  <a:lnTo>
                    <a:pt x="354" y="1057"/>
                  </a:lnTo>
                  <a:close/>
                  <a:moveTo>
                    <a:pt x="268" y="1000"/>
                  </a:moveTo>
                  <a:lnTo>
                    <a:pt x="264" y="998"/>
                  </a:lnTo>
                  <a:lnTo>
                    <a:pt x="264" y="998"/>
                  </a:lnTo>
                  <a:lnTo>
                    <a:pt x="264" y="996"/>
                  </a:lnTo>
                  <a:lnTo>
                    <a:pt x="262" y="996"/>
                  </a:lnTo>
                  <a:lnTo>
                    <a:pt x="262" y="996"/>
                  </a:lnTo>
                  <a:lnTo>
                    <a:pt x="260" y="996"/>
                  </a:lnTo>
                  <a:lnTo>
                    <a:pt x="258" y="996"/>
                  </a:lnTo>
                  <a:lnTo>
                    <a:pt x="260" y="998"/>
                  </a:lnTo>
                  <a:lnTo>
                    <a:pt x="262" y="1002"/>
                  </a:lnTo>
                  <a:lnTo>
                    <a:pt x="264" y="1004"/>
                  </a:lnTo>
                  <a:lnTo>
                    <a:pt x="266" y="1004"/>
                  </a:lnTo>
                  <a:lnTo>
                    <a:pt x="270" y="1004"/>
                  </a:lnTo>
                  <a:lnTo>
                    <a:pt x="270" y="1002"/>
                  </a:lnTo>
                  <a:lnTo>
                    <a:pt x="268" y="1000"/>
                  </a:lnTo>
                  <a:close/>
                  <a:moveTo>
                    <a:pt x="369" y="1000"/>
                  </a:moveTo>
                  <a:lnTo>
                    <a:pt x="361" y="996"/>
                  </a:lnTo>
                  <a:lnTo>
                    <a:pt x="361" y="996"/>
                  </a:lnTo>
                  <a:lnTo>
                    <a:pt x="354" y="992"/>
                  </a:lnTo>
                  <a:lnTo>
                    <a:pt x="352" y="990"/>
                  </a:lnTo>
                  <a:lnTo>
                    <a:pt x="350" y="990"/>
                  </a:lnTo>
                  <a:lnTo>
                    <a:pt x="350" y="992"/>
                  </a:lnTo>
                  <a:lnTo>
                    <a:pt x="350" y="994"/>
                  </a:lnTo>
                  <a:lnTo>
                    <a:pt x="352" y="994"/>
                  </a:lnTo>
                  <a:lnTo>
                    <a:pt x="354" y="996"/>
                  </a:lnTo>
                  <a:lnTo>
                    <a:pt x="356" y="996"/>
                  </a:lnTo>
                  <a:lnTo>
                    <a:pt x="359" y="998"/>
                  </a:lnTo>
                  <a:lnTo>
                    <a:pt x="359" y="1000"/>
                  </a:lnTo>
                  <a:lnTo>
                    <a:pt x="359" y="1004"/>
                  </a:lnTo>
                  <a:lnTo>
                    <a:pt x="359" y="1006"/>
                  </a:lnTo>
                  <a:lnTo>
                    <a:pt x="359" y="1008"/>
                  </a:lnTo>
                  <a:lnTo>
                    <a:pt x="361" y="1010"/>
                  </a:lnTo>
                  <a:lnTo>
                    <a:pt x="363" y="1010"/>
                  </a:lnTo>
                  <a:lnTo>
                    <a:pt x="363" y="1010"/>
                  </a:lnTo>
                  <a:lnTo>
                    <a:pt x="365" y="1010"/>
                  </a:lnTo>
                  <a:lnTo>
                    <a:pt x="367" y="1010"/>
                  </a:lnTo>
                  <a:lnTo>
                    <a:pt x="367" y="1010"/>
                  </a:lnTo>
                  <a:lnTo>
                    <a:pt x="369" y="1012"/>
                  </a:lnTo>
                  <a:lnTo>
                    <a:pt x="371" y="1012"/>
                  </a:lnTo>
                  <a:lnTo>
                    <a:pt x="373" y="1012"/>
                  </a:lnTo>
                  <a:lnTo>
                    <a:pt x="373" y="1010"/>
                  </a:lnTo>
                  <a:lnTo>
                    <a:pt x="369" y="1002"/>
                  </a:lnTo>
                  <a:lnTo>
                    <a:pt x="369" y="1000"/>
                  </a:lnTo>
                  <a:close/>
                  <a:moveTo>
                    <a:pt x="232" y="912"/>
                  </a:moveTo>
                  <a:lnTo>
                    <a:pt x="232" y="910"/>
                  </a:lnTo>
                  <a:lnTo>
                    <a:pt x="232" y="908"/>
                  </a:lnTo>
                  <a:lnTo>
                    <a:pt x="229" y="908"/>
                  </a:lnTo>
                  <a:lnTo>
                    <a:pt x="229" y="908"/>
                  </a:lnTo>
                  <a:lnTo>
                    <a:pt x="223" y="908"/>
                  </a:lnTo>
                  <a:lnTo>
                    <a:pt x="221" y="908"/>
                  </a:lnTo>
                  <a:lnTo>
                    <a:pt x="221" y="908"/>
                  </a:lnTo>
                  <a:lnTo>
                    <a:pt x="219" y="908"/>
                  </a:lnTo>
                  <a:lnTo>
                    <a:pt x="217" y="908"/>
                  </a:lnTo>
                  <a:lnTo>
                    <a:pt x="215" y="906"/>
                  </a:lnTo>
                  <a:lnTo>
                    <a:pt x="213" y="908"/>
                  </a:lnTo>
                  <a:lnTo>
                    <a:pt x="213" y="910"/>
                  </a:lnTo>
                  <a:lnTo>
                    <a:pt x="215" y="912"/>
                  </a:lnTo>
                  <a:lnTo>
                    <a:pt x="217" y="914"/>
                  </a:lnTo>
                  <a:lnTo>
                    <a:pt x="217" y="916"/>
                  </a:lnTo>
                  <a:lnTo>
                    <a:pt x="217" y="918"/>
                  </a:lnTo>
                  <a:lnTo>
                    <a:pt x="219" y="920"/>
                  </a:lnTo>
                  <a:lnTo>
                    <a:pt x="221" y="920"/>
                  </a:lnTo>
                  <a:lnTo>
                    <a:pt x="223" y="920"/>
                  </a:lnTo>
                  <a:lnTo>
                    <a:pt x="223" y="920"/>
                  </a:lnTo>
                  <a:lnTo>
                    <a:pt x="225" y="920"/>
                  </a:lnTo>
                  <a:lnTo>
                    <a:pt x="225" y="920"/>
                  </a:lnTo>
                  <a:lnTo>
                    <a:pt x="227" y="920"/>
                  </a:lnTo>
                  <a:lnTo>
                    <a:pt x="227" y="920"/>
                  </a:lnTo>
                  <a:lnTo>
                    <a:pt x="234" y="918"/>
                  </a:lnTo>
                  <a:lnTo>
                    <a:pt x="236" y="918"/>
                  </a:lnTo>
                  <a:lnTo>
                    <a:pt x="236" y="916"/>
                  </a:lnTo>
                  <a:lnTo>
                    <a:pt x="236" y="914"/>
                  </a:lnTo>
                  <a:lnTo>
                    <a:pt x="234" y="914"/>
                  </a:lnTo>
                  <a:lnTo>
                    <a:pt x="232" y="912"/>
                  </a:lnTo>
                  <a:close/>
                  <a:moveTo>
                    <a:pt x="207" y="903"/>
                  </a:moveTo>
                  <a:lnTo>
                    <a:pt x="207" y="901"/>
                  </a:lnTo>
                  <a:lnTo>
                    <a:pt x="207" y="901"/>
                  </a:lnTo>
                  <a:lnTo>
                    <a:pt x="205" y="901"/>
                  </a:lnTo>
                  <a:lnTo>
                    <a:pt x="205" y="899"/>
                  </a:lnTo>
                  <a:lnTo>
                    <a:pt x="205" y="899"/>
                  </a:lnTo>
                  <a:lnTo>
                    <a:pt x="203" y="897"/>
                  </a:lnTo>
                  <a:lnTo>
                    <a:pt x="203" y="899"/>
                  </a:lnTo>
                  <a:lnTo>
                    <a:pt x="201" y="899"/>
                  </a:lnTo>
                  <a:lnTo>
                    <a:pt x="199" y="899"/>
                  </a:lnTo>
                  <a:lnTo>
                    <a:pt x="197" y="901"/>
                  </a:lnTo>
                  <a:lnTo>
                    <a:pt x="197" y="901"/>
                  </a:lnTo>
                  <a:lnTo>
                    <a:pt x="197" y="901"/>
                  </a:lnTo>
                  <a:lnTo>
                    <a:pt x="199" y="901"/>
                  </a:lnTo>
                  <a:lnTo>
                    <a:pt x="201" y="903"/>
                  </a:lnTo>
                  <a:lnTo>
                    <a:pt x="203" y="903"/>
                  </a:lnTo>
                  <a:lnTo>
                    <a:pt x="209" y="906"/>
                  </a:lnTo>
                  <a:lnTo>
                    <a:pt x="209" y="903"/>
                  </a:lnTo>
                  <a:lnTo>
                    <a:pt x="207" y="903"/>
                  </a:lnTo>
                  <a:close/>
                  <a:moveTo>
                    <a:pt x="275" y="914"/>
                  </a:moveTo>
                  <a:lnTo>
                    <a:pt x="275" y="914"/>
                  </a:lnTo>
                  <a:lnTo>
                    <a:pt x="272" y="912"/>
                  </a:lnTo>
                  <a:lnTo>
                    <a:pt x="270" y="914"/>
                  </a:lnTo>
                  <a:lnTo>
                    <a:pt x="266" y="916"/>
                  </a:lnTo>
                  <a:lnTo>
                    <a:pt x="266" y="916"/>
                  </a:lnTo>
                  <a:lnTo>
                    <a:pt x="266" y="916"/>
                  </a:lnTo>
                  <a:lnTo>
                    <a:pt x="258" y="912"/>
                  </a:lnTo>
                  <a:lnTo>
                    <a:pt x="256" y="910"/>
                  </a:lnTo>
                  <a:lnTo>
                    <a:pt x="252" y="910"/>
                  </a:lnTo>
                  <a:lnTo>
                    <a:pt x="252" y="910"/>
                  </a:lnTo>
                  <a:lnTo>
                    <a:pt x="248" y="906"/>
                  </a:lnTo>
                  <a:lnTo>
                    <a:pt x="244" y="906"/>
                  </a:lnTo>
                  <a:lnTo>
                    <a:pt x="244" y="906"/>
                  </a:lnTo>
                  <a:lnTo>
                    <a:pt x="244" y="906"/>
                  </a:lnTo>
                  <a:lnTo>
                    <a:pt x="242" y="906"/>
                  </a:lnTo>
                  <a:lnTo>
                    <a:pt x="242" y="908"/>
                  </a:lnTo>
                  <a:lnTo>
                    <a:pt x="242" y="908"/>
                  </a:lnTo>
                  <a:lnTo>
                    <a:pt x="244" y="908"/>
                  </a:lnTo>
                  <a:lnTo>
                    <a:pt x="244" y="910"/>
                  </a:lnTo>
                  <a:lnTo>
                    <a:pt x="246" y="910"/>
                  </a:lnTo>
                  <a:lnTo>
                    <a:pt x="246" y="912"/>
                  </a:lnTo>
                  <a:lnTo>
                    <a:pt x="244" y="914"/>
                  </a:lnTo>
                  <a:lnTo>
                    <a:pt x="246" y="916"/>
                  </a:lnTo>
                  <a:lnTo>
                    <a:pt x="250" y="918"/>
                  </a:lnTo>
                  <a:lnTo>
                    <a:pt x="252" y="920"/>
                  </a:lnTo>
                  <a:lnTo>
                    <a:pt x="272" y="920"/>
                  </a:lnTo>
                  <a:lnTo>
                    <a:pt x="275" y="918"/>
                  </a:lnTo>
                  <a:lnTo>
                    <a:pt x="277" y="918"/>
                  </a:lnTo>
                  <a:lnTo>
                    <a:pt x="277" y="916"/>
                  </a:lnTo>
                  <a:lnTo>
                    <a:pt x="277" y="916"/>
                  </a:lnTo>
                  <a:lnTo>
                    <a:pt x="275" y="914"/>
                  </a:lnTo>
                  <a:close/>
                  <a:moveTo>
                    <a:pt x="760" y="959"/>
                  </a:moveTo>
                  <a:lnTo>
                    <a:pt x="760" y="959"/>
                  </a:lnTo>
                  <a:lnTo>
                    <a:pt x="758" y="957"/>
                  </a:lnTo>
                  <a:lnTo>
                    <a:pt x="756" y="955"/>
                  </a:lnTo>
                  <a:lnTo>
                    <a:pt x="756" y="953"/>
                  </a:lnTo>
                  <a:lnTo>
                    <a:pt x="754" y="953"/>
                  </a:lnTo>
                  <a:lnTo>
                    <a:pt x="748" y="947"/>
                  </a:lnTo>
                  <a:lnTo>
                    <a:pt x="746" y="944"/>
                  </a:lnTo>
                  <a:lnTo>
                    <a:pt x="746" y="944"/>
                  </a:lnTo>
                  <a:lnTo>
                    <a:pt x="744" y="942"/>
                  </a:lnTo>
                  <a:lnTo>
                    <a:pt x="744" y="942"/>
                  </a:lnTo>
                  <a:lnTo>
                    <a:pt x="744" y="942"/>
                  </a:lnTo>
                  <a:lnTo>
                    <a:pt x="744" y="940"/>
                  </a:lnTo>
                  <a:lnTo>
                    <a:pt x="744" y="940"/>
                  </a:lnTo>
                  <a:lnTo>
                    <a:pt x="741" y="940"/>
                  </a:lnTo>
                  <a:lnTo>
                    <a:pt x="741" y="940"/>
                  </a:lnTo>
                  <a:lnTo>
                    <a:pt x="741" y="940"/>
                  </a:lnTo>
                  <a:lnTo>
                    <a:pt x="739" y="940"/>
                  </a:lnTo>
                  <a:lnTo>
                    <a:pt x="739" y="938"/>
                  </a:lnTo>
                  <a:lnTo>
                    <a:pt x="739" y="938"/>
                  </a:lnTo>
                  <a:lnTo>
                    <a:pt x="739" y="936"/>
                  </a:lnTo>
                  <a:lnTo>
                    <a:pt x="739" y="936"/>
                  </a:lnTo>
                  <a:lnTo>
                    <a:pt x="739" y="934"/>
                  </a:lnTo>
                  <a:lnTo>
                    <a:pt x="741" y="934"/>
                  </a:lnTo>
                  <a:lnTo>
                    <a:pt x="739" y="932"/>
                  </a:lnTo>
                  <a:lnTo>
                    <a:pt x="739" y="932"/>
                  </a:lnTo>
                  <a:lnTo>
                    <a:pt x="739" y="930"/>
                  </a:lnTo>
                  <a:lnTo>
                    <a:pt x="739" y="928"/>
                  </a:lnTo>
                  <a:lnTo>
                    <a:pt x="737" y="928"/>
                  </a:lnTo>
                  <a:lnTo>
                    <a:pt x="737" y="926"/>
                  </a:lnTo>
                  <a:lnTo>
                    <a:pt x="737" y="926"/>
                  </a:lnTo>
                  <a:lnTo>
                    <a:pt x="737" y="922"/>
                  </a:lnTo>
                  <a:lnTo>
                    <a:pt x="737" y="922"/>
                  </a:lnTo>
                  <a:lnTo>
                    <a:pt x="737" y="922"/>
                  </a:lnTo>
                  <a:lnTo>
                    <a:pt x="737" y="920"/>
                  </a:lnTo>
                  <a:lnTo>
                    <a:pt x="733" y="908"/>
                  </a:lnTo>
                  <a:lnTo>
                    <a:pt x="731" y="908"/>
                  </a:lnTo>
                  <a:lnTo>
                    <a:pt x="729" y="906"/>
                  </a:lnTo>
                  <a:lnTo>
                    <a:pt x="727" y="903"/>
                  </a:lnTo>
                  <a:lnTo>
                    <a:pt x="729" y="901"/>
                  </a:lnTo>
                  <a:lnTo>
                    <a:pt x="727" y="899"/>
                  </a:lnTo>
                  <a:lnTo>
                    <a:pt x="727" y="897"/>
                  </a:lnTo>
                  <a:lnTo>
                    <a:pt x="727" y="895"/>
                  </a:lnTo>
                  <a:lnTo>
                    <a:pt x="725" y="895"/>
                  </a:lnTo>
                  <a:lnTo>
                    <a:pt x="725" y="895"/>
                  </a:lnTo>
                  <a:lnTo>
                    <a:pt x="723" y="893"/>
                  </a:lnTo>
                  <a:lnTo>
                    <a:pt x="725" y="881"/>
                  </a:lnTo>
                  <a:lnTo>
                    <a:pt x="725" y="879"/>
                  </a:lnTo>
                  <a:lnTo>
                    <a:pt x="711" y="862"/>
                  </a:lnTo>
                  <a:lnTo>
                    <a:pt x="696" y="844"/>
                  </a:lnTo>
                  <a:lnTo>
                    <a:pt x="682" y="828"/>
                  </a:lnTo>
                  <a:lnTo>
                    <a:pt x="668" y="809"/>
                  </a:lnTo>
                  <a:lnTo>
                    <a:pt x="655" y="795"/>
                  </a:lnTo>
                  <a:lnTo>
                    <a:pt x="643" y="778"/>
                  </a:lnTo>
                  <a:lnTo>
                    <a:pt x="631" y="764"/>
                  </a:lnTo>
                  <a:lnTo>
                    <a:pt x="619" y="748"/>
                  </a:lnTo>
                  <a:lnTo>
                    <a:pt x="608" y="731"/>
                  </a:lnTo>
                  <a:lnTo>
                    <a:pt x="596" y="717"/>
                  </a:lnTo>
                  <a:lnTo>
                    <a:pt x="584" y="701"/>
                  </a:lnTo>
                  <a:lnTo>
                    <a:pt x="572" y="686"/>
                  </a:lnTo>
                  <a:lnTo>
                    <a:pt x="559" y="668"/>
                  </a:lnTo>
                  <a:lnTo>
                    <a:pt x="545" y="651"/>
                  </a:lnTo>
                  <a:lnTo>
                    <a:pt x="531" y="635"/>
                  </a:lnTo>
                  <a:lnTo>
                    <a:pt x="518" y="617"/>
                  </a:lnTo>
                  <a:lnTo>
                    <a:pt x="504" y="600"/>
                  </a:lnTo>
                  <a:lnTo>
                    <a:pt x="492" y="584"/>
                  </a:lnTo>
                  <a:lnTo>
                    <a:pt x="477" y="565"/>
                  </a:lnTo>
                  <a:lnTo>
                    <a:pt x="465" y="549"/>
                  </a:lnTo>
                  <a:lnTo>
                    <a:pt x="449" y="528"/>
                  </a:lnTo>
                  <a:lnTo>
                    <a:pt x="432" y="508"/>
                  </a:lnTo>
                  <a:lnTo>
                    <a:pt x="414" y="487"/>
                  </a:lnTo>
                  <a:lnTo>
                    <a:pt x="397" y="467"/>
                  </a:lnTo>
                  <a:lnTo>
                    <a:pt x="381" y="446"/>
                  </a:lnTo>
                  <a:lnTo>
                    <a:pt x="365" y="424"/>
                  </a:lnTo>
                  <a:lnTo>
                    <a:pt x="348" y="403"/>
                  </a:lnTo>
                  <a:lnTo>
                    <a:pt x="332" y="383"/>
                  </a:lnTo>
                  <a:lnTo>
                    <a:pt x="332" y="381"/>
                  </a:lnTo>
                  <a:lnTo>
                    <a:pt x="332" y="377"/>
                  </a:lnTo>
                  <a:lnTo>
                    <a:pt x="336" y="356"/>
                  </a:lnTo>
                  <a:lnTo>
                    <a:pt x="340" y="338"/>
                  </a:lnTo>
                  <a:lnTo>
                    <a:pt x="344" y="317"/>
                  </a:lnTo>
                  <a:lnTo>
                    <a:pt x="346" y="299"/>
                  </a:lnTo>
                  <a:lnTo>
                    <a:pt x="350" y="280"/>
                  </a:lnTo>
                  <a:lnTo>
                    <a:pt x="354" y="260"/>
                  </a:lnTo>
                  <a:lnTo>
                    <a:pt x="356" y="242"/>
                  </a:lnTo>
                  <a:lnTo>
                    <a:pt x="361" y="221"/>
                  </a:lnTo>
                  <a:lnTo>
                    <a:pt x="365" y="203"/>
                  </a:lnTo>
                  <a:lnTo>
                    <a:pt x="369" y="184"/>
                  </a:lnTo>
                  <a:lnTo>
                    <a:pt x="371" y="164"/>
                  </a:lnTo>
                  <a:lnTo>
                    <a:pt x="375" y="145"/>
                  </a:lnTo>
                  <a:lnTo>
                    <a:pt x="379" y="127"/>
                  </a:lnTo>
                  <a:lnTo>
                    <a:pt x="381" y="106"/>
                  </a:lnTo>
                  <a:lnTo>
                    <a:pt x="385" y="88"/>
                  </a:lnTo>
                  <a:lnTo>
                    <a:pt x="389" y="69"/>
                  </a:lnTo>
                  <a:lnTo>
                    <a:pt x="369" y="65"/>
                  </a:lnTo>
                  <a:lnTo>
                    <a:pt x="346" y="61"/>
                  </a:lnTo>
                  <a:lnTo>
                    <a:pt x="326" y="57"/>
                  </a:lnTo>
                  <a:lnTo>
                    <a:pt x="305" y="53"/>
                  </a:lnTo>
                  <a:lnTo>
                    <a:pt x="283" y="49"/>
                  </a:lnTo>
                  <a:lnTo>
                    <a:pt x="262" y="45"/>
                  </a:lnTo>
                  <a:lnTo>
                    <a:pt x="242" y="41"/>
                  </a:lnTo>
                  <a:lnTo>
                    <a:pt x="221" y="37"/>
                  </a:lnTo>
                  <a:lnTo>
                    <a:pt x="199" y="33"/>
                  </a:lnTo>
                  <a:lnTo>
                    <a:pt x="178" y="28"/>
                  </a:lnTo>
                  <a:lnTo>
                    <a:pt x="158" y="22"/>
                  </a:lnTo>
                  <a:lnTo>
                    <a:pt x="137" y="18"/>
                  </a:lnTo>
                  <a:lnTo>
                    <a:pt x="115" y="14"/>
                  </a:lnTo>
                  <a:lnTo>
                    <a:pt x="94" y="10"/>
                  </a:lnTo>
                  <a:lnTo>
                    <a:pt x="74" y="6"/>
                  </a:lnTo>
                  <a:lnTo>
                    <a:pt x="53" y="0"/>
                  </a:lnTo>
                  <a:lnTo>
                    <a:pt x="53" y="0"/>
                  </a:lnTo>
                  <a:lnTo>
                    <a:pt x="51" y="0"/>
                  </a:lnTo>
                  <a:lnTo>
                    <a:pt x="51" y="2"/>
                  </a:lnTo>
                  <a:lnTo>
                    <a:pt x="51" y="4"/>
                  </a:lnTo>
                  <a:lnTo>
                    <a:pt x="51" y="4"/>
                  </a:lnTo>
                  <a:lnTo>
                    <a:pt x="49" y="14"/>
                  </a:lnTo>
                  <a:lnTo>
                    <a:pt x="47" y="16"/>
                  </a:lnTo>
                  <a:lnTo>
                    <a:pt x="45" y="18"/>
                  </a:lnTo>
                  <a:lnTo>
                    <a:pt x="41" y="22"/>
                  </a:lnTo>
                  <a:lnTo>
                    <a:pt x="41" y="22"/>
                  </a:lnTo>
                  <a:lnTo>
                    <a:pt x="43" y="24"/>
                  </a:lnTo>
                  <a:lnTo>
                    <a:pt x="47" y="26"/>
                  </a:lnTo>
                  <a:lnTo>
                    <a:pt x="49" y="33"/>
                  </a:lnTo>
                  <a:lnTo>
                    <a:pt x="49" y="35"/>
                  </a:lnTo>
                  <a:lnTo>
                    <a:pt x="49" y="37"/>
                  </a:lnTo>
                  <a:lnTo>
                    <a:pt x="49" y="39"/>
                  </a:lnTo>
                  <a:lnTo>
                    <a:pt x="49" y="41"/>
                  </a:lnTo>
                  <a:lnTo>
                    <a:pt x="51" y="43"/>
                  </a:lnTo>
                  <a:lnTo>
                    <a:pt x="51" y="43"/>
                  </a:lnTo>
                  <a:lnTo>
                    <a:pt x="49" y="47"/>
                  </a:lnTo>
                  <a:lnTo>
                    <a:pt x="49" y="47"/>
                  </a:lnTo>
                  <a:lnTo>
                    <a:pt x="49" y="49"/>
                  </a:lnTo>
                  <a:lnTo>
                    <a:pt x="51" y="49"/>
                  </a:lnTo>
                  <a:lnTo>
                    <a:pt x="51" y="49"/>
                  </a:lnTo>
                  <a:lnTo>
                    <a:pt x="51" y="51"/>
                  </a:lnTo>
                  <a:lnTo>
                    <a:pt x="51" y="51"/>
                  </a:lnTo>
                  <a:lnTo>
                    <a:pt x="49" y="55"/>
                  </a:lnTo>
                  <a:lnTo>
                    <a:pt x="49" y="61"/>
                  </a:lnTo>
                  <a:lnTo>
                    <a:pt x="49" y="65"/>
                  </a:lnTo>
                  <a:lnTo>
                    <a:pt x="45" y="71"/>
                  </a:lnTo>
                  <a:lnTo>
                    <a:pt x="45" y="76"/>
                  </a:lnTo>
                  <a:lnTo>
                    <a:pt x="41" y="82"/>
                  </a:lnTo>
                  <a:lnTo>
                    <a:pt x="39" y="86"/>
                  </a:lnTo>
                  <a:lnTo>
                    <a:pt x="37" y="90"/>
                  </a:lnTo>
                  <a:lnTo>
                    <a:pt x="35" y="90"/>
                  </a:lnTo>
                  <a:lnTo>
                    <a:pt x="35" y="92"/>
                  </a:lnTo>
                  <a:lnTo>
                    <a:pt x="35" y="94"/>
                  </a:lnTo>
                  <a:lnTo>
                    <a:pt x="35" y="96"/>
                  </a:lnTo>
                  <a:lnTo>
                    <a:pt x="33" y="98"/>
                  </a:lnTo>
                  <a:lnTo>
                    <a:pt x="35" y="102"/>
                  </a:lnTo>
                  <a:lnTo>
                    <a:pt x="37" y="104"/>
                  </a:lnTo>
                  <a:lnTo>
                    <a:pt x="35" y="106"/>
                  </a:lnTo>
                  <a:lnTo>
                    <a:pt x="27" y="121"/>
                  </a:lnTo>
                  <a:lnTo>
                    <a:pt x="23" y="127"/>
                  </a:lnTo>
                  <a:lnTo>
                    <a:pt x="21" y="129"/>
                  </a:lnTo>
                  <a:lnTo>
                    <a:pt x="23" y="127"/>
                  </a:lnTo>
                  <a:lnTo>
                    <a:pt x="25" y="127"/>
                  </a:lnTo>
                  <a:lnTo>
                    <a:pt x="29" y="121"/>
                  </a:lnTo>
                  <a:lnTo>
                    <a:pt x="29" y="121"/>
                  </a:lnTo>
                  <a:lnTo>
                    <a:pt x="33" y="121"/>
                  </a:lnTo>
                  <a:lnTo>
                    <a:pt x="35" y="121"/>
                  </a:lnTo>
                  <a:lnTo>
                    <a:pt x="35" y="123"/>
                  </a:lnTo>
                  <a:lnTo>
                    <a:pt x="35" y="123"/>
                  </a:lnTo>
                  <a:lnTo>
                    <a:pt x="33" y="125"/>
                  </a:lnTo>
                  <a:lnTo>
                    <a:pt x="31" y="125"/>
                  </a:lnTo>
                  <a:lnTo>
                    <a:pt x="29" y="125"/>
                  </a:lnTo>
                  <a:lnTo>
                    <a:pt x="27" y="125"/>
                  </a:lnTo>
                  <a:lnTo>
                    <a:pt x="27" y="127"/>
                  </a:lnTo>
                  <a:lnTo>
                    <a:pt x="23" y="129"/>
                  </a:lnTo>
                  <a:lnTo>
                    <a:pt x="23" y="131"/>
                  </a:lnTo>
                  <a:lnTo>
                    <a:pt x="21" y="135"/>
                  </a:lnTo>
                  <a:lnTo>
                    <a:pt x="19" y="137"/>
                  </a:lnTo>
                  <a:lnTo>
                    <a:pt x="19" y="135"/>
                  </a:lnTo>
                  <a:lnTo>
                    <a:pt x="16" y="133"/>
                  </a:lnTo>
                  <a:lnTo>
                    <a:pt x="16" y="133"/>
                  </a:lnTo>
                  <a:lnTo>
                    <a:pt x="19" y="131"/>
                  </a:lnTo>
                  <a:lnTo>
                    <a:pt x="19" y="131"/>
                  </a:lnTo>
                  <a:lnTo>
                    <a:pt x="14" y="133"/>
                  </a:lnTo>
                  <a:lnTo>
                    <a:pt x="12" y="135"/>
                  </a:lnTo>
                  <a:lnTo>
                    <a:pt x="12" y="139"/>
                  </a:lnTo>
                  <a:lnTo>
                    <a:pt x="12" y="139"/>
                  </a:lnTo>
                  <a:lnTo>
                    <a:pt x="12" y="139"/>
                  </a:lnTo>
                  <a:lnTo>
                    <a:pt x="12" y="139"/>
                  </a:lnTo>
                  <a:lnTo>
                    <a:pt x="12" y="139"/>
                  </a:lnTo>
                  <a:lnTo>
                    <a:pt x="10" y="139"/>
                  </a:lnTo>
                  <a:lnTo>
                    <a:pt x="10" y="139"/>
                  </a:lnTo>
                  <a:lnTo>
                    <a:pt x="10" y="141"/>
                  </a:lnTo>
                  <a:lnTo>
                    <a:pt x="10" y="141"/>
                  </a:lnTo>
                  <a:lnTo>
                    <a:pt x="6" y="145"/>
                  </a:lnTo>
                  <a:lnTo>
                    <a:pt x="6" y="147"/>
                  </a:lnTo>
                  <a:lnTo>
                    <a:pt x="4" y="149"/>
                  </a:lnTo>
                  <a:lnTo>
                    <a:pt x="2" y="151"/>
                  </a:lnTo>
                  <a:lnTo>
                    <a:pt x="2" y="153"/>
                  </a:lnTo>
                  <a:lnTo>
                    <a:pt x="2" y="155"/>
                  </a:lnTo>
                  <a:lnTo>
                    <a:pt x="0" y="158"/>
                  </a:lnTo>
                  <a:lnTo>
                    <a:pt x="0" y="158"/>
                  </a:lnTo>
                  <a:lnTo>
                    <a:pt x="0" y="160"/>
                  </a:lnTo>
                  <a:lnTo>
                    <a:pt x="0" y="162"/>
                  </a:lnTo>
                  <a:lnTo>
                    <a:pt x="2" y="170"/>
                  </a:lnTo>
                  <a:lnTo>
                    <a:pt x="2" y="172"/>
                  </a:lnTo>
                  <a:lnTo>
                    <a:pt x="0" y="176"/>
                  </a:lnTo>
                  <a:lnTo>
                    <a:pt x="0" y="178"/>
                  </a:lnTo>
                  <a:lnTo>
                    <a:pt x="0" y="180"/>
                  </a:lnTo>
                  <a:lnTo>
                    <a:pt x="2" y="180"/>
                  </a:lnTo>
                  <a:lnTo>
                    <a:pt x="10" y="192"/>
                  </a:lnTo>
                  <a:lnTo>
                    <a:pt x="14" y="196"/>
                  </a:lnTo>
                  <a:lnTo>
                    <a:pt x="14" y="199"/>
                  </a:lnTo>
                  <a:lnTo>
                    <a:pt x="16" y="205"/>
                  </a:lnTo>
                  <a:lnTo>
                    <a:pt x="16" y="205"/>
                  </a:lnTo>
                  <a:lnTo>
                    <a:pt x="16" y="207"/>
                  </a:lnTo>
                  <a:lnTo>
                    <a:pt x="16" y="209"/>
                  </a:lnTo>
                  <a:lnTo>
                    <a:pt x="19" y="209"/>
                  </a:lnTo>
                  <a:lnTo>
                    <a:pt x="19" y="209"/>
                  </a:lnTo>
                  <a:lnTo>
                    <a:pt x="21" y="211"/>
                  </a:lnTo>
                  <a:lnTo>
                    <a:pt x="23" y="213"/>
                  </a:lnTo>
                  <a:lnTo>
                    <a:pt x="31" y="233"/>
                  </a:lnTo>
                  <a:lnTo>
                    <a:pt x="31" y="235"/>
                  </a:lnTo>
                  <a:lnTo>
                    <a:pt x="29" y="240"/>
                  </a:lnTo>
                  <a:lnTo>
                    <a:pt x="31" y="242"/>
                  </a:lnTo>
                  <a:lnTo>
                    <a:pt x="31" y="244"/>
                  </a:lnTo>
                  <a:lnTo>
                    <a:pt x="31" y="244"/>
                  </a:lnTo>
                  <a:lnTo>
                    <a:pt x="31" y="244"/>
                  </a:lnTo>
                  <a:lnTo>
                    <a:pt x="33" y="246"/>
                  </a:lnTo>
                  <a:lnTo>
                    <a:pt x="33" y="246"/>
                  </a:lnTo>
                  <a:lnTo>
                    <a:pt x="33" y="248"/>
                  </a:lnTo>
                  <a:lnTo>
                    <a:pt x="33" y="250"/>
                  </a:lnTo>
                  <a:lnTo>
                    <a:pt x="31" y="256"/>
                  </a:lnTo>
                  <a:lnTo>
                    <a:pt x="31" y="264"/>
                  </a:lnTo>
                  <a:lnTo>
                    <a:pt x="31" y="264"/>
                  </a:lnTo>
                  <a:lnTo>
                    <a:pt x="29" y="264"/>
                  </a:lnTo>
                  <a:lnTo>
                    <a:pt x="29" y="266"/>
                  </a:lnTo>
                  <a:lnTo>
                    <a:pt x="27" y="272"/>
                  </a:lnTo>
                  <a:lnTo>
                    <a:pt x="25" y="278"/>
                  </a:lnTo>
                  <a:lnTo>
                    <a:pt x="23" y="283"/>
                  </a:lnTo>
                  <a:lnTo>
                    <a:pt x="23" y="287"/>
                  </a:lnTo>
                  <a:lnTo>
                    <a:pt x="23" y="289"/>
                  </a:lnTo>
                  <a:lnTo>
                    <a:pt x="23" y="289"/>
                  </a:lnTo>
                  <a:lnTo>
                    <a:pt x="23" y="291"/>
                  </a:lnTo>
                  <a:lnTo>
                    <a:pt x="23" y="293"/>
                  </a:lnTo>
                  <a:lnTo>
                    <a:pt x="23" y="299"/>
                  </a:lnTo>
                  <a:lnTo>
                    <a:pt x="23" y="301"/>
                  </a:lnTo>
                  <a:lnTo>
                    <a:pt x="25" y="301"/>
                  </a:lnTo>
                  <a:lnTo>
                    <a:pt x="27" y="309"/>
                  </a:lnTo>
                  <a:lnTo>
                    <a:pt x="27" y="311"/>
                  </a:lnTo>
                  <a:lnTo>
                    <a:pt x="25" y="313"/>
                  </a:lnTo>
                  <a:lnTo>
                    <a:pt x="25" y="315"/>
                  </a:lnTo>
                  <a:lnTo>
                    <a:pt x="25" y="317"/>
                  </a:lnTo>
                  <a:lnTo>
                    <a:pt x="25" y="319"/>
                  </a:lnTo>
                  <a:lnTo>
                    <a:pt x="25" y="321"/>
                  </a:lnTo>
                  <a:lnTo>
                    <a:pt x="23" y="324"/>
                  </a:lnTo>
                  <a:lnTo>
                    <a:pt x="23" y="324"/>
                  </a:lnTo>
                  <a:lnTo>
                    <a:pt x="21" y="326"/>
                  </a:lnTo>
                  <a:lnTo>
                    <a:pt x="21" y="328"/>
                  </a:lnTo>
                  <a:lnTo>
                    <a:pt x="23" y="332"/>
                  </a:lnTo>
                  <a:lnTo>
                    <a:pt x="27" y="340"/>
                  </a:lnTo>
                  <a:lnTo>
                    <a:pt x="31" y="344"/>
                  </a:lnTo>
                  <a:lnTo>
                    <a:pt x="31" y="346"/>
                  </a:lnTo>
                  <a:lnTo>
                    <a:pt x="31" y="346"/>
                  </a:lnTo>
                  <a:lnTo>
                    <a:pt x="33" y="348"/>
                  </a:lnTo>
                  <a:lnTo>
                    <a:pt x="35" y="352"/>
                  </a:lnTo>
                  <a:lnTo>
                    <a:pt x="37" y="354"/>
                  </a:lnTo>
                  <a:lnTo>
                    <a:pt x="47" y="377"/>
                  </a:lnTo>
                  <a:lnTo>
                    <a:pt x="49" y="381"/>
                  </a:lnTo>
                  <a:lnTo>
                    <a:pt x="57" y="387"/>
                  </a:lnTo>
                  <a:lnTo>
                    <a:pt x="59" y="391"/>
                  </a:lnTo>
                  <a:lnTo>
                    <a:pt x="62" y="397"/>
                  </a:lnTo>
                  <a:lnTo>
                    <a:pt x="64" y="399"/>
                  </a:lnTo>
                  <a:lnTo>
                    <a:pt x="62" y="406"/>
                  </a:lnTo>
                  <a:lnTo>
                    <a:pt x="62" y="408"/>
                  </a:lnTo>
                  <a:lnTo>
                    <a:pt x="62" y="406"/>
                  </a:lnTo>
                  <a:lnTo>
                    <a:pt x="64" y="403"/>
                  </a:lnTo>
                  <a:lnTo>
                    <a:pt x="68" y="408"/>
                  </a:lnTo>
                  <a:lnTo>
                    <a:pt x="68" y="410"/>
                  </a:lnTo>
                  <a:lnTo>
                    <a:pt x="68" y="412"/>
                  </a:lnTo>
                  <a:lnTo>
                    <a:pt x="68" y="414"/>
                  </a:lnTo>
                  <a:lnTo>
                    <a:pt x="68" y="414"/>
                  </a:lnTo>
                  <a:lnTo>
                    <a:pt x="70" y="418"/>
                  </a:lnTo>
                  <a:lnTo>
                    <a:pt x="72" y="424"/>
                  </a:lnTo>
                  <a:lnTo>
                    <a:pt x="76" y="430"/>
                  </a:lnTo>
                  <a:lnTo>
                    <a:pt x="76" y="432"/>
                  </a:lnTo>
                  <a:lnTo>
                    <a:pt x="76" y="434"/>
                  </a:lnTo>
                  <a:lnTo>
                    <a:pt x="76" y="432"/>
                  </a:lnTo>
                  <a:lnTo>
                    <a:pt x="74" y="430"/>
                  </a:lnTo>
                  <a:lnTo>
                    <a:pt x="72" y="428"/>
                  </a:lnTo>
                  <a:lnTo>
                    <a:pt x="72" y="424"/>
                  </a:lnTo>
                  <a:lnTo>
                    <a:pt x="72" y="422"/>
                  </a:lnTo>
                  <a:lnTo>
                    <a:pt x="68" y="418"/>
                  </a:lnTo>
                  <a:lnTo>
                    <a:pt x="66" y="416"/>
                  </a:lnTo>
                  <a:lnTo>
                    <a:pt x="68" y="422"/>
                  </a:lnTo>
                  <a:lnTo>
                    <a:pt x="68" y="424"/>
                  </a:lnTo>
                  <a:lnTo>
                    <a:pt x="62" y="434"/>
                  </a:lnTo>
                  <a:lnTo>
                    <a:pt x="59" y="438"/>
                  </a:lnTo>
                  <a:lnTo>
                    <a:pt x="57" y="440"/>
                  </a:lnTo>
                  <a:lnTo>
                    <a:pt x="59" y="440"/>
                  </a:lnTo>
                  <a:lnTo>
                    <a:pt x="62" y="440"/>
                  </a:lnTo>
                  <a:lnTo>
                    <a:pt x="62" y="440"/>
                  </a:lnTo>
                  <a:lnTo>
                    <a:pt x="62" y="440"/>
                  </a:lnTo>
                  <a:lnTo>
                    <a:pt x="62" y="440"/>
                  </a:lnTo>
                  <a:lnTo>
                    <a:pt x="64" y="438"/>
                  </a:lnTo>
                  <a:lnTo>
                    <a:pt x="64" y="438"/>
                  </a:lnTo>
                  <a:lnTo>
                    <a:pt x="66" y="436"/>
                  </a:lnTo>
                  <a:lnTo>
                    <a:pt x="66" y="436"/>
                  </a:lnTo>
                  <a:lnTo>
                    <a:pt x="66" y="436"/>
                  </a:lnTo>
                  <a:lnTo>
                    <a:pt x="66" y="434"/>
                  </a:lnTo>
                  <a:lnTo>
                    <a:pt x="66" y="434"/>
                  </a:lnTo>
                  <a:lnTo>
                    <a:pt x="66" y="434"/>
                  </a:lnTo>
                  <a:lnTo>
                    <a:pt x="66" y="432"/>
                  </a:lnTo>
                  <a:lnTo>
                    <a:pt x="68" y="432"/>
                  </a:lnTo>
                  <a:lnTo>
                    <a:pt x="68" y="432"/>
                  </a:lnTo>
                  <a:lnTo>
                    <a:pt x="68" y="436"/>
                  </a:lnTo>
                  <a:lnTo>
                    <a:pt x="70" y="438"/>
                  </a:lnTo>
                  <a:lnTo>
                    <a:pt x="76" y="442"/>
                  </a:lnTo>
                  <a:lnTo>
                    <a:pt x="76" y="442"/>
                  </a:lnTo>
                  <a:lnTo>
                    <a:pt x="76" y="442"/>
                  </a:lnTo>
                  <a:lnTo>
                    <a:pt x="78" y="444"/>
                  </a:lnTo>
                  <a:lnTo>
                    <a:pt x="78" y="449"/>
                  </a:lnTo>
                  <a:lnTo>
                    <a:pt x="78" y="449"/>
                  </a:lnTo>
                  <a:lnTo>
                    <a:pt x="80" y="451"/>
                  </a:lnTo>
                  <a:lnTo>
                    <a:pt x="80" y="451"/>
                  </a:lnTo>
                  <a:lnTo>
                    <a:pt x="82" y="455"/>
                  </a:lnTo>
                  <a:lnTo>
                    <a:pt x="84" y="455"/>
                  </a:lnTo>
                  <a:lnTo>
                    <a:pt x="84" y="455"/>
                  </a:lnTo>
                  <a:lnTo>
                    <a:pt x="84" y="455"/>
                  </a:lnTo>
                  <a:lnTo>
                    <a:pt x="84" y="453"/>
                  </a:lnTo>
                  <a:lnTo>
                    <a:pt x="88" y="457"/>
                  </a:lnTo>
                  <a:lnTo>
                    <a:pt x="90" y="461"/>
                  </a:lnTo>
                  <a:lnTo>
                    <a:pt x="92" y="463"/>
                  </a:lnTo>
                  <a:lnTo>
                    <a:pt x="94" y="465"/>
                  </a:lnTo>
                  <a:lnTo>
                    <a:pt x="96" y="465"/>
                  </a:lnTo>
                  <a:lnTo>
                    <a:pt x="96" y="467"/>
                  </a:lnTo>
                  <a:lnTo>
                    <a:pt x="98" y="467"/>
                  </a:lnTo>
                  <a:lnTo>
                    <a:pt x="100" y="465"/>
                  </a:lnTo>
                  <a:lnTo>
                    <a:pt x="100" y="465"/>
                  </a:lnTo>
                  <a:lnTo>
                    <a:pt x="100" y="463"/>
                  </a:lnTo>
                  <a:lnTo>
                    <a:pt x="100" y="461"/>
                  </a:lnTo>
                  <a:lnTo>
                    <a:pt x="100" y="461"/>
                  </a:lnTo>
                  <a:lnTo>
                    <a:pt x="102" y="461"/>
                  </a:lnTo>
                  <a:lnTo>
                    <a:pt x="102" y="463"/>
                  </a:lnTo>
                  <a:lnTo>
                    <a:pt x="102" y="463"/>
                  </a:lnTo>
                  <a:lnTo>
                    <a:pt x="105" y="461"/>
                  </a:lnTo>
                  <a:lnTo>
                    <a:pt x="102" y="459"/>
                  </a:lnTo>
                  <a:lnTo>
                    <a:pt x="100" y="457"/>
                  </a:lnTo>
                  <a:lnTo>
                    <a:pt x="100" y="455"/>
                  </a:lnTo>
                  <a:lnTo>
                    <a:pt x="100" y="455"/>
                  </a:lnTo>
                  <a:lnTo>
                    <a:pt x="102" y="453"/>
                  </a:lnTo>
                  <a:lnTo>
                    <a:pt x="102" y="453"/>
                  </a:lnTo>
                  <a:lnTo>
                    <a:pt x="100" y="453"/>
                  </a:lnTo>
                  <a:lnTo>
                    <a:pt x="102" y="451"/>
                  </a:lnTo>
                  <a:lnTo>
                    <a:pt x="102" y="451"/>
                  </a:lnTo>
                  <a:lnTo>
                    <a:pt x="105" y="451"/>
                  </a:lnTo>
                  <a:lnTo>
                    <a:pt x="105" y="449"/>
                  </a:lnTo>
                  <a:lnTo>
                    <a:pt x="102" y="446"/>
                  </a:lnTo>
                  <a:lnTo>
                    <a:pt x="102" y="444"/>
                  </a:lnTo>
                  <a:lnTo>
                    <a:pt x="105" y="438"/>
                  </a:lnTo>
                  <a:lnTo>
                    <a:pt x="105" y="436"/>
                  </a:lnTo>
                  <a:lnTo>
                    <a:pt x="107" y="436"/>
                  </a:lnTo>
                  <a:lnTo>
                    <a:pt x="109" y="436"/>
                  </a:lnTo>
                  <a:lnTo>
                    <a:pt x="111" y="434"/>
                  </a:lnTo>
                  <a:lnTo>
                    <a:pt x="113" y="432"/>
                  </a:lnTo>
                  <a:lnTo>
                    <a:pt x="121" y="438"/>
                  </a:lnTo>
                  <a:lnTo>
                    <a:pt x="123" y="440"/>
                  </a:lnTo>
                  <a:lnTo>
                    <a:pt x="123" y="442"/>
                  </a:lnTo>
                  <a:lnTo>
                    <a:pt x="123" y="442"/>
                  </a:lnTo>
                  <a:lnTo>
                    <a:pt x="125" y="444"/>
                  </a:lnTo>
                  <a:lnTo>
                    <a:pt x="127" y="444"/>
                  </a:lnTo>
                  <a:lnTo>
                    <a:pt x="131" y="449"/>
                  </a:lnTo>
                  <a:lnTo>
                    <a:pt x="133" y="449"/>
                  </a:lnTo>
                  <a:lnTo>
                    <a:pt x="133" y="449"/>
                  </a:lnTo>
                  <a:lnTo>
                    <a:pt x="135" y="449"/>
                  </a:lnTo>
                  <a:lnTo>
                    <a:pt x="139" y="446"/>
                  </a:lnTo>
                  <a:lnTo>
                    <a:pt x="139" y="444"/>
                  </a:lnTo>
                  <a:lnTo>
                    <a:pt x="139" y="444"/>
                  </a:lnTo>
                  <a:lnTo>
                    <a:pt x="141" y="442"/>
                  </a:lnTo>
                  <a:lnTo>
                    <a:pt x="141" y="442"/>
                  </a:lnTo>
                  <a:lnTo>
                    <a:pt x="141" y="440"/>
                  </a:lnTo>
                  <a:lnTo>
                    <a:pt x="143" y="440"/>
                  </a:lnTo>
                  <a:lnTo>
                    <a:pt x="146" y="440"/>
                  </a:lnTo>
                  <a:lnTo>
                    <a:pt x="148" y="440"/>
                  </a:lnTo>
                  <a:lnTo>
                    <a:pt x="148" y="442"/>
                  </a:lnTo>
                  <a:lnTo>
                    <a:pt x="148" y="442"/>
                  </a:lnTo>
                  <a:lnTo>
                    <a:pt x="146" y="446"/>
                  </a:lnTo>
                  <a:lnTo>
                    <a:pt x="150" y="449"/>
                  </a:lnTo>
                  <a:lnTo>
                    <a:pt x="154" y="449"/>
                  </a:lnTo>
                  <a:lnTo>
                    <a:pt x="152" y="451"/>
                  </a:lnTo>
                  <a:lnTo>
                    <a:pt x="152" y="451"/>
                  </a:lnTo>
                  <a:lnTo>
                    <a:pt x="152" y="451"/>
                  </a:lnTo>
                  <a:lnTo>
                    <a:pt x="152" y="453"/>
                  </a:lnTo>
                  <a:lnTo>
                    <a:pt x="154" y="453"/>
                  </a:lnTo>
                  <a:lnTo>
                    <a:pt x="156" y="453"/>
                  </a:lnTo>
                  <a:lnTo>
                    <a:pt x="156" y="453"/>
                  </a:lnTo>
                  <a:lnTo>
                    <a:pt x="156" y="451"/>
                  </a:lnTo>
                  <a:lnTo>
                    <a:pt x="158" y="451"/>
                  </a:lnTo>
                  <a:lnTo>
                    <a:pt x="160" y="453"/>
                  </a:lnTo>
                  <a:lnTo>
                    <a:pt x="162" y="453"/>
                  </a:lnTo>
                  <a:lnTo>
                    <a:pt x="166" y="453"/>
                  </a:lnTo>
                  <a:lnTo>
                    <a:pt x="166" y="451"/>
                  </a:lnTo>
                  <a:lnTo>
                    <a:pt x="170" y="449"/>
                  </a:lnTo>
                  <a:lnTo>
                    <a:pt x="172" y="446"/>
                  </a:lnTo>
                  <a:lnTo>
                    <a:pt x="172" y="446"/>
                  </a:lnTo>
                  <a:lnTo>
                    <a:pt x="172" y="449"/>
                  </a:lnTo>
                  <a:lnTo>
                    <a:pt x="170" y="451"/>
                  </a:lnTo>
                  <a:lnTo>
                    <a:pt x="170" y="451"/>
                  </a:lnTo>
                  <a:lnTo>
                    <a:pt x="168" y="453"/>
                  </a:lnTo>
                  <a:lnTo>
                    <a:pt x="166" y="453"/>
                  </a:lnTo>
                  <a:lnTo>
                    <a:pt x="166" y="453"/>
                  </a:lnTo>
                  <a:lnTo>
                    <a:pt x="164" y="453"/>
                  </a:lnTo>
                  <a:lnTo>
                    <a:pt x="164" y="453"/>
                  </a:lnTo>
                  <a:lnTo>
                    <a:pt x="164" y="455"/>
                  </a:lnTo>
                  <a:lnTo>
                    <a:pt x="164" y="455"/>
                  </a:lnTo>
                  <a:lnTo>
                    <a:pt x="164" y="455"/>
                  </a:lnTo>
                  <a:lnTo>
                    <a:pt x="164" y="457"/>
                  </a:lnTo>
                  <a:lnTo>
                    <a:pt x="168" y="457"/>
                  </a:lnTo>
                  <a:lnTo>
                    <a:pt x="170" y="457"/>
                  </a:lnTo>
                  <a:lnTo>
                    <a:pt x="172" y="455"/>
                  </a:lnTo>
                  <a:lnTo>
                    <a:pt x="172" y="453"/>
                  </a:lnTo>
                  <a:lnTo>
                    <a:pt x="172" y="453"/>
                  </a:lnTo>
                  <a:lnTo>
                    <a:pt x="174" y="451"/>
                  </a:lnTo>
                  <a:lnTo>
                    <a:pt x="174" y="451"/>
                  </a:lnTo>
                  <a:lnTo>
                    <a:pt x="174" y="453"/>
                  </a:lnTo>
                  <a:lnTo>
                    <a:pt x="174" y="453"/>
                  </a:lnTo>
                  <a:lnTo>
                    <a:pt x="176" y="453"/>
                  </a:lnTo>
                  <a:lnTo>
                    <a:pt x="176" y="453"/>
                  </a:lnTo>
                  <a:lnTo>
                    <a:pt x="176" y="451"/>
                  </a:lnTo>
                  <a:lnTo>
                    <a:pt x="178" y="451"/>
                  </a:lnTo>
                  <a:lnTo>
                    <a:pt x="180" y="453"/>
                  </a:lnTo>
                  <a:lnTo>
                    <a:pt x="180" y="453"/>
                  </a:lnTo>
                  <a:lnTo>
                    <a:pt x="182" y="453"/>
                  </a:lnTo>
                  <a:lnTo>
                    <a:pt x="186" y="459"/>
                  </a:lnTo>
                  <a:lnTo>
                    <a:pt x="189" y="461"/>
                  </a:lnTo>
                  <a:lnTo>
                    <a:pt x="189" y="461"/>
                  </a:lnTo>
                  <a:lnTo>
                    <a:pt x="191" y="463"/>
                  </a:lnTo>
                  <a:lnTo>
                    <a:pt x="191" y="465"/>
                  </a:lnTo>
                  <a:lnTo>
                    <a:pt x="191" y="465"/>
                  </a:lnTo>
                  <a:lnTo>
                    <a:pt x="189" y="465"/>
                  </a:lnTo>
                  <a:lnTo>
                    <a:pt x="189" y="463"/>
                  </a:lnTo>
                  <a:lnTo>
                    <a:pt x="186" y="461"/>
                  </a:lnTo>
                  <a:lnTo>
                    <a:pt x="186" y="459"/>
                  </a:lnTo>
                  <a:lnTo>
                    <a:pt x="184" y="459"/>
                  </a:lnTo>
                  <a:lnTo>
                    <a:pt x="182" y="459"/>
                  </a:lnTo>
                  <a:lnTo>
                    <a:pt x="180" y="455"/>
                  </a:lnTo>
                  <a:lnTo>
                    <a:pt x="180" y="455"/>
                  </a:lnTo>
                  <a:lnTo>
                    <a:pt x="180" y="455"/>
                  </a:lnTo>
                  <a:lnTo>
                    <a:pt x="180" y="453"/>
                  </a:lnTo>
                  <a:lnTo>
                    <a:pt x="178" y="453"/>
                  </a:lnTo>
                  <a:lnTo>
                    <a:pt x="178" y="453"/>
                  </a:lnTo>
                  <a:lnTo>
                    <a:pt x="178" y="453"/>
                  </a:lnTo>
                  <a:lnTo>
                    <a:pt x="176" y="453"/>
                  </a:lnTo>
                  <a:lnTo>
                    <a:pt x="176" y="453"/>
                  </a:lnTo>
                  <a:lnTo>
                    <a:pt x="174" y="453"/>
                  </a:lnTo>
                  <a:lnTo>
                    <a:pt x="174" y="453"/>
                  </a:lnTo>
                  <a:lnTo>
                    <a:pt x="172" y="455"/>
                  </a:lnTo>
                  <a:lnTo>
                    <a:pt x="172" y="455"/>
                  </a:lnTo>
                  <a:lnTo>
                    <a:pt x="172" y="455"/>
                  </a:lnTo>
                  <a:lnTo>
                    <a:pt x="172" y="457"/>
                  </a:lnTo>
                  <a:lnTo>
                    <a:pt x="172" y="457"/>
                  </a:lnTo>
                  <a:lnTo>
                    <a:pt x="170" y="457"/>
                  </a:lnTo>
                  <a:lnTo>
                    <a:pt x="170" y="457"/>
                  </a:lnTo>
                  <a:lnTo>
                    <a:pt x="168" y="457"/>
                  </a:lnTo>
                  <a:lnTo>
                    <a:pt x="168" y="459"/>
                  </a:lnTo>
                  <a:lnTo>
                    <a:pt x="168" y="459"/>
                  </a:lnTo>
                  <a:lnTo>
                    <a:pt x="170" y="459"/>
                  </a:lnTo>
                  <a:lnTo>
                    <a:pt x="170" y="461"/>
                  </a:lnTo>
                  <a:lnTo>
                    <a:pt x="168" y="459"/>
                  </a:lnTo>
                  <a:lnTo>
                    <a:pt x="164" y="457"/>
                  </a:lnTo>
                  <a:lnTo>
                    <a:pt x="154" y="455"/>
                  </a:lnTo>
                  <a:lnTo>
                    <a:pt x="150" y="453"/>
                  </a:lnTo>
                  <a:lnTo>
                    <a:pt x="139" y="449"/>
                  </a:lnTo>
                  <a:lnTo>
                    <a:pt x="139" y="449"/>
                  </a:lnTo>
                  <a:lnTo>
                    <a:pt x="133" y="451"/>
                  </a:lnTo>
                  <a:lnTo>
                    <a:pt x="131" y="451"/>
                  </a:lnTo>
                  <a:lnTo>
                    <a:pt x="131" y="451"/>
                  </a:lnTo>
                  <a:lnTo>
                    <a:pt x="127" y="446"/>
                  </a:lnTo>
                  <a:lnTo>
                    <a:pt x="125" y="446"/>
                  </a:lnTo>
                  <a:lnTo>
                    <a:pt x="125" y="446"/>
                  </a:lnTo>
                  <a:lnTo>
                    <a:pt x="123" y="446"/>
                  </a:lnTo>
                  <a:lnTo>
                    <a:pt x="117" y="451"/>
                  </a:lnTo>
                  <a:lnTo>
                    <a:pt x="117" y="451"/>
                  </a:lnTo>
                  <a:lnTo>
                    <a:pt x="115" y="451"/>
                  </a:lnTo>
                  <a:lnTo>
                    <a:pt x="115" y="451"/>
                  </a:lnTo>
                  <a:lnTo>
                    <a:pt x="115" y="449"/>
                  </a:lnTo>
                  <a:lnTo>
                    <a:pt x="113" y="449"/>
                  </a:lnTo>
                  <a:lnTo>
                    <a:pt x="113" y="451"/>
                  </a:lnTo>
                  <a:lnTo>
                    <a:pt x="111" y="453"/>
                  </a:lnTo>
                  <a:lnTo>
                    <a:pt x="109" y="455"/>
                  </a:lnTo>
                  <a:lnTo>
                    <a:pt x="109" y="455"/>
                  </a:lnTo>
                  <a:lnTo>
                    <a:pt x="109" y="459"/>
                  </a:lnTo>
                  <a:lnTo>
                    <a:pt x="113" y="461"/>
                  </a:lnTo>
                  <a:lnTo>
                    <a:pt x="115" y="463"/>
                  </a:lnTo>
                  <a:lnTo>
                    <a:pt x="115" y="467"/>
                  </a:lnTo>
                  <a:lnTo>
                    <a:pt x="113" y="471"/>
                  </a:lnTo>
                  <a:lnTo>
                    <a:pt x="113" y="473"/>
                  </a:lnTo>
                  <a:lnTo>
                    <a:pt x="113" y="475"/>
                  </a:lnTo>
                  <a:lnTo>
                    <a:pt x="115" y="475"/>
                  </a:lnTo>
                  <a:lnTo>
                    <a:pt x="119" y="479"/>
                  </a:lnTo>
                  <a:lnTo>
                    <a:pt x="121" y="479"/>
                  </a:lnTo>
                  <a:lnTo>
                    <a:pt x="117" y="481"/>
                  </a:lnTo>
                  <a:lnTo>
                    <a:pt x="117" y="481"/>
                  </a:lnTo>
                  <a:lnTo>
                    <a:pt x="119" y="481"/>
                  </a:lnTo>
                  <a:lnTo>
                    <a:pt x="117" y="483"/>
                  </a:lnTo>
                  <a:lnTo>
                    <a:pt x="119" y="483"/>
                  </a:lnTo>
                  <a:lnTo>
                    <a:pt x="121" y="483"/>
                  </a:lnTo>
                  <a:lnTo>
                    <a:pt x="121" y="483"/>
                  </a:lnTo>
                  <a:lnTo>
                    <a:pt x="121" y="485"/>
                  </a:lnTo>
                  <a:lnTo>
                    <a:pt x="123" y="490"/>
                  </a:lnTo>
                  <a:lnTo>
                    <a:pt x="123" y="502"/>
                  </a:lnTo>
                  <a:lnTo>
                    <a:pt x="125" y="506"/>
                  </a:lnTo>
                  <a:lnTo>
                    <a:pt x="125" y="506"/>
                  </a:lnTo>
                  <a:lnTo>
                    <a:pt x="127" y="508"/>
                  </a:lnTo>
                  <a:lnTo>
                    <a:pt x="127" y="508"/>
                  </a:lnTo>
                  <a:lnTo>
                    <a:pt x="129" y="508"/>
                  </a:lnTo>
                  <a:lnTo>
                    <a:pt x="129" y="510"/>
                  </a:lnTo>
                  <a:lnTo>
                    <a:pt x="129" y="510"/>
                  </a:lnTo>
                  <a:lnTo>
                    <a:pt x="129" y="510"/>
                  </a:lnTo>
                  <a:lnTo>
                    <a:pt x="129" y="510"/>
                  </a:lnTo>
                  <a:lnTo>
                    <a:pt x="129" y="512"/>
                  </a:lnTo>
                  <a:lnTo>
                    <a:pt x="129" y="512"/>
                  </a:lnTo>
                  <a:lnTo>
                    <a:pt x="131" y="512"/>
                  </a:lnTo>
                  <a:lnTo>
                    <a:pt x="129" y="514"/>
                  </a:lnTo>
                  <a:lnTo>
                    <a:pt x="127" y="514"/>
                  </a:lnTo>
                  <a:lnTo>
                    <a:pt x="125" y="512"/>
                  </a:lnTo>
                  <a:lnTo>
                    <a:pt x="123" y="512"/>
                  </a:lnTo>
                  <a:lnTo>
                    <a:pt x="123" y="510"/>
                  </a:lnTo>
                  <a:lnTo>
                    <a:pt x="123" y="508"/>
                  </a:lnTo>
                  <a:lnTo>
                    <a:pt x="121" y="506"/>
                  </a:lnTo>
                  <a:lnTo>
                    <a:pt x="121" y="506"/>
                  </a:lnTo>
                  <a:lnTo>
                    <a:pt x="119" y="506"/>
                  </a:lnTo>
                  <a:lnTo>
                    <a:pt x="119" y="504"/>
                  </a:lnTo>
                  <a:lnTo>
                    <a:pt x="119" y="504"/>
                  </a:lnTo>
                  <a:lnTo>
                    <a:pt x="117" y="504"/>
                  </a:lnTo>
                  <a:lnTo>
                    <a:pt x="117" y="504"/>
                  </a:lnTo>
                  <a:lnTo>
                    <a:pt x="117" y="502"/>
                  </a:lnTo>
                  <a:lnTo>
                    <a:pt x="115" y="502"/>
                  </a:lnTo>
                  <a:lnTo>
                    <a:pt x="115" y="500"/>
                  </a:lnTo>
                  <a:lnTo>
                    <a:pt x="115" y="500"/>
                  </a:lnTo>
                  <a:lnTo>
                    <a:pt x="113" y="500"/>
                  </a:lnTo>
                  <a:lnTo>
                    <a:pt x="113" y="498"/>
                  </a:lnTo>
                  <a:lnTo>
                    <a:pt x="113" y="498"/>
                  </a:lnTo>
                  <a:lnTo>
                    <a:pt x="111" y="498"/>
                  </a:lnTo>
                  <a:lnTo>
                    <a:pt x="109" y="496"/>
                  </a:lnTo>
                  <a:lnTo>
                    <a:pt x="109" y="494"/>
                  </a:lnTo>
                  <a:lnTo>
                    <a:pt x="109" y="494"/>
                  </a:lnTo>
                  <a:lnTo>
                    <a:pt x="107" y="494"/>
                  </a:lnTo>
                  <a:lnTo>
                    <a:pt x="105" y="494"/>
                  </a:lnTo>
                  <a:lnTo>
                    <a:pt x="105" y="492"/>
                  </a:lnTo>
                  <a:lnTo>
                    <a:pt x="105" y="492"/>
                  </a:lnTo>
                  <a:lnTo>
                    <a:pt x="105" y="490"/>
                  </a:lnTo>
                  <a:lnTo>
                    <a:pt x="105" y="490"/>
                  </a:lnTo>
                  <a:lnTo>
                    <a:pt x="105" y="487"/>
                  </a:lnTo>
                  <a:lnTo>
                    <a:pt x="105" y="487"/>
                  </a:lnTo>
                  <a:lnTo>
                    <a:pt x="107" y="479"/>
                  </a:lnTo>
                  <a:lnTo>
                    <a:pt x="107" y="479"/>
                  </a:lnTo>
                  <a:lnTo>
                    <a:pt x="107" y="479"/>
                  </a:lnTo>
                  <a:lnTo>
                    <a:pt x="109" y="479"/>
                  </a:lnTo>
                  <a:lnTo>
                    <a:pt x="107" y="479"/>
                  </a:lnTo>
                  <a:lnTo>
                    <a:pt x="107" y="477"/>
                  </a:lnTo>
                  <a:lnTo>
                    <a:pt x="107" y="477"/>
                  </a:lnTo>
                  <a:lnTo>
                    <a:pt x="107" y="475"/>
                  </a:lnTo>
                  <a:lnTo>
                    <a:pt x="107" y="471"/>
                  </a:lnTo>
                  <a:lnTo>
                    <a:pt x="107" y="471"/>
                  </a:lnTo>
                  <a:lnTo>
                    <a:pt x="105" y="469"/>
                  </a:lnTo>
                  <a:lnTo>
                    <a:pt x="100" y="469"/>
                  </a:lnTo>
                  <a:lnTo>
                    <a:pt x="98" y="469"/>
                  </a:lnTo>
                  <a:lnTo>
                    <a:pt x="98" y="469"/>
                  </a:lnTo>
                  <a:lnTo>
                    <a:pt x="94" y="473"/>
                  </a:lnTo>
                  <a:lnTo>
                    <a:pt x="94" y="477"/>
                  </a:lnTo>
                  <a:lnTo>
                    <a:pt x="94" y="483"/>
                  </a:lnTo>
                  <a:lnTo>
                    <a:pt x="94" y="487"/>
                  </a:lnTo>
                  <a:lnTo>
                    <a:pt x="94" y="490"/>
                  </a:lnTo>
                  <a:lnTo>
                    <a:pt x="92" y="492"/>
                  </a:lnTo>
                  <a:lnTo>
                    <a:pt x="90" y="494"/>
                  </a:lnTo>
                  <a:lnTo>
                    <a:pt x="90" y="500"/>
                  </a:lnTo>
                  <a:lnTo>
                    <a:pt x="90" y="500"/>
                  </a:lnTo>
                  <a:lnTo>
                    <a:pt x="92" y="500"/>
                  </a:lnTo>
                  <a:lnTo>
                    <a:pt x="92" y="500"/>
                  </a:lnTo>
                  <a:lnTo>
                    <a:pt x="94" y="502"/>
                  </a:lnTo>
                  <a:lnTo>
                    <a:pt x="94" y="504"/>
                  </a:lnTo>
                  <a:lnTo>
                    <a:pt x="94" y="508"/>
                  </a:lnTo>
                  <a:lnTo>
                    <a:pt x="96" y="510"/>
                  </a:lnTo>
                  <a:lnTo>
                    <a:pt x="96" y="512"/>
                  </a:lnTo>
                  <a:lnTo>
                    <a:pt x="96" y="514"/>
                  </a:lnTo>
                  <a:lnTo>
                    <a:pt x="96" y="516"/>
                  </a:lnTo>
                  <a:lnTo>
                    <a:pt x="96" y="518"/>
                  </a:lnTo>
                  <a:lnTo>
                    <a:pt x="94" y="524"/>
                  </a:lnTo>
                  <a:lnTo>
                    <a:pt x="94" y="528"/>
                  </a:lnTo>
                  <a:lnTo>
                    <a:pt x="92" y="531"/>
                  </a:lnTo>
                  <a:lnTo>
                    <a:pt x="94" y="537"/>
                  </a:lnTo>
                  <a:lnTo>
                    <a:pt x="96" y="539"/>
                  </a:lnTo>
                  <a:lnTo>
                    <a:pt x="96" y="541"/>
                  </a:lnTo>
                  <a:lnTo>
                    <a:pt x="96" y="543"/>
                  </a:lnTo>
                  <a:lnTo>
                    <a:pt x="96" y="543"/>
                  </a:lnTo>
                  <a:lnTo>
                    <a:pt x="102" y="549"/>
                  </a:lnTo>
                  <a:lnTo>
                    <a:pt x="105" y="555"/>
                  </a:lnTo>
                  <a:lnTo>
                    <a:pt x="107" y="559"/>
                  </a:lnTo>
                  <a:lnTo>
                    <a:pt x="113" y="565"/>
                  </a:lnTo>
                  <a:lnTo>
                    <a:pt x="115" y="565"/>
                  </a:lnTo>
                  <a:lnTo>
                    <a:pt x="117" y="565"/>
                  </a:lnTo>
                  <a:lnTo>
                    <a:pt x="119" y="565"/>
                  </a:lnTo>
                  <a:lnTo>
                    <a:pt x="121" y="565"/>
                  </a:lnTo>
                  <a:lnTo>
                    <a:pt x="123" y="565"/>
                  </a:lnTo>
                  <a:lnTo>
                    <a:pt x="123" y="567"/>
                  </a:lnTo>
                  <a:lnTo>
                    <a:pt x="127" y="565"/>
                  </a:lnTo>
                  <a:lnTo>
                    <a:pt x="129" y="567"/>
                  </a:lnTo>
                  <a:lnTo>
                    <a:pt x="131" y="567"/>
                  </a:lnTo>
                  <a:lnTo>
                    <a:pt x="133" y="571"/>
                  </a:lnTo>
                  <a:lnTo>
                    <a:pt x="135" y="582"/>
                  </a:lnTo>
                  <a:lnTo>
                    <a:pt x="137" y="586"/>
                  </a:lnTo>
                  <a:lnTo>
                    <a:pt x="135" y="592"/>
                  </a:lnTo>
                  <a:lnTo>
                    <a:pt x="135" y="592"/>
                  </a:lnTo>
                  <a:lnTo>
                    <a:pt x="135" y="592"/>
                  </a:lnTo>
                  <a:lnTo>
                    <a:pt x="137" y="592"/>
                  </a:lnTo>
                  <a:lnTo>
                    <a:pt x="137" y="592"/>
                  </a:lnTo>
                  <a:lnTo>
                    <a:pt x="137" y="592"/>
                  </a:lnTo>
                  <a:lnTo>
                    <a:pt x="137" y="594"/>
                  </a:lnTo>
                  <a:lnTo>
                    <a:pt x="137" y="594"/>
                  </a:lnTo>
                  <a:lnTo>
                    <a:pt x="137" y="594"/>
                  </a:lnTo>
                  <a:lnTo>
                    <a:pt x="135" y="594"/>
                  </a:lnTo>
                  <a:lnTo>
                    <a:pt x="133" y="594"/>
                  </a:lnTo>
                  <a:lnTo>
                    <a:pt x="133" y="594"/>
                  </a:lnTo>
                  <a:lnTo>
                    <a:pt x="131" y="600"/>
                  </a:lnTo>
                  <a:lnTo>
                    <a:pt x="131" y="602"/>
                  </a:lnTo>
                  <a:lnTo>
                    <a:pt x="129" y="602"/>
                  </a:lnTo>
                  <a:lnTo>
                    <a:pt x="127" y="604"/>
                  </a:lnTo>
                  <a:lnTo>
                    <a:pt x="125" y="604"/>
                  </a:lnTo>
                  <a:lnTo>
                    <a:pt x="125" y="604"/>
                  </a:lnTo>
                  <a:lnTo>
                    <a:pt x="123" y="602"/>
                  </a:lnTo>
                  <a:lnTo>
                    <a:pt x="121" y="602"/>
                  </a:lnTo>
                  <a:lnTo>
                    <a:pt x="121" y="602"/>
                  </a:lnTo>
                  <a:lnTo>
                    <a:pt x="119" y="604"/>
                  </a:lnTo>
                  <a:lnTo>
                    <a:pt x="117" y="606"/>
                  </a:lnTo>
                  <a:lnTo>
                    <a:pt x="117" y="608"/>
                  </a:lnTo>
                  <a:lnTo>
                    <a:pt x="119" y="608"/>
                  </a:lnTo>
                  <a:lnTo>
                    <a:pt x="119" y="610"/>
                  </a:lnTo>
                  <a:lnTo>
                    <a:pt x="121" y="610"/>
                  </a:lnTo>
                  <a:lnTo>
                    <a:pt x="121" y="612"/>
                  </a:lnTo>
                  <a:lnTo>
                    <a:pt x="119" y="612"/>
                  </a:lnTo>
                  <a:lnTo>
                    <a:pt x="117" y="612"/>
                  </a:lnTo>
                  <a:lnTo>
                    <a:pt x="117" y="615"/>
                  </a:lnTo>
                  <a:lnTo>
                    <a:pt x="117" y="617"/>
                  </a:lnTo>
                  <a:lnTo>
                    <a:pt x="119" y="621"/>
                  </a:lnTo>
                  <a:lnTo>
                    <a:pt x="119" y="627"/>
                  </a:lnTo>
                  <a:lnTo>
                    <a:pt x="117" y="631"/>
                  </a:lnTo>
                  <a:lnTo>
                    <a:pt x="117" y="631"/>
                  </a:lnTo>
                  <a:lnTo>
                    <a:pt x="119" y="635"/>
                  </a:lnTo>
                  <a:lnTo>
                    <a:pt x="119" y="635"/>
                  </a:lnTo>
                  <a:lnTo>
                    <a:pt x="119" y="637"/>
                  </a:lnTo>
                  <a:lnTo>
                    <a:pt x="119" y="637"/>
                  </a:lnTo>
                  <a:lnTo>
                    <a:pt x="119" y="639"/>
                  </a:lnTo>
                  <a:lnTo>
                    <a:pt x="119" y="639"/>
                  </a:lnTo>
                  <a:lnTo>
                    <a:pt x="121" y="639"/>
                  </a:lnTo>
                  <a:lnTo>
                    <a:pt x="121" y="641"/>
                  </a:lnTo>
                  <a:lnTo>
                    <a:pt x="121" y="643"/>
                  </a:lnTo>
                  <a:lnTo>
                    <a:pt x="121" y="643"/>
                  </a:lnTo>
                  <a:lnTo>
                    <a:pt x="121" y="645"/>
                  </a:lnTo>
                  <a:lnTo>
                    <a:pt x="123" y="645"/>
                  </a:lnTo>
                  <a:lnTo>
                    <a:pt x="125" y="647"/>
                  </a:lnTo>
                  <a:lnTo>
                    <a:pt x="131" y="653"/>
                  </a:lnTo>
                  <a:lnTo>
                    <a:pt x="133" y="658"/>
                  </a:lnTo>
                  <a:lnTo>
                    <a:pt x="137" y="666"/>
                  </a:lnTo>
                  <a:lnTo>
                    <a:pt x="137" y="670"/>
                  </a:lnTo>
                  <a:lnTo>
                    <a:pt x="137" y="672"/>
                  </a:lnTo>
                  <a:lnTo>
                    <a:pt x="139" y="672"/>
                  </a:lnTo>
                  <a:lnTo>
                    <a:pt x="141" y="674"/>
                  </a:lnTo>
                  <a:lnTo>
                    <a:pt x="143" y="674"/>
                  </a:lnTo>
                  <a:lnTo>
                    <a:pt x="143" y="676"/>
                  </a:lnTo>
                  <a:lnTo>
                    <a:pt x="146" y="678"/>
                  </a:lnTo>
                  <a:lnTo>
                    <a:pt x="146" y="680"/>
                  </a:lnTo>
                  <a:lnTo>
                    <a:pt x="146" y="682"/>
                  </a:lnTo>
                  <a:lnTo>
                    <a:pt x="146" y="684"/>
                  </a:lnTo>
                  <a:lnTo>
                    <a:pt x="146" y="686"/>
                  </a:lnTo>
                  <a:lnTo>
                    <a:pt x="146" y="688"/>
                  </a:lnTo>
                  <a:lnTo>
                    <a:pt x="148" y="690"/>
                  </a:lnTo>
                  <a:lnTo>
                    <a:pt x="150" y="694"/>
                  </a:lnTo>
                  <a:lnTo>
                    <a:pt x="150" y="697"/>
                  </a:lnTo>
                  <a:lnTo>
                    <a:pt x="152" y="699"/>
                  </a:lnTo>
                  <a:lnTo>
                    <a:pt x="154" y="701"/>
                  </a:lnTo>
                  <a:lnTo>
                    <a:pt x="156" y="703"/>
                  </a:lnTo>
                  <a:lnTo>
                    <a:pt x="156" y="709"/>
                  </a:lnTo>
                  <a:lnTo>
                    <a:pt x="158" y="715"/>
                  </a:lnTo>
                  <a:lnTo>
                    <a:pt x="158" y="717"/>
                  </a:lnTo>
                  <a:lnTo>
                    <a:pt x="164" y="719"/>
                  </a:lnTo>
                  <a:lnTo>
                    <a:pt x="166" y="721"/>
                  </a:lnTo>
                  <a:lnTo>
                    <a:pt x="168" y="723"/>
                  </a:lnTo>
                  <a:lnTo>
                    <a:pt x="170" y="729"/>
                  </a:lnTo>
                  <a:lnTo>
                    <a:pt x="172" y="733"/>
                  </a:lnTo>
                  <a:lnTo>
                    <a:pt x="174" y="737"/>
                  </a:lnTo>
                  <a:lnTo>
                    <a:pt x="176" y="740"/>
                  </a:lnTo>
                  <a:lnTo>
                    <a:pt x="178" y="742"/>
                  </a:lnTo>
                  <a:lnTo>
                    <a:pt x="184" y="744"/>
                  </a:lnTo>
                  <a:lnTo>
                    <a:pt x="186" y="746"/>
                  </a:lnTo>
                  <a:lnTo>
                    <a:pt x="186" y="748"/>
                  </a:lnTo>
                  <a:lnTo>
                    <a:pt x="186" y="750"/>
                  </a:lnTo>
                  <a:lnTo>
                    <a:pt x="186" y="752"/>
                  </a:lnTo>
                  <a:lnTo>
                    <a:pt x="186" y="754"/>
                  </a:lnTo>
                  <a:lnTo>
                    <a:pt x="189" y="756"/>
                  </a:lnTo>
                  <a:lnTo>
                    <a:pt x="189" y="758"/>
                  </a:lnTo>
                  <a:lnTo>
                    <a:pt x="189" y="758"/>
                  </a:lnTo>
                  <a:lnTo>
                    <a:pt x="186" y="758"/>
                  </a:lnTo>
                  <a:lnTo>
                    <a:pt x="186" y="758"/>
                  </a:lnTo>
                  <a:lnTo>
                    <a:pt x="186" y="756"/>
                  </a:lnTo>
                  <a:lnTo>
                    <a:pt x="186" y="754"/>
                  </a:lnTo>
                  <a:lnTo>
                    <a:pt x="182" y="762"/>
                  </a:lnTo>
                  <a:lnTo>
                    <a:pt x="182" y="764"/>
                  </a:lnTo>
                  <a:lnTo>
                    <a:pt x="182" y="766"/>
                  </a:lnTo>
                  <a:lnTo>
                    <a:pt x="182" y="768"/>
                  </a:lnTo>
                  <a:lnTo>
                    <a:pt x="184" y="770"/>
                  </a:lnTo>
                  <a:lnTo>
                    <a:pt x="189" y="774"/>
                  </a:lnTo>
                  <a:lnTo>
                    <a:pt x="191" y="776"/>
                  </a:lnTo>
                  <a:lnTo>
                    <a:pt x="191" y="776"/>
                  </a:lnTo>
                  <a:lnTo>
                    <a:pt x="193" y="776"/>
                  </a:lnTo>
                  <a:lnTo>
                    <a:pt x="195" y="776"/>
                  </a:lnTo>
                  <a:lnTo>
                    <a:pt x="197" y="776"/>
                  </a:lnTo>
                  <a:lnTo>
                    <a:pt x="197" y="776"/>
                  </a:lnTo>
                  <a:lnTo>
                    <a:pt x="199" y="778"/>
                  </a:lnTo>
                  <a:lnTo>
                    <a:pt x="199" y="778"/>
                  </a:lnTo>
                  <a:lnTo>
                    <a:pt x="201" y="781"/>
                  </a:lnTo>
                  <a:lnTo>
                    <a:pt x="201" y="781"/>
                  </a:lnTo>
                  <a:lnTo>
                    <a:pt x="201" y="785"/>
                  </a:lnTo>
                  <a:lnTo>
                    <a:pt x="201" y="789"/>
                  </a:lnTo>
                  <a:lnTo>
                    <a:pt x="199" y="793"/>
                  </a:lnTo>
                  <a:lnTo>
                    <a:pt x="199" y="797"/>
                  </a:lnTo>
                  <a:lnTo>
                    <a:pt x="195" y="803"/>
                  </a:lnTo>
                  <a:lnTo>
                    <a:pt x="193" y="805"/>
                  </a:lnTo>
                  <a:lnTo>
                    <a:pt x="195" y="805"/>
                  </a:lnTo>
                  <a:lnTo>
                    <a:pt x="197" y="809"/>
                  </a:lnTo>
                  <a:lnTo>
                    <a:pt x="197" y="809"/>
                  </a:lnTo>
                  <a:lnTo>
                    <a:pt x="197" y="811"/>
                  </a:lnTo>
                  <a:lnTo>
                    <a:pt x="197" y="811"/>
                  </a:lnTo>
                  <a:lnTo>
                    <a:pt x="197" y="813"/>
                  </a:lnTo>
                  <a:lnTo>
                    <a:pt x="197" y="815"/>
                  </a:lnTo>
                  <a:lnTo>
                    <a:pt x="195" y="819"/>
                  </a:lnTo>
                  <a:lnTo>
                    <a:pt x="193" y="822"/>
                  </a:lnTo>
                  <a:lnTo>
                    <a:pt x="195" y="824"/>
                  </a:lnTo>
                  <a:lnTo>
                    <a:pt x="195" y="826"/>
                  </a:lnTo>
                  <a:lnTo>
                    <a:pt x="195" y="828"/>
                  </a:lnTo>
                  <a:lnTo>
                    <a:pt x="195" y="830"/>
                  </a:lnTo>
                  <a:lnTo>
                    <a:pt x="193" y="832"/>
                  </a:lnTo>
                  <a:lnTo>
                    <a:pt x="193" y="834"/>
                  </a:lnTo>
                  <a:lnTo>
                    <a:pt x="191" y="834"/>
                  </a:lnTo>
                  <a:lnTo>
                    <a:pt x="191" y="838"/>
                  </a:lnTo>
                  <a:lnTo>
                    <a:pt x="189" y="840"/>
                  </a:lnTo>
                  <a:lnTo>
                    <a:pt x="189" y="840"/>
                  </a:lnTo>
                  <a:lnTo>
                    <a:pt x="191" y="842"/>
                  </a:lnTo>
                  <a:lnTo>
                    <a:pt x="193" y="844"/>
                  </a:lnTo>
                  <a:lnTo>
                    <a:pt x="195" y="844"/>
                  </a:lnTo>
                  <a:lnTo>
                    <a:pt x="197" y="844"/>
                  </a:lnTo>
                  <a:lnTo>
                    <a:pt x="199" y="848"/>
                  </a:lnTo>
                  <a:lnTo>
                    <a:pt x="201" y="852"/>
                  </a:lnTo>
                  <a:lnTo>
                    <a:pt x="203" y="856"/>
                  </a:lnTo>
                  <a:lnTo>
                    <a:pt x="207" y="856"/>
                  </a:lnTo>
                  <a:lnTo>
                    <a:pt x="215" y="856"/>
                  </a:lnTo>
                  <a:lnTo>
                    <a:pt x="227" y="858"/>
                  </a:lnTo>
                  <a:lnTo>
                    <a:pt x="232" y="860"/>
                  </a:lnTo>
                  <a:lnTo>
                    <a:pt x="236" y="862"/>
                  </a:lnTo>
                  <a:lnTo>
                    <a:pt x="240" y="862"/>
                  </a:lnTo>
                  <a:lnTo>
                    <a:pt x="246" y="865"/>
                  </a:lnTo>
                  <a:lnTo>
                    <a:pt x="254" y="871"/>
                  </a:lnTo>
                  <a:lnTo>
                    <a:pt x="256" y="871"/>
                  </a:lnTo>
                  <a:lnTo>
                    <a:pt x="258" y="871"/>
                  </a:lnTo>
                  <a:lnTo>
                    <a:pt x="260" y="871"/>
                  </a:lnTo>
                  <a:lnTo>
                    <a:pt x="260" y="871"/>
                  </a:lnTo>
                  <a:lnTo>
                    <a:pt x="262" y="873"/>
                  </a:lnTo>
                  <a:lnTo>
                    <a:pt x="264" y="873"/>
                  </a:lnTo>
                  <a:lnTo>
                    <a:pt x="266" y="875"/>
                  </a:lnTo>
                  <a:lnTo>
                    <a:pt x="266" y="875"/>
                  </a:lnTo>
                  <a:lnTo>
                    <a:pt x="268" y="875"/>
                  </a:lnTo>
                  <a:lnTo>
                    <a:pt x="268" y="875"/>
                  </a:lnTo>
                  <a:lnTo>
                    <a:pt x="270" y="873"/>
                  </a:lnTo>
                  <a:lnTo>
                    <a:pt x="275" y="873"/>
                  </a:lnTo>
                  <a:lnTo>
                    <a:pt x="277" y="875"/>
                  </a:lnTo>
                  <a:lnTo>
                    <a:pt x="279" y="875"/>
                  </a:lnTo>
                  <a:lnTo>
                    <a:pt x="279" y="875"/>
                  </a:lnTo>
                  <a:lnTo>
                    <a:pt x="281" y="875"/>
                  </a:lnTo>
                  <a:lnTo>
                    <a:pt x="283" y="877"/>
                  </a:lnTo>
                  <a:lnTo>
                    <a:pt x="287" y="881"/>
                  </a:lnTo>
                  <a:lnTo>
                    <a:pt x="291" y="883"/>
                  </a:lnTo>
                  <a:lnTo>
                    <a:pt x="299" y="893"/>
                  </a:lnTo>
                  <a:lnTo>
                    <a:pt x="301" y="895"/>
                  </a:lnTo>
                  <a:lnTo>
                    <a:pt x="303" y="895"/>
                  </a:lnTo>
                  <a:lnTo>
                    <a:pt x="303" y="895"/>
                  </a:lnTo>
                  <a:lnTo>
                    <a:pt x="303" y="895"/>
                  </a:lnTo>
                  <a:lnTo>
                    <a:pt x="305" y="897"/>
                  </a:lnTo>
                  <a:lnTo>
                    <a:pt x="303" y="897"/>
                  </a:lnTo>
                  <a:lnTo>
                    <a:pt x="303" y="899"/>
                  </a:lnTo>
                  <a:lnTo>
                    <a:pt x="305" y="899"/>
                  </a:lnTo>
                  <a:lnTo>
                    <a:pt x="305" y="901"/>
                  </a:lnTo>
                  <a:lnTo>
                    <a:pt x="305" y="901"/>
                  </a:lnTo>
                  <a:lnTo>
                    <a:pt x="305" y="903"/>
                  </a:lnTo>
                  <a:lnTo>
                    <a:pt x="305" y="906"/>
                  </a:lnTo>
                  <a:lnTo>
                    <a:pt x="305" y="906"/>
                  </a:lnTo>
                  <a:lnTo>
                    <a:pt x="305" y="908"/>
                  </a:lnTo>
                  <a:lnTo>
                    <a:pt x="307" y="908"/>
                  </a:lnTo>
                  <a:lnTo>
                    <a:pt x="307" y="908"/>
                  </a:lnTo>
                  <a:lnTo>
                    <a:pt x="307" y="910"/>
                  </a:lnTo>
                  <a:lnTo>
                    <a:pt x="307" y="910"/>
                  </a:lnTo>
                  <a:lnTo>
                    <a:pt x="311" y="914"/>
                  </a:lnTo>
                  <a:lnTo>
                    <a:pt x="313" y="916"/>
                  </a:lnTo>
                  <a:lnTo>
                    <a:pt x="315" y="916"/>
                  </a:lnTo>
                  <a:lnTo>
                    <a:pt x="315" y="916"/>
                  </a:lnTo>
                  <a:lnTo>
                    <a:pt x="313" y="916"/>
                  </a:lnTo>
                  <a:lnTo>
                    <a:pt x="313" y="916"/>
                  </a:lnTo>
                  <a:lnTo>
                    <a:pt x="313" y="914"/>
                  </a:lnTo>
                  <a:lnTo>
                    <a:pt x="315" y="916"/>
                  </a:lnTo>
                  <a:lnTo>
                    <a:pt x="324" y="920"/>
                  </a:lnTo>
                  <a:lnTo>
                    <a:pt x="332" y="924"/>
                  </a:lnTo>
                  <a:lnTo>
                    <a:pt x="336" y="926"/>
                  </a:lnTo>
                  <a:lnTo>
                    <a:pt x="338" y="928"/>
                  </a:lnTo>
                  <a:lnTo>
                    <a:pt x="340" y="930"/>
                  </a:lnTo>
                  <a:lnTo>
                    <a:pt x="342" y="930"/>
                  </a:lnTo>
                  <a:lnTo>
                    <a:pt x="344" y="928"/>
                  </a:lnTo>
                  <a:lnTo>
                    <a:pt x="356" y="930"/>
                  </a:lnTo>
                  <a:lnTo>
                    <a:pt x="359" y="930"/>
                  </a:lnTo>
                  <a:lnTo>
                    <a:pt x="359" y="930"/>
                  </a:lnTo>
                  <a:lnTo>
                    <a:pt x="359" y="930"/>
                  </a:lnTo>
                  <a:lnTo>
                    <a:pt x="361" y="930"/>
                  </a:lnTo>
                  <a:lnTo>
                    <a:pt x="363" y="930"/>
                  </a:lnTo>
                  <a:lnTo>
                    <a:pt x="365" y="930"/>
                  </a:lnTo>
                  <a:lnTo>
                    <a:pt x="367" y="932"/>
                  </a:lnTo>
                  <a:lnTo>
                    <a:pt x="369" y="936"/>
                  </a:lnTo>
                  <a:lnTo>
                    <a:pt x="371" y="942"/>
                  </a:lnTo>
                  <a:lnTo>
                    <a:pt x="373" y="947"/>
                  </a:lnTo>
                  <a:lnTo>
                    <a:pt x="373" y="951"/>
                  </a:lnTo>
                  <a:lnTo>
                    <a:pt x="375" y="953"/>
                  </a:lnTo>
                  <a:lnTo>
                    <a:pt x="373" y="955"/>
                  </a:lnTo>
                  <a:lnTo>
                    <a:pt x="373" y="959"/>
                  </a:lnTo>
                  <a:lnTo>
                    <a:pt x="373" y="959"/>
                  </a:lnTo>
                  <a:lnTo>
                    <a:pt x="371" y="961"/>
                  </a:lnTo>
                  <a:lnTo>
                    <a:pt x="371" y="963"/>
                  </a:lnTo>
                  <a:lnTo>
                    <a:pt x="371" y="965"/>
                  </a:lnTo>
                  <a:lnTo>
                    <a:pt x="373" y="965"/>
                  </a:lnTo>
                  <a:lnTo>
                    <a:pt x="373" y="967"/>
                  </a:lnTo>
                  <a:lnTo>
                    <a:pt x="373" y="967"/>
                  </a:lnTo>
                  <a:lnTo>
                    <a:pt x="375" y="967"/>
                  </a:lnTo>
                  <a:lnTo>
                    <a:pt x="375" y="965"/>
                  </a:lnTo>
                  <a:lnTo>
                    <a:pt x="377" y="967"/>
                  </a:lnTo>
                  <a:lnTo>
                    <a:pt x="377" y="969"/>
                  </a:lnTo>
                  <a:lnTo>
                    <a:pt x="377" y="969"/>
                  </a:lnTo>
                  <a:lnTo>
                    <a:pt x="379" y="969"/>
                  </a:lnTo>
                  <a:lnTo>
                    <a:pt x="379" y="971"/>
                  </a:lnTo>
                  <a:lnTo>
                    <a:pt x="381" y="971"/>
                  </a:lnTo>
                  <a:lnTo>
                    <a:pt x="381" y="971"/>
                  </a:lnTo>
                  <a:lnTo>
                    <a:pt x="383" y="969"/>
                  </a:lnTo>
                  <a:lnTo>
                    <a:pt x="383" y="969"/>
                  </a:lnTo>
                  <a:lnTo>
                    <a:pt x="383" y="969"/>
                  </a:lnTo>
                  <a:lnTo>
                    <a:pt x="383" y="965"/>
                  </a:lnTo>
                  <a:lnTo>
                    <a:pt x="385" y="965"/>
                  </a:lnTo>
                  <a:lnTo>
                    <a:pt x="385" y="965"/>
                  </a:lnTo>
                  <a:lnTo>
                    <a:pt x="387" y="965"/>
                  </a:lnTo>
                  <a:lnTo>
                    <a:pt x="387" y="965"/>
                  </a:lnTo>
                  <a:lnTo>
                    <a:pt x="387" y="965"/>
                  </a:lnTo>
                  <a:lnTo>
                    <a:pt x="389" y="965"/>
                  </a:lnTo>
                  <a:lnTo>
                    <a:pt x="391" y="967"/>
                  </a:lnTo>
                  <a:lnTo>
                    <a:pt x="393" y="967"/>
                  </a:lnTo>
                  <a:lnTo>
                    <a:pt x="395" y="967"/>
                  </a:lnTo>
                  <a:lnTo>
                    <a:pt x="397" y="967"/>
                  </a:lnTo>
                  <a:lnTo>
                    <a:pt x="408" y="981"/>
                  </a:lnTo>
                  <a:lnTo>
                    <a:pt x="410" y="985"/>
                  </a:lnTo>
                  <a:lnTo>
                    <a:pt x="420" y="992"/>
                  </a:lnTo>
                  <a:lnTo>
                    <a:pt x="424" y="996"/>
                  </a:lnTo>
                  <a:lnTo>
                    <a:pt x="426" y="1002"/>
                  </a:lnTo>
                  <a:lnTo>
                    <a:pt x="428" y="1002"/>
                  </a:lnTo>
                  <a:lnTo>
                    <a:pt x="432" y="1006"/>
                  </a:lnTo>
                  <a:lnTo>
                    <a:pt x="432" y="1008"/>
                  </a:lnTo>
                  <a:lnTo>
                    <a:pt x="436" y="1014"/>
                  </a:lnTo>
                  <a:lnTo>
                    <a:pt x="445" y="1020"/>
                  </a:lnTo>
                  <a:lnTo>
                    <a:pt x="455" y="1041"/>
                  </a:lnTo>
                  <a:lnTo>
                    <a:pt x="457" y="1051"/>
                  </a:lnTo>
                  <a:lnTo>
                    <a:pt x="459" y="1057"/>
                  </a:lnTo>
                  <a:lnTo>
                    <a:pt x="459" y="1059"/>
                  </a:lnTo>
                  <a:lnTo>
                    <a:pt x="459" y="1061"/>
                  </a:lnTo>
                  <a:lnTo>
                    <a:pt x="459" y="1072"/>
                  </a:lnTo>
                  <a:lnTo>
                    <a:pt x="459" y="1074"/>
                  </a:lnTo>
                  <a:lnTo>
                    <a:pt x="459" y="1076"/>
                  </a:lnTo>
                  <a:lnTo>
                    <a:pt x="457" y="1076"/>
                  </a:lnTo>
                  <a:lnTo>
                    <a:pt x="457" y="1078"/>
                  </a:lnTo>
                  <a:lnTo>
                    <a:pt x="455" y="1080"/>
                  </a:lnTo>
                  <a:lnTo>
                    <a:pt x="457" y="1084"/>
                  </a:lnTo>
                  <a:lnTo>
                    <a:pt x="457" y="1086"/>
                  </a:lnTo>
                  <a:lnTo>
                    <a:pt x="457" y="1088"/>
                  </a:lnTo>
                  <a:lnTo>
                    <a:pt x="455" y="1092"/>
                  </a:lnTo>
                  <a:lnTo>
                    <a:pt x="455" y="1092"/>
                  </a:lnTo>
                  <a:lnTo>
                    <a:pt x="457" y="1094"/>
                  </a:lnTo>
                  <a:lnTo>
                    <a:pt x="457" y="1096"/>
                  </a:lnTo>
                  <a:lnTo>
                    <a:pt x="457" y="1096"/>
                  </a:lnTo>
                  <a:lnTo>
                    <a:pt x="459" y="1092"/>
                  </a:lnTo>
                  <a:lnTo>
                    <a:pt x="459" y="1092"/>
                  </a:lnTo>
                  <a:lnTo>
                    <a:pt x="461" y="1090"/>
                  </a:lnTo>
                  <a:lnTo>
                    <a:pt x="461" y="1090"/>
                  </a:lnTo>
                  <a:lnTo>
                    <a:pt x="463" y="1092"/>
                  </a:lnTo>
                  <a:lnTo>
                    <a:pt x="463" y="1092"/>
                  </a:lnTo>
                  <a:lnTo>
                    <a:pt x="465" y="1094"/>
                  </a:lnTo>
                  <a:lnTo>
                    <a:pt x="467" y="1094"/>
                  </a:lnTo>
                  <a:lnTo>
                    <a:pt x="467" y="1098"/>
                  </a:lnTo>
                  <a:lnTo>
                    <a:pt x="469" y="1100"/>
                  </a:lnTo>
                  <a:lnTo>
                    <a:pt x="469" y="1102"/>
                  </a:lnTo>
                  <a:lnTo>
                    <a:pt x="467" y="1102"/>
                  </a:lnTo>
                  <a:lnTo>
                    <a:pt x="467" y="1102"/>
                  </a:lnTo>
                  <a:lnTo>
                    <a:pt x="467" y="1100"/>
                  </a:lnTo>
                  <a:lnTo>
                    <a:pt x="465" y="1098"/>
                  </a:lnTo>
                  <a:lnTo>
                    <a:pt x="465" y="1096"/>
                  </a:lnTo>
                  <a:lnTo>
                    <a:pt x="463" y="1094"/>
                  </a:lnTo>
                  <a:lnTo>
                    <a:pt x="463" y="1094"/>
                  </a:lnTo>
                  <a:lnTo>
                    <a:pt x="463" y="1092"/>
                  </a:lnTo>
                  <a:lnTo>
                    <a:pt x="461" y="1092"/>
                  </a:lnTo>
                  <a:lnTo>
                    <a:pt x="459" y="1094"/>
                  </a:lnTo>
                  <a:lnTo>
                    <a:pt x="459" y="1094"/>
                  </a:lnTo>
                  <a:lnTo>
                    <a:pt x="461" y="1094"/>
                  </a:lnTo>
                  <a:lnTo>
                    <a:pt x="463" y="1096"/>
                  </a:lnTo>
                  <a:lnTo>
                    <a:pt x="465" y="1100"/>
                  </a:lnTo>
                  <a:lnTo>
                    <a:pt x="465" y="1102"/>
                  </a:lnTo>
                  <a:lnTo>
                    <a:pt x="465" y="1106"/>
                  </a:lnTo>
                  <a:lnTo>
                    <a:pt x="465" y="1108"/>
                  </a:lnTo>
                  <a:lnTo>
                    <a:pt x="465" y="1110"/>
                  </a:lnTo>
                  <a:lnTo>
                    <a:pt x="465" y="1113"/>
                  </a:lnTo>
                  <a:lnTo>
                    <a:pt x="465" y="1113"/>
                  </a:lnTo>
                  <a:lnTo>
                    <a:pt x="471" y="1113"/>
                  </a:lnTo>
                  <a:lnTo>
                    <a:pt x="479" y="1113"/>
                  </a:lnTo>
                  <a:lnTo>
                    <a:pt x="485" y="1113"/>
                  </a:lnTo>
                  <a:lnTo>
                    <a:pt x="492" y="1115"/>
                  </a:lnTo>
                  <a:lnTo>
                    <a:pt x="498" y="1115"/>
                  </a:lnTo>
                  <a:lnTo>
                    <a:pt x="506" y="1115"/>
                  </a:lnTo>
                  <a:lnTo>
                    <a:pt x="512" y="1115"/>
                  </a:lnTo>
                  <a:lnTo>
                    <a:pt x="518" y="1115"/>
                  </a:lnTo>
                  <a:lnTo>
                    <a:pt x="526" y="1117"/>
                  </a:lnTo>
                  <a:lnTo>
                    <a:pt x="533" y="1117"/>
                  </a:lnTo>
                  <a:lnTo>
                    <a:pt x="539" y="1117"/>
                  </a:lnTo>
                  <a:lnTo>
                    <a:pt x="545" y="1117"/>
                  </a:lnTo>
                  <a:lnTo>
                    <a:pt x="553" y="1117"/>
                  </a:lnTo>
                  <a:lnTo>
                    <a:pt x="559" y="1117"/>
                  </a:lnTo>
                  <a:lnTo>
                    <a:pt x="565" y="1119"/>
                  </a:lnTo>
                  <a:lnTo>
                    <a:pt x="580" y="1119"/>
                  </a:lnTo>
                  <a:lnTo>
                    <a:pt x="586" y="1119"/>
                  </a:lnTo>
                  <a:lnTo>
                    <a:pt x="592" y="1119"/>
                  </a:lnTo>
                  <a:lnTo>
                    <a:pt x="600" y="1121"/>
                  </a:lnTo>
                  <a:lnTo>
                    <a:pt x="606" y="1121"/>
                  </a:lnTo>
                  <a:lnTo>
                    <a:pt x="612" y="1121"/>
                  </a:lnTo>
                  <a:lnTo>
                    <a:pt x="619" y="1121"/>
                  </a:lnTo>
                  <a:lnTo>
                    <a:pt x="627" y="1121"/>
                  </a:lnTo>
                  <a:lnTo>
                    <a:pt x="633" y="1121"/>
                  </a:lnTo>
                  <a:lnTo>
                    <a:pt x="639" y="1123"/>
                  </a:lnTo>
                  <a:lnTo>
                    <a:pt x="647" y="1123"/>
                  </a:lnTo>
                  <a:lnTo>
                    <a:pt x="653" y="1123"/>
                  </a:lnTo>
                  <a:lnTo>
                    <a:pt x="660" y="1123"/>
                  </a:lnTo>
                  <a:lnTo>
                    <a:pt x="666" y="1123"/>
                  </a:lnTo>
                  <a:lnTo>
                    <a:pt x="674" y="1123"/>
                  </a:lnTo>
                  <a:lnTo>
                    <a:pt x="680" y="1123"/>
                  </a:lnTo>
                  <a:lnTo>
                    <a:pt x="684" y="1123"/>
                  </a:lnTo>
                  <a:lnTo>
                    <a:pt x="684" y="1125"/>
                  </a:lnTo>
                  <a:lnTo>
                    <a:pt x="684" y="1123"/>
                  </a:lnTo>
                  <a:lnTo>
                    <a:pt x="688" y="1121"/>
                  </a:lnTo>
                  <a:lnTo>
                    <a:pt x="696" y="1123"/>
                  </a:lnTo>
                  <a:lnTo>
                    <a:pt x="701" y="1123"/>
                  </a:lnTo>
                  <a:lnTo>
                    <a:pt x="703" y="1123"/>
                  </a:lnTo>
                  <a:lnTo>
                    <a:pt x="703" y="1121"/>
                  </a:lnTo>
                  <a:lnTo>
                    <a:pt x="703" y="1119"/>
                  </a:lnTo>
                  <a:lnTo>
                    <a:pt x="703" y="1117"/>
                  </a:lnTo>
                  <a:lnTo>
                    <a:pt x="705" y="1115"/>
                  </a:lnTo>
                  <a:lnTo>
                    <a:pt x="709" y="1113"/>
                  </a:lnTo>
                  <a:lnTo>
                    <a:pt x="709" y="1113"/>
                  </a:lnTo>
                  <a:lnTo>
                    <a:pt x="711" y="1110"/>
                  </a:lnTo>
                  <a:lnTo>
                    <a:pt x="709" y="1102"/>
                  </a:lnTo>
                  <a:lnTo>
                    <a:pt x="709" y="1100"/>
                  </a:lnTo>
                  <a:lnTo>
                    <a:pt x="711" y="1100"/>
                  </a:lnTo>
                  <a:lnTo>
                    <a:pt x="711" y="1098"/>
                  </a:lnTo>
                  <a:lnTo>
                    <a:pt x="711" y="1098"/>
                  </a:lnTo>
                  <a:lnTo>
                    <a:pt x="709" y="1094"/>
                  </a:lnTo>
                  <a:lnTo>
                    <a:pt x="705" y="1092"/>
                  </a:lnTo>
                  <a:lnTo>
                    <a:pt x="696" y="1090"/>
                  </a:lnTo>
                  <a:lnTo>
                    <a:pt x="694" y="1088"/>
                  </a:lnTo>
                  <a:lnTo>
                    <a:pt x="692" y="1084"/>
                  </a:lnTo>
                  <a:lnTo>
                    <a:pt x="692" y="1080"/>
                  </a:lnTo>
                  <a:lnTo>
                    <a:pt x="694" y="1076"/>
                  </a:lnTo>
                  <a:lnTo>
                    <a:pt x="694" y="1072"/>
                  </a:lnTo>
                  <a:lnTo>
                    <a:pt x="694" y="1065"/>
                  </a:lnTo>
                  <a:lnTo>
                    <a:pt x="694" y="1063"/>
                  </a:lnTo>
                  <a:lnTo>
                    <a:pt x="692" y="1061"/>
                  </a:lnTo>
                  <a:lnTo>
                    <a:pt x="692" y="1059"/>
                  </a:lnTo>
                  <a:lnTo>
                    <a:pt x="694" y="1055"/>
                  </a:lnTo>
                  <a:lnTo>
                    <a:pt x="694" y="1055"/>
                  </a:lnTo>
                  <a:lnTo>
                    <a:pt x="694" y="1053"/>
                  </a:lnTo>
                  <a:lnTo>
                    <a:pt x="694" y="1053"/>
                  </a:lnTo>
                  <a:lnTo>
                    <a:pt x="694" y="1051"/>
                  </a:lnTo>
                  <a:lnTo>
                    <a:pt x="694" y="1051"/>
                  </a:lnTo>
                  <a:lnTo>
                    <a:pt x="692" y="1049"/>
                  </a:lnTo>
                  <a:lnTo>
                    <a:pt x="694" y="1049"/>
                  </a:lnTo>
                  <a:lnTo>
                    <a:pt x="698" y="1049"/>
                  </a:lnTo>
                  <a:lnTo>
                    <a:pt x="701" y="1049"/>
                  </a:lnTo>
                  <a:lnTo>
                    <a:pt x="703" y="1047"/>
                  </a:lnTo>
                  <a:lnTo>
                    <a:pt x="707" y="1041"/>
                  </a:lnTo>
                  <a:lnTo>
                    <a:pt x="709" y="1039"/>
                  </a:lnTo>
                  <a:lnTo>
                    <a:pt x="709" y="1039"/>
                  </a:lnTo>
                  <a:lnTo>
                    <a:pt x="711" y="1037"/>
                  </a:lnTo>
                  <a:lnTo>
                    <a:pt x="713" y="1035"/>
                  </a:lnTo>
                  <a:lnTo>
                    <a:pt x="713" y="1035"/>
                  </a:lnTo>
                  <a:lnTo>
                    <a:pt x="713" y="1033"/>
                  </a:lnTo>
                  <a:lnTo>
                    <a:pt x="713" y="1031"/>
                  </a:lnTo>
                  <a:lnTo>
                    <a:pt x="713" y="1028"/>
                  </a:lnTo>
                  <a:lnTo>
                    <a:pt x="715" y="1028"/>
                  </a:lnTo>
                  <a:lnTo>
                    <a:pt x="715" y="1028"/>
                  </a:lnTo>
                  <a:lnTo>
                    <a:pt x="715" y="1026"/>
                  </a:lnTo>
                  <a:lnTo>
                    <a:pt x="715" y="1024"/>
                  </a:lnTo>
                  <a:lnTo>
                    <a:pt x="715" y="1022"/>
                  </a:lnTo>
                  <a:lnTo>
                    <a:pt x="717" y="1020"/>
                  </a:lnTo>
                  <a:lnTo>
                    <a:pt x="719" y="1020"/>
                  </a:lnTo>
                  <a:lnTo>
                    <a:pt x="719" y="1018"/>
                  </a:lnTo>
                  <a:lnTo>
                    <a:pt x="719" y="1016"/>
                  </a:lnTo>
                  <a:lnTo>
                    <a:pt x="719" y="1014"/>
                  </a:lnTo>
                  <a:lnTo>
                    <a:pt x="719" y="1014"/>
                  </a:lnTo>
                  <a:lnTo>
                    <a:pt x="719" y="1014"/>
                  </a:lnTo>
                  <a:lnTo>
                    <a:pt x="719" y="1012"/>
                  </a:lnTo>
                  <a:lnTo>
                    <a:pt x="719" y="1012"/>
                  </a:lnTo>
                  <a:lnTo>
                    <a:pt x="719" y="1010"/>
                  </a:lnTo>
                  <a:lnTo>
                    <a:pt x="719" y="1010"/>
                  </a:lnTo>
                  <a:lnTo>
                    <a:pt x="719" y="1006"/>
                  </a:lnTo>
                  <a:lnTo>
                    <a:pt x="719" y="1004"/>
                  </a:lnTo>
                  <a:lnTo>
                    <a:pt x="719" y="1002"/>
                  </a:lnTo>
                  <a:lnTo>
                    <a:pt x="721" y="1002"/>
                  </a:lnTo>
                  <a:lnTo>
                    <a:pt x="721" y="1000"/>
                  </a:lnTo>
                  <a:lnTo>
                    <a:pt x="721" y="1000"/>
                  </a:lnTo>
                  <a:lnTo>
                    <a:pt x="719" y="998"/>
                  </a:lnTo>
                  <a:lnTo>
                    <a:pt x="719" y="996"/>
                  </a:lnTo>
                  <a:lnTo>
                    <a:pt x="719" y="996"/>
                  </a:lnTo>
                  <a:lnTo>
                    <a:pt x="719" y="992"/>
                  </a:lnTo>
                  <a:lnTo>
                    <a:pt x="721" y="992"/>
                  </a:lnTo>
                  <a:lnTo>
                    <a:pt x="725" y="990"/>
                  </a:lnTo>
                  <a:lnTo>
                    <a:pt x="727" y="988"/>
                  </a:lnTo>
                  <a:lnTo>
                    <a:pt x="729" y="988"/>
                  </a:lnTo>
                  <a:lnTo>
                    <a:pt x="729" y="985"/>
                  </a:lnTo>
                  <a:lnTo>
                    <a:pt x="731" y="979"/>
                  </a:lnTo>
                  <a:lnTo>
                    <a:pt x="733" y="977"/>
                  </a:lnTo>
                  <a:lnTo>
                    <a:pt x="733" y="977"/>
                  </a:lnTo>
                  <a:lnTo>
                    <a:pt x="737" y="977"/>
                  </a:lnTo>
                  <a:lnTo>
                    <a:pt x="748" y="971"/>
                  </a:lnTo>
                  <a:lnTo>
                    <a:pt x="750" y="971"/>
                  </a:lnTo>
                  <a:lnTo>
                    <a:pt x="752" y="967"/>
                  </a:lnTo>
                  <a:lnTo>
                    <a:pt x="756" y="965"/>
                  </a:lnTo>
                  <a:lnTo>
                    <a:pt x="758" y="963"/>
                  </a:lnTo>
                  <a:lnTo>
                    <a:pt x="760" y="961"/>
                  </a:lnTo>
                  <a:lnTo>
                    <a:pt x="760" y="959"/>
                  </a:lnTo>
                  <a:close/>
                  <a:moveTo>
                    <a:pt x="53" y="471"/>
                  </a:moveTo>
                  <a:lnTo>
                    <a:pt x="53" y="471"/>
                  </a:lnTo>
                  <a:lnTo>
                    <a:pt x="53" y="471"/>
                  </a:lnTo>
                  <a:lnTo>
                    <a:pt x="53" y="471"/>
                  </a:lnTo>
                  <a:lnTo>
                    <a:pt x="53" y="471"/>
                  </a:lnTo>
                  <a:lnTo>
                    <a:pt x="53" y="471"/>
                  </a:lnTo>
                  <a:lnTo>
                    <a:pt x="53" y="471"/>
                  </a:lnTo>
                  <a:lnTo>
                    <a:pt x="53" y="471"/>
                  </a:lnTo>
                  <a:lnTo>
                    <a:pt x="53" y="471"/>
                  </a:lnTo>
                  <a:lnTo>
                    <a:pt x="53" y="471"/>
                  </a:lnTo>
                  <a:close/>
                  <a:moveTo>
                    <a:pt x="105" y="463"/>
                  </a:moveTo>
                  <a:lnTo>
                    <a:pt x="105" y="463"/>
                  </a:lnTo>
                  <a:lnTo>
                    <a:pt x="105" y="463"/>
                  </a:lnTo>
                  <a:lnTo>
                    <a:pt x="105" y="463"/>
                  </a:lnTo>
                  <a:lnTo>
                    <a:pt x="102" y="463"/>
                  </a:lnTo>
                  <a:lnTo>
                    <a:pt x="102" y="463"/>
                  </a:lnTo>
                  <a:lnTo>
                    <a:pt x="102" y="463"/>
                  </a:lnTo>
                  <a:lnTo>
                    <a:pt x="105" y="465"/>
                  </a:lnTo>
                  <a:lnTo>
                    <a:pt x="105" y="465"/>
                  </a:lnTo>
                  <a:lnTo>
                    <a:pt x="105" y="463"/>
                  </a:lnTo>
                  <a:lnTo>
                    <a:pt x="105" y="463"/>
                  </a:lnTo>
                  <a:lnTo>
                    <a:pt x="105" y="463"/>
                  </a:lnTo>
                  <a:lnTo>
                    <a:pt x="105" y="463"/>
                  </a:lnTo>
                  <a:close/>
                  <a:moveTo>
                    <a:pt x="109" y="467"/>
                  </a:moveTo>
                  <a:lnTo>
                    <a:pt x="109" y="469"/>
                  </a:lnTo>
                  <a:lnTo>
                    <a:pt x="109" y="469"/>
                  </a:lnTo>
                  <a:lnTo>
                    <a:pt x="109" y="471"/>
                  </a:lnTo>
                  <a:lnTo>
                    <a:pt x="109" y="469"/>
                  </a:lnTo>
                  <a:lnTo>
                    <a:pt x="109" y="469"/>
                  </a:lnTo>
                  <a:lnTo>
                    <a:pt x="109" y="469"/>
                  </a:lnTo>
                  <a:lnTo>
                    <a:pt x="109" y="469"/>
                  </a:lnTo>
                  <a:lnTo>
                    <a:pt x="109" y="467"/>
                  </a:lnTo>
                  <a:lnTo>
                    <a:pt x="109" y="467"/>
                  </a:lnTo>
                  <a:lnTo>
                    <a:pt x="109" y="467"/>
                  </a:lnTo>
                  <a:lnTo>
                    <a:pt x="109" y="467"/>
                  </a:lnTo>
                  <a:close/>
                  <a:moveTo>
                    <a:pt x="289" y="920"/>
                  </a:moveTo>
                  <a:lnTo>
                    <a:pt x="287" y="920"/>
                  </a:lnTo>
                  <a:lnTo>
                    <a:pt x="287" y="920"/>
                  </a:lnTo>
                  <a:lnTo>
                    <a:pt x="285" y="920"/>
                  </a:lnTo>
                  <a:lnTo>
                    <a:pt x="285" y="920"/>
                  </a:lnTo>
                  <a:lnTo>
                    <a:pt x="285" y="920"/>
                  </a:lnTo>
                  <a:lnTo>
                    <a:pt x="285" y="920"/>
                  </a:lnTo>
                  <a:lnTo>
                    <a:pt x="287" y="920"/>
                  </a:lnTo>
                  <a:lnTo>
                    <a:pt x="287" y="920"/>
                  </a:lnTo>
                  <a:lnTo>
                    <a:pt x="289" y="922"/>
                  </a:lnTo>
                  <a:lnTo>
                    <a:pt x="289" y="922"/>
                  </a:lnTo>
                  <a:lnTo>
                    <a:pt x="289" y="920"/>
                  </a:lnTo>
                  <a:lnTo>
                    <a:pt x="289" y="920"/>
                  </a:lnTo>
                  <a:close/>
                  <a:moveTo>
                    <a:pt x="311" y="981"/>
                  </a:moveTo>
                  <a:lnTo>
                    <a:pt x="311" y="981"/>
                  </a:lnTo>
                  <a:lnTo>
                    <a:pt x="309" y="981"/>
                  </a:lnTo>
                  <a:lnTo>
                    <a:pt x="309" y="981"/>
                  </a:lnTo>
                  <a:lnTo>
                    <a:pt x="309" y="983"/>
                  </a:lnTo>
                  <a:lnTo>
                    <a:pt x="309" y="983"/>
                  </a:lnTo>
                  <a:lnTo>
                    <a:pt x="309" y="983"/>
                  </a:lnTo>
                  <a:lnTo>
                    <a:pt x="309" y="983"/>
                  </a:lnTo>
                  <a:lnTo>
                    <a:pt x="309" y="983"/>
                  </a:lnTo>
                  <a:lnTo>
                    <a:pt x="311" y="983"/>
                  </a:lnTo>
                  <a:lnTo>
                    <a:pt x="311" y="981"/>
                  </a:lnTo>
                  <a:lnTo>
                    <a:pt x="311" y="981"/>
                  </a:lnTo>
                  <a:lnTo>
                    <a:pt x="311" y="981"/>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28800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CA</a:t>
              </a:r>
            </a:p>
          </p:txBody>
        </p:sp>
        <p:sp>
          <p:nvSpPr>
            <p:cNvPr id="111" name="Freeform 52">
              <a:extLst>
                <a:ext uri="{FF2B5EF4-FFF2-40B4-BE49-F238E27FC236}">
                  <a16:creationId xmlns:a16="http://schemas.microsoft.com/office/drawing/2014/main" id="{0D600C59-9198-BE4B-8490-990AF2F2F086}"/>
                </a:ext>
              </a:extLst>
            </p:cNvPr>
            <p:cNvSpPr>
              <a:spLocks/>
            </p:cNvSpPr>
            <p:nvPr/>
          </p:nvSpPr>
          <p:spPr bwMode="auto">
            <a:xfrm>
              <a:off x="1380" y="1367"/>
              <a:ext cx="563" cy="654"/>
            </a:xfrm>
            <a:custGeom>
              <a:avLst/>
              <a:gdLst>
                <a:gd name="T0" fmla="*/ 545 w 563"/>
                <a:gd name="T1" fmla="*/ 254 h 654"/>
                <a:gd name="T2" fmla="*/ 534 w 563"/>
                <a:gd name="T3" fmla="*/ 387 h 654"/>
                <a:gd name="T4" fmla="*/ 524 w 563"/>
                <a:gd name="T5" fmla="*/ 520 h 654"/>
                <a:gd name="T6" fmla="*/ 512 w 563"/>
                <a:gd name="T7" fmla="*/ 654 h 654"/>
                <a:gd name="T8" fmla="*/ 512 w 563"/>
                <a:gd name="T9" fmla="*/ 654 h 654"/>
                <a:gd name="T10" fmla="*/ 512 w 563"/>
                <a:gd name="T11" fmla="*/ 654 h 654"/>
                <a:gd name="T12" fmla="*/ 512 w 563"/>
                <a:gd name="T13" fmla="*/ 654 h 654"/>
                <a:gd name="T14" fmla="*/ 512 w 563"/>
                <a:gd name="T15" fmla="*/ 654 h 654"/>
                <a:gd name="T16" fmla="*/ 502 w 563"/>
                <a:gd name="T17" fmla="*/ 654 h 654"/>
                <a:gd name="T18" fmla="*/ 475 w 563"/>
                <a:gd name="T19" fmla="*/ 652 h 654"/>
                <a:gd name="T20" fmla="*/ 448 w 563"/>
                <a:gd name="T21" fmla="*/ 650 h 654"/>
                <a:gd name="T22" fmla="*/ 420 w 563"/>
                <a:gd name="T23" fmla="*/ 645 h 654"/>
                <a:gd name="T24" fmla="*/ 393 w 563"/>
                <a:gd name="T25" fmla="*/ 643 h 654"/>
                <a:gd name="T26" fmla="*/ 364 w 563"/>
                <a:gd name="T27" fmla="*/ 641 h 654"/>
                <a:gd name="T28" fmla="*/ 338 w 563"/>
                <a:gd name="T29" fmla="*/ 639 h 654"/>
                <a:gd name="T30" fmla="*/ 307 w 563"/>
                <a:gd name="T31" fmla="*/ 627 h 654"/>
                <a:gd name="T32" fmla="*/ 180 w 563"/>
                <a:gd name="T33" fmla="*/ 564 h 654"/>
                <a:gd name="T34" fmla="*/ 0 w 563"/>
                <a:gd name="T35" fmla="*/ 471 h 654"/>
                <a:gd name="T36" fmla="*/ 4 w 563"/>
                <a:gd name="T37" fmla="*/ 459 h 654"/>
                <a:gd name="T38" fmla="*/ 10 w 563"/>
                <a:gd name="T39" fmla="*/ 453 h 654"/>
                <a:gd name="T40" fmla="*/ 31 w 563"/>
                <a:gd name="T41" fmla="*/ 447 h 654"/>
                <a:gd name="T42" fmla="*/ 37 w 563"/>
                <a:gd name="T43" fmla="*/ 428 h 654"/>
                <a:gd name="T44" fmla="*/ 24 w 563"/>
                <a:gd name="T45" fmla="*/ 416 h 654"/>
                <a:gd name="T46" fmla="*/ 22 w 563"/>
                <a:gd name="T47" fmla="*/ 389 h 654"/>
                <a:gd name="T48" fmla="*/ 22 w 563"/>
                <a:gd name="T49" fmla="*/ 377 h 654"/>
                <a:gd name="T50" fmla="*/ 35 w 563"/>
                <a:gd name="T51" fmla="*/ 367 h 654"/>
                <a:gd name="T52" fmla="*/ 41 w 563"/>
                <a:gd name="T53" fmla="*/ 357 h 654"/>
                <a:gd name="T54" fmla="*/ 45 w 563"/>
                <a:gd name="T55" fmla="*/ 346 h 654"/>
                <a:gd name="T56" fmla="*/ 47 w 563"/>
                <a:gd name="T57" fmla="*/ 338 h 654"/>
                <a:gd name="T58" fmla="*/ 49 w 563"/>
                <a:gd name="T59" fmla="*/ 328 h 654"/>
                <a:gd name="T60" fmla="*/ 49 w 563"/>
                <a:gd name="T61" fmla="*/ 318 h 654"/>
                <a:gd name="T62" fmla="*/ 61 w 563"/>
                <a:gd name="T63" fmla="*/ 303 h 654"/>
                <a:gd name="T64" fmla="*/ 88 w 563"/>
                <a:gd name="T65" fmla="*/ 287 h 654"/>
                <a:gd name="T66" fmla="*/ 76 w 563"/>
                <a:gd name="T67" fmla="*/ 273 h 654"/>
                <a:gd name="T68" fmla="*/ 72 w 563"/>
                <a:gd name="T69" fmla="*/ 266 h 654"/>
                <a:gd name="T70" fmla="*/ 67 w 563"/>
                <a:gd name="T71" fmla="*/ 262 h 654"/>
                <a:gd name="T72" fmla="*/ 67 w 563"/>
                <a:gd name="T73" fmla="*/ 254 h 654"/>
                <a:gd name="T74" fmla="*/ 65 w 563"/>
                <a:gd name="T75" fmla="*/ 246 h 654"/>
                <a:gd name="T76" fmla="*/ 55 w 563"/>
                <a:gd name="T77" fmla="*/ 223 h 654"/>
                <a:gd name="T78" fmla="*/ 53 w 563"/>
                <a:gd name="T79" fmla="*/ 205 h 654"/>
                <a:gd name="T80" fmla="*/ 53 w 563"/>
                <a:gd name="T81" fmla="*/ 191 h 654"/>
                <a:gd name="T82" fmla="*/ 61 w 563"/>
                <a:gd name="T83" fmla="*/ 184 h 654"/>
                <a:gd name="T84" fmla="*/ 57 w 563"/>
                <a:gd name="T85" fmla="*/ 156 h 654"/>
                <a:gd name="T86" fmla="*/ 57 w 563"/>
                <a:gd name="T87" fmla="*/ 127 h 654"/>
                <a:gd name="T88" fmla="*/ 61 w 563"/>
                <a:gd name="T89" fmla="*/ 111 h 654"/>
                <a:gd name="T90" fmla="*/ 59 w 563"/>
                <a:gd name="T91" fmla="*/ 92 h 654"/>
                <a:gd name="T92" fmla="*/ 61 w 563"/>
                <a:gd name="T93" fmla="*/ 86 h 654"/>
                <a:gd name="T94" fmla="*/ 82 w 563"/>
                <a:gd name="T95" fmla="*/ 86 h 654"/>
                <a:gd name="T96" fmla="*/ 86 w 563"/>
                <a:gd name="T97" fmla="*/ 88 h 654"/>
                <a:gd name="T98" fmla="*/ 92 w 563"/>
                <a:gd name="T99" fmla="*/ 86 h 654"/>
                <a:gd name="T100" fmla="*/ 96 w 563"/>
                <a:gd name="T101" fmla="*/ 96 h 654"/>
                <a:gd name="T102" fmla="*/ 110 w 563"/>
                <a:gd name="T103" fmla="*/ 100 h 654"/>
                <a:gd name="T104" fmla="*/ 121 w 563"/>
                <a:gd name="T105" fmla="*/ 82 h 654"/>
                <a:gd name="T106" fmla="*/ 125 w 563"/>
                <a:gd name="T107" fmla="*/ 53 h 654"/>
                <a:gd name="T108" fmla="*/ 131 w 563"/>
                <a:gd name="T109" fmla="*/ 6 h 654"/>
                <a:gd name="T110" fmla="*/ 186 w 563"/>
                <a:gd name="T111" fmla="*/ 6 h 654"/>
                <a:gd name="T112" fmla="*/ 280 w 563"/>
                <a:gd name="T113" fmla="*/ 16 h 654"/>
                <a:gd name="T114" fmla="*/ 373 w 563"/>
                <a:gd name="T115" fmla="*/ 27 h 654"/>
                <a:gd name="T116" fmla="*/ 469 w 563"/>
                <a:gd name="T117" fmla="*/ 37 h 654"/>
                <a:gd name="T118" fmla="*/ 563 w 563"/>
                <a:gd name="T119" fmla="*/ 45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3" h="654">
                  <a:moveTo>
                    <a:pt x="555" y="139"/>
                  </a:moveTo>
                  <a:lnTo>
                    <a:pt x="553" y="158"/>
                  </a:lnTo>
                  <a:lnTo>
                    <a:pt x="551" y="178"/>
                  </a:lnTo>
                  <a:lnTo>
                    <a:pt x="551" y="197"/>
                  </a:lnTo>
                  <a:lnTo>
                    <a:pt x="549" y="215"/>
                  </a:lnTo>
                  <a:lnTo>
                    <a:pt x="547" y="236"/>
                  </a:lnTo>
                  <a:lnTo>
                    <a:pt x="545" y="254"/>
                  </a:lnTo>
                  <a:lnTo>
                    <a:pt x="543" y="273"/>
                  </a:lnTo>
                  <a:lnTo>
                    <a:pt x="543" y="291"/>
                  </a:lnTo>
                  <a:lnTo>
                    <a:pt x="541" y="311"/>
                  </a:lnTo>
                  <a:lnTo>
                    <a:pt x="538" y="330"/>
                  </a:lnTo>
                  <a:lnTo>
                    <a:pt x="536" y="348"/>
                  </a:lnTo>
                  <a:lnTo>
                    <a:pt x="536" y="369"/>
                  </a:lnTo>
                  <a:lnTo>
                    <a:pt x="534" y="387"/>
                  </a:lnTo>
                  <a:lnTo>
                    <a:pt x="532" y="406"/>
                  </a:lnTo>
                  <a:lnTo>
                    <a:pt x="530" y="424"/>
                  </a:lnTo>
                  <a:lnTo>
                    <a:pt x="530" y="445"/>
                  </a:lnTo>
                  <a:lnTo>
                    <a:pt x="528" y="463"/>
                  </a:lnTo>
                  <a:lnTo>
                    <a:pt x="526" y="482"/>
                  </a:lnTo>
                  <a:lnTo>
                    <a:pt x="524" y="502"/>
                  </a:lnTo>
                  <a:lnTo>
                    <a:pt x="524" y="520"/>
                  </a:lnTo>
                  <a:lnTo>
                    <a:pt x="522" y="539"/>
                  </a:lnTo>
                  <a:lnTo>
                    <a:pt x="520" y="557"/>
                  </a:lnTo>
                  <a:lnTo>
                    <a:pt x="518" y="578"/>
                  </a:lnTo>
                  <a:lnTo>
                    <a:pt x="518" y="596"/>
                  </a:lnTo>
                  <a:lnTo>
                    <a:pt x="516" y="615"/>
                  </a:lnTo>
                  <a:lnTo>
                    <a:pt x="514" y="635"/>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2" y="654"/>
                  </a:lnTo>
                  <a:lnTo>
                    <a:pt x="510" y="654"/>
                  </a:lnTo>
                  <a:lnTo>
                    <a:pt x="506" y="654"/>
                  </a:lnTo>
                  <a:lnTo>
                    <a:pt x="502" y="654"/>
                  </a:lnTo>
                  <a:lnTo>
                    <a:pt x="498" y="654"/>
                  </a:lnTo>
                  <a:lnTo>
                    <a:pt x="495" y="654"/>
                  </a:lnTo>
                  <a:lnTo>
                    <a:pt x="491" y="652"/>
                  </a:lnTo>
                  <a:lnTo>
                    <a:pt x="487" y="652"/>
                  </a:lnTo>
                  <a:lnTo>
                    <a:pt x="483" y="652"/>
                  </a:lnTo>
                  <a:lnTo>
                    <a:pt x="479" y="652"/>
                  </a:lnTo>
                  <a:lnTo>
                    <a:pt x="475" y="652"/>
                  </a:lnTo>
                  <a:lnTo>
                    <a:pt x="471" y="652"/>
                  </a:lnTo>
                  <a:lnTo>
                    <a:pt x="467" y="650"/>
                  </a:lnTo>
                  <a:lnTo>
                    <a:pt x="463" y="650"/>
                  </a:lnTo>
                  <a:lnTo>
                    <a:pt x="459" y="650"/>
                  </a:lnTo>
                  <a:lnTo>
                    <a:pt x="455" y="650"/>
                  </a:lnTo>
                  <a:lnTo>
                    <a:pt x="450" y="650"/>
                  </a:lnTo>
                  <a:lnTo>
                    <a:pt x="448" y="650"/>
                  </a:lnTo>
                  <a:lnTo>
                    <a:pt x="444" y="648"/>
                  </a:lnTo>
                  <a:lnTo>
                    <a:pt x="440" y="648"/>
                  </a:lnTo>
                  <a:lnTo>
                    <a:pt x="436" y="648"/>
                  </a:lnTo>
                  <a:lnTo>
                    <a:pt x="432" y="648"/>
                  </a:lnTo>
                  <a:lnTo>
                    <a:pt x="428" y="648"/>
                  </a:lnTo>
                  <a:lnTo>
                    <a:pt x="424" y="648"/>
                  </a:lnTo>
                  <a:lnTo>
                    <a:pt x="420" y="645"/>
                  </a:lnTo>
                  <a:lnTo>
                    <a:pt x="416" y="645"/>
                  </a:lnTo>
                  <a:lnTo>
                    <a:pt x="412" y="645"/>
                  </a:lnTo>
                  <a:lnTo>
                    <a:pt x="407" y="645"/>
                  </a:lnTo>
                  <a:lnTo>
                    <a:pt x="403" y="645"/>
                  </a:lnTo>
                  <a:lnTo>
                    <a:pt x="399" y="643"/>
                  </a:lnTo>
                  <a:lnTo>
                    <a:pt x="397" y="643"/>
                  </a:lnTo>
                  <a:lnTo>
                    <a:pt x="393" y="643"/>
                  </a:lnTo>
                  <a:lnTo>
                    <a:pt x="389" y="643"/>
                  </a:lnTo>
                  <a:lnTo>
                    <a:pt x="385" y="643"/>
                  </a:lnTo>
                  <a:lnTo>
                    <a:pt x="381" y="643"/>
                  </a:lnTo>
                  <a:lnTo>
                    <a:pt x="377" y="641"/>
                  </a:lnTo>
                  <a:lnTo>
                    <a:pt x="373" y="641"/>
                  </a:lnTo>
                  <a:lnTo>
                    <a:pt x="369" y="641"/>
                  </a:lnTo>
                  <a:lnTo>
                    <a:pt x="364" y="641"/>
                  </a:lnTo>
                  <a:lnTo>
                    <a:pt x="360" y="641"/>
                  </a:lnTo>
                  <a:lnTo>
                    <a:pt x="356" y="639"/>
                  </a:lnTo>
                  <a:lnTo>
                    <a:pt x="354" y="639"/>
                  </a:lnTo>
                  <a:lnTo>
                    <a:pt x="350" y="639"/>
                  </a:lnTo>
                  <a:lnTo>
                    <a:pt x="346" y="639"/>
                  </a:lnTo>
                  <a:lnTo>
                    <a:pt x="342" y="639"/>
                  </a:lnTo>
                  <a:lnTo>
                    <a:pt x="338" y="639"/>
                  </a:lnTo>
                  <a:lnTo>
                    <a:pt x="332" y="637"/>
                  </a:lnTo>
                  <a:lnTo>
                    <a:pt x="328" y="637"/>
                  </a:lnTo>
                  <a:lnTo>
                    <a:pt x="323" y="635"/>
                  </a:lnTo>
                  <a:lnTo>
                    <a:pt x="319" y="633"/>
                  </a:lnTo>
                  <a:lnTo>
                    <a:pt x="315" y="631"/>
                  </a:lnTo>
                  <a:lnTo>
                    <a:pt x="311" y="629"/>
                  </a:lnTo>
                  <a:lnTo>
                    <a:pt x="307" y="627"/>
                  </a:lnTo>
                  <a:lnTo>
                    <a:pt x="301" y="625"/>
                  </a:lnTo>
                  <a:lnTo>
                    <a:pt x="297" y="621"/>
                  </a:lnTo>
                  <a:lnTo>
                    <a:pt x="293" y="619"/>
                  </a:lnTo>
                  <a:lnTo>
                    <a:pt x="289" y="617"/>
                  </a:lnTo>
                  <a:lnTo>
                    <a:pt x="252" y="600"/>
                  </a:lnTo>
                  <a:lnTo>
                    <a:pt x="217" y="582"/>
                  </a:lnTo>
                  <a:lnTo>
                    <a:pt x="180" y="564"/>
                  </a:lnTo>
                  <a:lnTo>
                    <a:pt x="145" y="547"/>
                  </a:lnTo>
                  <a:lnTo>
                    <a:pt x="108" y="529"/>
                  </a:lnTo>
                  <a:lnTo>
                    <a:pt x="74" y="510"/>
                  </a:lnTo>
                  <a:lnTo>
                    <a:pt x="39" y="492"/>
                  </a:lnTo>
                  <a:lnTo>
                    <a:pt x="4" y="473"/>
                  </a:lnTo>
                  <a:lnTo>
                    <a:pt x="0" y="471"/>
                  </a:lnTo>
                  <a:lnTo>
                    <a:pt x="0" y="471"/>
                  </a:lnTo>
                  <a:lnTo>
                    <a:pt x="0" y="471"/>
                  </a:lnTo>
                  <a:lnTo>
                    <a:pt x="0" y="471"/>
                  </a:lnTo>
                  <a:lnTo>
                    <a:pt x="0" y="471"/>
                  </a:lnTo>
                  <a:lnTo>
                    <a:pt x="2" y="465"/>
                  </a:lnTo>
                  <a:lnTo>
                    <a:pt x="4" y="463"/>
                  </a:lnTo>
                  <a:lnTo>
                    <a:pt x="2" y="461"/>
                  </a:lnTo>
                  <a:lnTo>
                    <a:pt x="4" y="459"/>
                  </a:lnTo>
                  <a:lnTo>
                    <a:pt x="6" y="459"/>
                  </a:lnTo>
                  <a:lnTo>
                    <a:pt x="6" y="459"/>
                  </a:lnTo>
                  <a:lnTo>
                    <a:pt x="8" y="457"/>
                  </a:lnTo>
                  <a:lnTo>
                    <a:pt x="8" y="457"/>
                  </a:lnTo>
                  <a:lnTo>
                    <a:pt x="8" y="457"/>
                  </a:lnTo>
                  <a:lnTo>
                    <a:pt x="10" y="455"/>
                  </a:lnTo>
                  <a:lnTo>
                    <a:pt x="10" y="453"/>
                  </a:lnTo>
                  <a:lnTo>
                    <a:pt x="12" y="451"/>
                  </a:lnTo>
                  <a:lnTo>
                    <a:pt x="12" y="449"/>
                  </a:lnTo>
                  <a:lnTo>
                    <a:pt x="16" y="447"/>
                  </a:lnTo>
                  <a:lnTo>
                    <a:pt x="24" y="449"/>
                  </a:lnTo>
                  <a:lnTo>
                    <a:pt x="29" y="449"/>
                  </a:lnTo>
                  <a:lnTo>
                    <a:pt x="31" y="449"/>
                  </a:lnTo>
                  <a:lnTo>
                    <a:pt x="31" y="447"/>
                  </a:lnTo>
                  <a:lnTo>
                    <a:pt x="31" y="445"/>
                  </a:lnTo>
                  <a:lnTo>
                    <a:pt x="31" y="443"/>
                  </a:lnTo>
                  <a:lnTo>
                    <a:pt x="33" y="441"/>
                  </a:lnTo>
                  <a:lnTo>
                    <a:pt x="37" y="439"/>
                  </a:lnTo>
                  <a:lnTo>
                    <a:pt x="37" y="439"/>
                  </a:lnTo>
                  <a:lnTo>
                    <a:pt x="39" y="436"/>
                  </a:lnTo>
                  <a:lnTo>
                    <a:pt x="37" y="428"/>
                  </a:lnTo>
                  <a:lnTo>
                    <a:pt x="37" y="426"/>
                  </a:lnTo>
                  <a:lnTo>
                    <a:pt x="39" y="426"/>
                  </a:lnTo>
                  <a:lnTo>
                    <a:pt x="39" y="424"/>
                  </a:lnTo>
                  <a:lnTo>
                    <a:pt x="39" y="424"/>
                  </a:lnTo>
                  <a:lnTo>
                    <a:pt x="37" y="420"/>
                  </a:lnTo>
                  <a:lnTo>
                    <a:pt x="33" y="418"/>
                  </a:lnTo>
                  <a:lnTo>
                    <a:pt x="24" y="416"/>
                  </a:lnTo>
                  <a:lnTo>
                    <a:pt x="22" y="414"/>
                  </a:lnTo>
                  <a:lnTo>
                    <a:pt x="20" y="410"/>
                  </a:lnTo>
                  <a:lnTo>
                    <a:pt x="20" y="406"/>
                  </a:lnTo>
                  <a:lnTo>
                    <a:pt x="22" y="402"/>
                  </a:lnTo>
                  <a:lnTo>
                    <a:pt x="22" y="398"/>
                  </a:lnTo>
                  <a:lnTo>
                    <a:pt x="22" y="391"/>
                  </a:lnTo>
                  <a:lnTo>
                    <a:pt x="22" y="389"/>
                  </a:lnTo>
                  <a:lnTo>
                    <a:pt x="20" y="387"/>
                  </a:lnTo>
                  <a:lnTo>
                    <a:pt x="20" y="385"/>
                  </a:lnTo>
                  <a:lnTo>
                    <a:pt x="22" y="381"/>
                  </a:lnTo>
                  <a:lnTo>
                    <a:pt x="22" y="381"/>
                  </a:lnTo>
                  <a:lnTo>
                    <a:pt x="22" y="379"/>
                  </a:lnTo>
                  <a:lnTo>
                    <a:pt x="22" y="379"/>
                  </a:lnTo>
                  <a:lnTo>
                    <a:pt x="22" y="377"/>
                  </a:lnTo>
                  <a:lnTo>
                    <a:pt x="22" y="377"/>
                  </a:lnTo>
                  <a:lnTo>
                    <a:pt x="20" y="375"/>
                  </a:lnTo>
                  <a:lnTo>
                    <a:pt x="22" y="375"/>
                  </a:lnTo>
                  <a:lnTo>
                    <a:pt x="26" y="375"/>
                  </a:lnTo>
                  <a:lnTo>
                    <a:pt x="29" y="375"/>
                  </a:lnTo>
                  <a:lnTo>
                    <a:pt x="31" y="373"/>
                  </a:lnTo>
                  <a:lnTo>
                    <a:pt x="35" y="367"/>
                  </a:lnTo>
                  <a:lnTo>
                    <a:pt x="37" y="365"/>
                  </a:lnTo>
                  <a:lnTo>
                    <a:pt x="37" y="365"/>
                  </a:lnTo>
                  <a:lnTo>
                    <a:pt x="39" y="363"/>
                  </a:lnTo>
                  <a:lnTo>
                    <a:pt x="41" y="361"/>
                  </a:lnTo>
                  <a:lnTo>
                    <a:pt x="41" y="361"/>
                  </a:lnTo>
                  <a:lnTo>
                    <a:pt x="41" y="359"/>
                  </a:lnTo>
                  <a:lnTo>
                    <a:pt x="41" y="357"/>
                  </a:lnTo>
                  <a:lnTo>
                    <a:pt x="41" y="354"/>
                  </a:lnTo>
                  <a:lnTo>
                    <a:pt x="43" y="354"/>
                  </a:lnTo>
                  <a:lnTo>
                    <a:pt x="43" y="354"/>
                  </a:lnTo>
                  <a:lnTo>
                    <a:pt x="43" y="352"/>
                  </a:lnTo>
                  <a:lnTo>
                    <a:pt x="43" y="350"/>
                  </a:lnTo>
                  <a:lnTo>
                    <a:pt x="43" y="348"/>
                  </a:lnTo>
                  <a:lnTo>
                    <a:pt x="45" y="346"/>
                  </a:lnTo>
                  <a:lnTo>
                    <a:pt x="47" y="346"/>
                  </a:lnTo>
                  <a:lnTo>
                    <a:pt x="47" y="344"/>
                  </a:lnTo>
                  <a:lnTo>
                    <a:pt x="47" y="342"/>
                  </a:lnTo>
                  <a:lnTo>
                    <a:pt x="47" y="340"/>
                  </a:lnTo>
                  <a:lnTo>
                    <a:pt x="47" y="340"/>
                  </a:lnTo>
                  <a:lnTo>
                    <a:pt x="47" y="340"/>
                  </a:lnTo>
                  <a:lnTo>
                    <a:pt x="47" y="338"/>
                  </a:lnTo>
                  <a:lnTo>
                    <a:pt x="47" y="338"/>
                  </a:lnTo>
                  <a:lnTo>
                    <a:pt x="47" y="336"/>
                  </a:lnTo>
                  <a:lnTo>
                    <a:pt x="47" y="336"/>
                  </a:lnTo>
                  <a:lnTo>
                    <a:pt x="47" y="332"/>
                  </a:lnTo>
                  <a:lnTo>
                    <a:pt x="47" y="330"/>
                  </a:lnTo>
                  <a:lnTo>
                    <a:pt x="47" y="328"/>
                  </a:lnTo>
                  <a:lnTo>
                    <a:pt x="49" y="328"/>
                  </a:lnTo>
                  <a:lnTo>
                    <a:pt x="49" y="326"/>
                  </a:lnTo>
                  <a:lnTo>
                    <a:pt x="49" y="326"/>
                  </a:lnTo>
                  <a:lnTo>
                    <a:pt x="47" y="324"/>
                  </a:lnTo>
                  <a:lnTo>
                    <a:pt x="47" y="322"/>
                  </a:lnTo>
                  <a:lnTo>
                    <a:pt x="47" y="322"/>
                  </a:lnTo>
                  <a:lnTo>
                    <a:pt x="47" y="318"/>
                  </a:lnTo>
                  <a:lnTo>
                    <a:pt x="49" y="318"/>
                  </a:lnTo>
                  <a:lnTo>
                    <a:pt x="53" y="316"/>
                  </a:lnTo>
                  <a:lnTo>
                    <a:pt x="55" y="314"/>
                  </a:lnTo>
                  <a:lnTo>
                    <a:pt x="57" y="314"/>
                  </a:lnTo>
                  <a:lnTo>
                    <a:pt x="57" y="311"/>
                  </a:lnTo>
                  <a:lnTo>
                    <a:pt x="59" y="305"/>
                  </a:lnTo>
                  <a:lnTo>
                    <a:pt x="61" y="303"/>
                  </a:lnTo>
                  <a:lnTo>
                    <a:pt x="61" y="303"/>
                  </a:lnTo>
                  <a:lnTo>
                    <a:pt x="65" y="303"/>
                  </a:lnTo>
                  <a:lnTo>
                    <a:pt x="76" y="297"/>
                  </a:lnTo>
                  <a:lnTo>
                    <a:pt x="78" y="297"/>
                  </a:lnTo>
                  <a:lnTo>
                    <a:pt x="80" y="293"/>
                  </a:lnTo>
                  <a:lnTo>
                    <a:pt x="84" y="291"/>
                  </a:lnTo>
                  <a:lnTo>
                    <a:pt x="86" y="289"/>
                  </a:lnTo>
                  <a:lnTo>
                    <a:pt x="88" y="287"/>
                  </a:lnTo>
                  <a:lnTo>
                    <a:pt x="88" y="285"/>
                  </a:lnTo>
                  <a:lnTo>
                    <a:pt x="88" y="285"/>
                  </a:lnTo>
                  <a:lnTo>
                    <a:pt x="86" y="283"/>
                  </a:lnTo>
                  <a:lnTo>
                    <a:pt x="84" y="281"/>
                  </a:lnTo>
                  <a:lnTo>
                    <a:pt x="84" y="279"/>
                  </a:lnTo>
                  <a:lnTo>
                    <a:pt x="82" y="279"/>
                  </a:lnTo>
                  <a:lnTo>
                    <a:pt x="76" y="273"/>
                  </a:lnTo>
                  <a:lnTo>
                    <a:pt x="74" y="270"/>
                  </a:lnTo>
                  <a:lnTo>
                    <a:pt x="74" y="270"/>
                  </a:lnTo>
                  <a:lnTo>
                    <a:pt x="72" y="268"/>
                  </a:lnTo>
                  <a:lnTo>
                    <a:pt x="72" y="268"/>
                  </a:lnTo>
                  <a:lnTo>
                    <a:pt x="72" y="268"/>
                  </a:lnTo>
                  <a:lnTo>
                    <a:pt x="72" y="266"/>
                  </a:lnTo>
                  <a:lnTo>
                    <a:pt x="72" y="266"/>
                  </a:lnTo>
                  <a:lnTo>
                    <a:pt x="69" y="266"/>
                  </a:lnTo>
                  <a:lnTo>
                    <a:pt x="69" y="266"/>
                  </a:lnTo>
                  <a:lnTo>
                    <a:pt x="69" y="266"/>
                  </a:lnTo>
                  <a:lnTo>
                    <a:pt x="67" y="266"/>
                  </a:lnTo>
                  <a:lnTo>
                    <a:pt x="67" y="264"/>
                  </a:lnTo>
                  <a:lnTo>
                    <a:pt x="67" y="264"/>
                  </a:lnTo>
                  <a:lnTo>
                    <a:pt x="67" y="262"/>
                  </a:lnTo>
                  <a:lnTo>
                    <a:pt x="67" y="262"/>
                  </a:lnTo>
                  <a:lnTo>
                    <a:pt x="67" y="260"/>
                  </a:lnTo>
                  <a:lnTo>
                    <a:pt x="69" y="260"/>
                  </a:lnTo>
                  <a:lnTo>
                    <a:pt x="67" y="258"/>
                  </a:lnTo>
                  <a:lnTo>
                    <a:pt x="67" y="258"/>
                  </a:lnTo>
                  <a:lnTo>
                    <a:pt x="67" y="256"/>
                  </a:lnTo>
                  <a:lnTo>
                    <a:pt x="67" y="254"/>
                  </a:lnTo>
                  <a:lnTo>
                    <a:pt x="65" y="254"/>
                  </a:lnTo>
                  <a:lnTo>
                    <a:pt x="65" y="252"/>
                  </a:lnTo>
                  <a:lnTo>
                    <a:pt x="65" y="252"/>
                  </a:lnTo>
                  <a:lnTo>
                    <a:pt x="65" y="248"/>
                  </a:lnTo>
                  <a:lnTo>
                    <a:pt x="65" y="248"/>
                  </a:lnTo>
                  <a:lnTo>
                    <a:pt x="65" y="248"/>
                  </a:lnTo>
                  <a:lnTo>
                    <a:pt x="65" y="246"/>
                  </a:lnTo>
                  <a:lnTo>
                    <a:pt x="61" y="234"/>
                  </a:lnTo>
                  <a:lnTo>
                    <a:pt x="59" y="234"/>
                  </a:lnTo>
                  <a:lnTo>
                    <a:pt x="57" y="232"/>
                  </a:lnTo>
                  <a:lnTo>
                    <a:pt x="55" y="229"/>
                  </a:lnTo>
                  <a:lnTo>
                    <a:pt x="57" y="227"/>
                  </a:lnTo>
                  <a:lnTo>
                    <a:pt x="55" y="225"/>
                  </a:lnTo>
                  <a:lnTo>
                    <a:pt x="55" y="223"/>
                  </a:lnTo>
                  <a:lnTo>
                    <a:pt x="55" y="221"/>
                  </a:lnTo>
                  <a:lnTo>
                    <a:pt x="53" y="221"/>
                  </a:lnTo>
                  <a:lnTo>
                    <a:pt x="53" y="221"/>
                  </a:lnTo>
                  <a:lnTo>
                    <a:pt x="51" y="219"/>
                  </a:lnTo>
                  <a:lnTo>
                    <a:pt x="53" y="207"/>
                  </a:lnTo>
                  <a:lnTo>
                    <a:pt x="53" y="205"/>
                  </a:lnTo>
                  <a:lnTo>
                    <a:pt x="53" y="205"/>
                  </a:lnTo>
                  <a:lnTo>
                    <a:pt x="53" y="201"/>
                  </a:lnTo>
                  <a:lnTo>
                    <a:pt x="55" y="199"/>
                  </a:lnTo>
                  <a:lnTo>
                    <a:pt x="55" y="197"/>
                  </a:lnTo>
                  <a:lnTo>
                    <a:pt x="55" y="197"/>
                  </a:lnTo>
                  <a:lnTo>
                    <a:pt x="53" y="195"/>
                  </a:lnTo>
                  <a:lnTo>
                    <a:pt x="53" y="193"/>
                  </a:lnTo>
                  <a:lnTo>
                    <a:pt x="53" y="191"/>
                  </a:lnTo>
                  <a:lnTo>
                    <a:pt x="55" y="191"/>
                  </a:lnTo>
                  <a:lnTo>
                    <a:pt x="55" y="191"/>
                  </a:lnTo>
                  <a:lnTo>
                    <a:pt x="57" y="191"/>
                  </a:lnTo>
                  <a:lnTo>
                    <a:pt x="59" y="191"/>
                  </a:lnTo>
                  <a:lnTo>
                    <a:pt x="59" y="191"/>
                  </a:lnTo>
                  <a:lnTo>
                    <a:pt x="59" y="186"/>
                  </a:lnTo>
                  <a:lnTo>
                    <a:pt x="61" y="184"/>
                  </a:lnTo>
                  <a:lnTo>
                    <a:pt x="61" y="180"/>
                  </a:lnTo>
                  <a:lnTo>
                    <a:pt x="59" y="174"/>
                  </a:lnTo>
                  <a:lnTo>
                    <a:pt x="61" y="172"/>
                  </a:lnTo>
                  <a:lnTo>
                    <a:pt x="61" y="168"/>
                  </a:lnTo>
                  <a:lnTo>
                    <a:pt x="61" y="166"/>
                  </a:lnTo>
                  <a:lnTo>
                    <a:pt x="59" y="160"/>
                  </a:lnTo>
                  <a:lnTo>
                    <a:pt x="57" y="156"/>
                  </a:lnTo>
                  <a:lnTo>
                    <a:pt x="57" y="152"/>
                  </a:lnTo>
                  <a:lnTo>
                    <a:pt x="59" y="145"/>
                  </a:lnTo>
                  <a:lnTo>
                    <a:pt x="59" y="141"/>
                  </a:lnTo>
                  <a:lnTo>
                    <a:pt x="59" y="139"/>
                  </a:lnTo>
                  <a:lnTo>
                    <a:pt x="59" y="137"/>
                  </a:lnTo>
                  <a:lnTo>
                    <a:pt x="57" y="129"/>
                  </a:lnTo>
                  <a:lnTo>
                    <a:pt x="57" y="127"/>
                  </a:lnTo>
                  <a:lnTo>
                    <a:pt x="57" y="123"/>
                  </a:lnTo>
                  <a:lnTo>
                    <a:pt x="59" y="117"/>
                  </a:lnTo>
                  <a:lnTo>
                    <a:pt x="59" y="117"/>
                  </a:lnTo>
                  <a:lnTo>
                    <a:pt x="61" y="113"/>
                  </a:lnTo>
                  <a:lnTo>
                    <a:pt x="61" y="113"/>
                  </a:lnTo>
                  <a:lnTo>
                    <a:pt x="61" y="111"/>
                  </a:lnTo>
                  <a:lnTo>
                    <a:pt x="61" y="111"/>
                  </a:lnTo>
                  <a:lnTo>
                    <a:pt x="59" y="104"/>
                  </a:lnTo>
                  <a:lnTo>
                    <a:pt x="57" y="102"/>
                  </a:lnTo>
                  <a:lnTo>
                    <a:pt x="57" y="100"/>
                  </a:lnTo>
                  <a:lnTo>
                    <a:pt x="57" y="96"/>
                  </a:lnTo>
                  <a:lnTo>
                    <a:pt x="59" y="96"/>
                  </a:lnTo>
                  <a:lnTo>
                    <a:pt x="59" y="94"/>
                  </a:lnTo>
                  <a:lnTo>
                    <a:pt x="59" y="92"/>
                  </a:lnTo>
                  <a:lnTo>
                    <a:pt x="59" y="90"/>
                  </a:lnTo>
                  <a:lnTo>
                    <a:pt x="59" y="90"/>
                  </a:lnTo>
                  <a:lnTo>
                    <a:pt x="59" y="88"/>
                  </a:lnTo>
                  <a:lnTo>
                    <a:pt x="61" y="88"/>
                  </a:lnTo>
                  <a:lnTo>
                    <a:pt x="61" y="88"/>
                  </a:lnTo>
                  <a:lnTo>
                    <a:pt x="61" y="86"/>
                  </a:lnTo>
                  <a:lnTo>
                    <a:pt x="61" y="86"/>
                  </a:lnTo>
                  <a:lnTo>
                    <a:pt x="65" y="86"/>
                  </a:lnTo>
                  <a:lnTo>
                    <a:pt x="67" y="84"/>
                  </a:lnTo>
                  <a:lnTo>
                    <a:pt x="74" y="84"/>
                  </a:lnTo>
                  <a:lnTo>
                    <a:pt x="76" y="84"/>
                  </a:lnTo>
                  <a:lnTo>
                    <a:pt x="76" y="84"/>
                  </a:lnTo>
                  <a:lnTo>
                    <a:pt x="76" y="84"/>
                  </a:lnTo>
                  <a:lnTo>
                    <a:pt x="82" y="86"/>
                  </a:lnTo>
                  <a:lnTo>
                    <a:pt x="82" y="86"/>
                  </a:lnTo>
                  <a:lnTo>
                    <a:pt x="82" y="86"/>
                  </a:lnTo>
                  <a:lnTo>
                    <a:pt x="82" y="86"/>
                  </a:lnTo>
                  <a:lnTo>
                    <a:pt x="84" y="88"/>
                  </a:lnTo>
                  <a:lnTo>
                    <a:pt x="84" y="88"/>
                  </a:lnTo>
                  <a:lnTo>
                    <a:pt x="84" y="88"/>
                  </a:lnTo>
                  <a:lnTo>
                    <a:pt x="86" y="88"/>
                  </a:lnTo>
                  <a:lnTo>
                    <a:pt x="86" y="88"/>
                  </a:lnTo>
                  <a:lnTo>
                    <a:pt x="86" y="88"/>
                  </a:lnTo>
                  <a:lnTo>
                    <a:pt x="90" y="86"/>
                  </a:lnTo>
                  <a:lnTo>
                    <a:pt x="90" y="86"/>
                  </a:lnTo>
                  <a:lnTo>
                    <a:pt x="90" y="86"/>
                  </a:lnTo>
                  <a:lnTo>
                    <a:pt x="90" y="86"/>
                  </a:lnTo>
                  <a:lnTo>
                    <a:pt x="92" y="86"/>
                  </a:lnTo>
                  <a:lnTo>
                    <a:pt x="92" y="86"/>
                  </a:lnTo>
                  <a:lnTo>
                    <a:pt x="92" y="88"/>
                  </a:lnTo>
                  <a:lnTo>
                    <a:pt x="94" y="88"/>
                  </a:lnTo>
                  <a:lnTo>
                    <a:pt x="94" y="88"/>
                  </a:lnTo>
                  <a:lnTo>
                    <a:pt x="94" y="90"/>
                  </a:lnTo>
                  <a:lnTo>
                    <a:pt x="96" y="90"/>
                  </a:lnTo>
                  <a:lnTo>
                    <a:pt x="96" y="96"/>
                  </a:lnTo>
                  <a:lnTo>
                    <a:pt x="98" y="96"/>
                  </a:lnTo>
                  <a:lnTo>
                    <a:pt x="98" y="98"/>
                  </a:lnTo>
                  <a:lnTo>
                    <a:pt x="100" y="100"/>
                  </a:lnTo>
                  <a:lnTo>
                    <a:pt x="102" y="102"/>
                  </a:lnTo>
                  <a:lnTo>
                    <a:pt x="104" y="102"/>
                  </a:lnTo>
                  <a:lnTo>
                    <a:pt x="108" y="102"/>
                  </a:lnTo>
                  <a:lnTo>
                    <a:pt x="110" y="100"/>
                  </a:lnTo>
                  <a:lnTo>
                    <a:pt x="113" y="96"/>
                  </a:lnTo>
                  <a:lnTo>
                    <a:pt x="115" y="92"/>
                  </a:lnTo>
                  <a:lnTo>
                    <a:pt x="117" y="88"/>
                  </a:lnTo>
                  <a:lnTo>
                    <a:pt x="119" y="86"/>
                  </a:lnTo>
                  <a:lnTo>
                    <a:pt x="121" y="84"/>
                  </a:lnTo>
                  <a:lnTo>
                    <a:pt x="121" y="84"/>
                  </a:lnTo>
                  <a:lnTo>
                    <a:pt x="121" y="82"/>
                  </a:lnTo>
                  <a:lnTo>
                    <a:pt x="121" y="78"/>
                  </a:lnTo>
                  <a:lnTo>
                    <a:pt x="121" y="78"/>
                  </a:lnTo>
                  <a:lnTo>
                    <a:pt x="123" y="76"/>
                  </a:lnTo>
                  <a:lnTo>
                    <a:pt x="123" y="72"/>
                  </a:lnTo>
                  <a:lnTo>
                    <a:pt x="123" y="66"/>
                  </a:lnTo>
                  <a:lnTo>
                    <a:pt x="125" y="59"/>
                  </a:lnTo>
                  <a:lnTo>
                    <a:pt x="125" y="53"/>
                  </a:lnTo>
                  <a:lnTo>
                    <a:pt x="125" y="45"/>
                  </a:lnTo>
                  <a:lnTo>
                    <a:pt x="127" y="39"/>
                  </a:lnTo>
                  <a:lnTo>
                    <a:pt x="127" y="31"/>
                  </a:lnTo>
                  <a:lnTo>
                    <a:pt x="129" y="25"/>
                  </a:lnTo>
                  <a:lnTo>
                    <a:pt x="129" y="18"/>
                  </a:lnTo>
                  <a:lnTo>
                    <a:pt x="131" y="12"/>
                  </a:lnTo>
                  <a:lnTo>
                    <a:pt x="131" y="6"/>
                  </a:lnTo>
                  <a:lnTo>
                    <a:pt x="131" y="2"/>
                  </a:lnTo>
                  <a:lnTo>
                    <a:pt x="131" y="0"/>
                  </a:lnTo>
                  <a:lnTo>
                    <a:pt x="131" y="0"/>
                  </a:lnTo>
                  <a:lnTo>
                    <a:pt x="145" y="0"/>
                  </a:lnTo>
                  <a:lnTo>
                    <a:pt x="158" y="2"/>
                  </a:lnTo>
                  <a:lnTo>
                    <a:pt x="172" y="4"/>
                  </a:lnTo>
                  <a:lnTo>
                    <a:pt x="186" y="6"/>
                  </a:lnTo>
                  <a:lnTo>
                    <a:pt x="199" y="8"/>
                  </a:lnTo>
                  <a:lnTo>
                    <a:pt x="213" y="8"/>
                  </a:lnTo>
                  <a:lnTo>
                    <a:pt x="225" y="10"/>
                  </a:lnTo>
                  <a:lnTo>
                    <a:pt x="239" y="12"/>
                  </a:lnTo>
                  <a:lnTo>
                    <a:pt x="252" y="14"/>
                  </a:lnTo>
                  <a:lnTo>
                    <a:pt x="266" y="16"/>
                  </a:lnTo>
                  <a:lnTo>
                    <a:pt x="280" y="16"/>
                  </a:lnTo>
                  <a:lnTo>
                    <a:pt x="293" y="18"/>
                  </a:lnTo>
                  <a:lnTo>
                    <a:pt x="307" y="20"/>
                  </a:lnTo>
                  <a:lnTo>
                    <a:pt x="319" y="20"/>
                  </a:lnTo>
                  <a:lnTo>
                    <a:pt x="334" y="23"/>
                  </a:lnTo>
                  <a:lnTo>
                    <a:pt x="346" y="25"/>
                  </a:lnTo>
                  <a:lnTo>
                    <a:pt x="360" y="27"/>
                  </a:lnTo>
                  <a:lnTo>
                    <a:pt x="373" y="27"/>
                  </a:lnTo>
                  <a:lnTo>
                    <a:pt x="387" y="29"/>
                  </a:lnTo>
                  <a:lnTo>
                    <a:pt x="401" y="31"/>
                  </a:lnTo>
                  <a:lnTo>
                    <a:pt x="414" y="31"/>
                  </a:lnTo>
                  <a:lnTo>
                    <a:pt x="428" y="33"/>
                  </a:lnTo>
                  <a:lnTo>
                    <a:pt x="440" y="33"/>
                  </a:lnTo>
                  <a:lnTo>
                    <a:pt x="455" y="35"/>
                  </a:lnTo>
                  <a:lnTo>
                    <a:pt x="469" y="37"/>
                  </a:lnTo>
                  <a:lnTo>
                    <a:pt x="481" y="37"/>
                  </a:lnTo>
                  <a:lnTo>
                    <a:pt x="495" y="39"/>
                  </a:lnTo>
                  <a:lnTo>
                    <a:pt x="508" y="39"/>
                  </a:lnTo>
                  <a:lnTo>
                    <a:pt x="522" y="41"/>
                  </a:lnTo>
                  <a:lnTo>
                    <a:pt x="534" y="43"/>
                  </a:lnTo>
                  <a:lnTo>
                    <a:pt x="549" y="43"/>
                  </a:lnTo>
                  <a:lnTo>
                    <a:pt x="563" y="45"/>
                  </a:lnTo>
                  <a:lnTo>
                    <a:pt x="561" y="63"/>
                  </a:lnTo>
                  <a:lnTo>
                    <a:pt x="559" y="82"/>
                  </a:lnTo>
                  <a:lnTo>
                    <a:pt x="557" y="102"/>
                  </a:lnTo>
                  <a:lnTo>
                    <a:pt x="557" y="121"/>
                  </a:lnTo>
                  <a:lnTo>
                    <a:pt x="555" y="139"/>
                  </a:lnTo>
                  <a:lnTo>
                    <a:pt x="555" y="139"/>
                  </a:lnTo>
                  <a:close/>
                </a:path>
              </a:pathLst>
            </a:custGeom>
            <a:solidFill>
              <a:schemeClr val="accent1">
                <a:lumMod val="60000"/>
                <a:lumOff val="40000"/>
              </a:schemeClr>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AZ</a:t>
              </a:r>
            </a:p>
          </p:txBody>
        </p:sp>
        <p:sp>
          <p:nvSpPr>
            <p:cNvPr id="112" name="Freeform 53">
              <a:extLst>
                <a:ext uri="{FF2B5EF4-FFF2-40B4-BE49-F238E27FC236}">
                  <a16:creationId xmlns:a16="http://schemas.microsoft.com/office/drawing/2014/main" id="{D25D0B32-06F0-F412-356D-8FB553C6E349}"/>
                </a:ext>
              </a:extLst>
            </p:cNvPr>
            <p:cNvSpPr>
              <a:spLocks/>
            </p:cNvSpPr>
            <p:nvPr/>
          </p:nvSpPr>
          <p:spPr bwMode="auto">
            <a:xfrm>
              <a:off x="3200" y="1459"/>
              <a:ext cx="437" cy="400"/>
            </a:xfrm>
            <a:custGeom>
              <a:avLst/>
              <a:gdLst>
                <a:gd name="T0" fmla="*/ 437 w 437"/>
                <a:gd name="T1" fmla="*/ 62 h 400"/>
                <a:gd name="T2" fmla="*/ 428 w 437"/>
                <a:gd name="T3" fmla="*/ 64 h 400"/>
                <a:gd name="T4" fmla="*/ 414 w 437"/>
                <a:gd name="T5" fmla="*/ 82 h 400"/>
                <a:gd name="T6" fmla="*/ 416 w 437"/>
                <a:gd name="T7" fmla="*/ 94 h 400"/>
                <a:gd name="T8" fmla="*/ 416 w 437"/>
                <a:gd name="T9" fmla="*/ 103 h 400"/>
                <a:gd name="T10" fmla="*/ 410 w 437"/>
                <a:gd name="T11" fmla="*/ 111 h 400"/>
                <a:gd name="T12" fmla="*/ 404 w 437"/>
                <a:gd name="T13" fmla="*/ 129 h 400"/>
                <a:gd name="T14" fmla="*/ 404 w 437"/>
                <a:gd name="T15" fmla="*/ 148 h 400"/>
                <a:gd name="T16" fmla="*/ 398 w 437"/>
                <a:gd name="T17" fmla="*/ 156 h 400"/>
                <a:gd name="T18" fmla="*/ 390 w 437"/>
                <a:gd name="T19" fmla="*/ 162 h 400"/>
                <a:gd name="T20" fmla="*/ 377 w 437"/>
                <a:gd name="T21" fmla="*/ 183 h 400"/>
                <a:gd name="T22" fmla="*/ 377 w 437"/>
                <a:gd name="T23" fmla="*/ 193 h 400"/>
                <a:gd name="T24" fmla="*/ 369 w 437"/>
                <a:gd name="T25" fmla="*/ 199 h 400"/>
                <a:gd name="T26" fmla="*/ 367 w 437"/>
                <a:gd name="T27" fmla="*/ 230 h 400"/>
                <a:gd name="T28" fmla="*/ 355 w 437"/>
                <a:gd name="T29" fmla="*/ 232 h 400"/>
                <a:gd name="T30" fmla="*/ 357 w 437"/>
                <a:gd name="T31" fmla="*/ 240 h 400"/>
                <a:gd name="T32" fmla="*/ 351 w 437"/>
                <a:gd name="T33" fmla="*/ 242 h 400"/>
                <a:gd name="T34" fmla="*/ 340 w 437"/>
                <a:gd name="T35" fmla="*/ 256 h 400"/>
                <a:gd name="T36" fmla="*/ 345 w 437"/>
                <a:gd name="T37" fmla="*/ 271 h 400"/>
                <a:gd name="T38" fmla="*/ 330 w 437"/>
                <a:gd name="T39" fmla="*/ 277 h 400"/>
                <a:gd name="T40" fmla="*/ 334 w 437"/>
                <a:gd name="T41" fmla="*/ 285 h 400"/>
                <a:gd name="T42" fmla="*/ 334 w 437"/>
                <a:gd name="T43" fmla="*/ 297 h 400"/>
                <a:gd name="T44" fmla="*/ 326 w 437"/>
                <a:gd name="T45" fmla="*/ 303 h 400"/>
                <a:gd name="T46" fmla="*/ 326 w 437"/>
                <a:gd name="T47" fmla="*/ 314 h 400"/>
                <a:gd name="T48" fmla="*/ 322 w 437"/>
                <a:gd name="T49" fmla="*/ 322 h 400"/>
                <a:gd name="T50" fmla="*/ 328 w 437"/>
                <a:gd name="T51" fmla="*/ 330 h 400"/>
                <a:gd name="T52" fmla="*/ 328 w 437"/>
                <a:gd name="T53" fmla="*/ 347 h 400"/>
                <a:gd name="T54" fmla="*/ 334 w 437"/>
                <a:gd name="T55" fmla="*/ 355 h 400"/>
                <a:gd name="T56" fmla="*/ 332 w 437"/>
                <a:gd name="T57" fmla="*/ 369 h 400"/>
                <a:gd name="T58" fmla="*/ 297 w 437"/>
                <a:gd name="T59" fmla="*/ 385 h 400"/>
                <a:gd name="T60" fmla="*/ 201 w 437"/>
                <a:gd name="T61" fmla="*/ 392 h 400"/>
                <a:gd name="T62" fmla="*/ 103 w 437"/>
                <a:gd name="T63" fmla="*/ 398 h 400"/>
                <a:gd name="T64" fmla="*/ 68 w 437"/>
                <a:gd name="T65" fmla="*/ 349 h 400"/>
                <a:gd name="T66" fmla="*/ 62 w 437"/>
                <a:gd name="T67" fmla="*/ 340 h 400"/>
                <a:gd name="T68" fmla="*/ 52 w 437"/>
                <a:gd name="T69" fmla="*/ 340 h 400"/>
                <a:gd name="T70" fmla="*/ 41 w 437"/>
                <a:gd name="T71" fmla="*/ 342 h 400"/>
                <a:gd name="T72" fmla="*/ 35 w 437"/>
                <a:gd name="T73" fmla="*/ 340 h 400"/>
                <a:gd name="T74" fmla="*/ 27 w 437"/>
                <a:gd name="T75" fmla="*/ 310 h 400"/>
                <a:gd name="T76" fmla="*/ 23 w 437"/>
                <a:gd name="T77" fmla="*/ 170 h 400"/>
                <a:gd name="T78" fmla="*/ 9 w 437"/>
                <a:gd name="T79" fmla="*/ 72 h 400"/>
                <a:gd name="T80" fmla="*/ 72 w 437"/>
                <a:gd name="T81" fmla="*/ 23 h 400"/>
                <a:gd name="T82" fmla="*/ 215 w 437"/>
                <a:gd name="T83" fmla="*/ 15 h 400"/>
                <a:gd name="T84" fmla="*/ 359 w 437"/>
                <a:gd name="T85" fmla="*/ 2 h 400"/>
                <a:gd name="T86" fmla="*/ 390 w 437"/>
                <a:gd name="T87" fmla="*/ 4 h 400"/>
                <a:gd name="T88" fmla="*/ 392 w 437"/>
                <a:gd name="T89" fmla="*/ 6 h 400"/>
                <a:gd name="T90" fmla="*/ 396 w 437"/>
                <a:gd name="T91" fmla="*/ 10 h 400"/>
                <a:gd name="T92" fmla="*/ 398 w 437"/>
                <a:gd name="T93" fmla="*/ 15 h 400"/>
                <a:gd name="T94" fmla="*/ 400 w 437"/>
                <a:gd name="T95" fmla="*/ 23 h 400"/>
                <a:gd name="T96" fmla="*/ 398 w 437"/>
                <a:gd name="T97" fmla="*/ 25 h 400"/>
                <a:gd name="T98" fmla="*/ 394 w 437"/>
                <a:gd name="T99" fmla="*/ 29 h 400"/>
                <a:gd name="T100" fmla="*/ 390 w 437"/>
                <a:gd name="T101" fmla="*/ 33 h 400"/>
                <a:gd name="T102" fmla="*/ 385 w 437"/>
                <a:gd name="T103" fmla="*/ 37 h 400"/>
                <a:gd name="T104" fmla="*/ 385 w 437"/>
                <a:gd name="T105" fmla="*/ 41 h 400"/>
                <a:gd name="T106" fmla="*/ 381 w 437"/>
                <a:gd name="T107" fmla="*/ 43 h 400"/>
                <a:gd name="T108" fmla="*/ 375 w 437"/>
                <a:gd name="T109" fmla="*/ 56 h 400"/>
                <a:gd name="T110" fmla="*/ 394 w 437"/>
                <a:gd name="T111" fmla="*/ 56 h 400"/>
                <a:gd name="T112" fmla="*/ 431 w 437"/>
                <a:gd name="T113" fmla="*/ 4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37" h="400">
                  <a:moveTo>
                    <a:pt x="433" y="49"/>
                  </a:moveTo>
                  <a:lnTo>
                    <a:pt x="433" y="51"/>
                  </a:lnTo>
                  <a:lnTo>
                    <a:pt x="433" y="53"/>
                  </a:lnTo>
                  <a:lnTo>
                    <a:pt x="437" y="56"/>
                  </a:lnTo>
                  <a:lnTo>
                    <a:pt x="437" y="60"/>
                  </a:lnTo>
                  <a:lnTo>
                    <a:pt x="437" y="62"/>
                  </a:lnTo>
                  <a:lnTo>
                    <a:pt x="437" y="62"/>
                  </a:lnTo>
                  <a:lnTo>
                    <a:pt x="433" y="60"/>
                  </a:lnTo>
                  <a:lnTo>
                    <a:pt x="431" y="60"/>
                  </a:lnTo>
                  <a:lnTo>
                    <a:pt x="428" y="60"/>
                  </a:lnTo>
                  <a:lnTo>
                    <a:pt x="428" y="62"/>
                  </a:lnTo>
                  <a:lnTo>
                    <a:pt x="428" y="64"/>
                  </a:lnTo>
                  <a:lnTo>
                    <a:pt x="431" y="66"/>
                  </a:lnTo>
                  <a:lnTo>
                    <a:pt x="433" y="66"/>
                  </a:lnTo>
                  <a:lnTo>
                    <a:pt x="433" y="68"/>
                  </a:lnTo>
                  <a:lnTo>
                    <a:pt x="428" y="74"/>
                  </a:lnTo>
                  <a:lnTo>
                    <a:pt x="416" y="80"/>
                  </a:lnTo>
                  <a:lnTo>
                    <a:pt x="414" y="82"/>
                  </a:lnTo>
                  <a:lnTo>
                    <a:pt x="414" y="84"/>
                  </a:lnTo>
                  <a:lnTo>
                    <a:pt x="416" y="86"/>
                  </a:lnTo>
                  <a:lnTo>
                    <a:pt x="418" y="88"/>
                  </a:lnTo>
                  <a:lnTo>
                    <a:pt x="418" y="90"/>
                  </a:lnTo>
                  <a:lnTo>
                    <a:pt x="418" y="92"/>
                  </a:lnTo>
                  <a:lnTo>
                    <a:pt x="416" y="94"/>
                  </a:lnTo>
                  <a:lnTo>
                    <a:pt x="416" y="94"/>
                  </a:lnTo>
                  <a:lnTo>
                    <a:pt x="416" y="96"/>
                  </a:lnTo>
                  <a:lnTo>
                    <a:pt x="418" y="99"/>
                  </a:lnTo>
                  <a:lnTo>
                    <a:pt x="418" y="101"/>
                  </a:lnTo>
                  <a:lnTo>
                    <a:pt x="418" y="103"/>
                  </a:lnTo>
                  <a:lnTo>
                    <a:pt x="416" y="103"/>
                  </a:lnTo>
                  <a:lnTo>
                    <a:pt x="414" y="103"/>
                  </a:lnTo>
                  <a:lnTo>
                    <a:pt x="412" y="105"/>
                  </a:lnTo>
                  <a:lnTo>
                    <a:pt x="412" y="105"/>
                  </a:lnTo>
                  <a:lnTo>
                    <a:pt x="410" y="107"/>
                  </a:lnTo>
                  <a:lnTo>
                    <a:pt x="412" y="109"/>
                  </a:lnTo>
                  <a:lnTo>
                    <a:pt x="410" y="111"/>
                  </a:lnTo>
                  <a:lnTo>
                    <a:pt x="410" y="113"/>
                  </a:lnTo>
                  <a:lnTo>
                    <a:pt x="408" y="115"/>
                  </a:lnTo>
                  <a:lnTo>
                    <a:pt x="404" y="119"/>
                  </a:lnTo>
                  <a:lnTo>
                    <a:pt x="404" y="121"/>
                  </a:lnTo>
                  <a:lnTo>
                    <a:pt x="404" y="123"/>
                  </a:lnTo>
                  <a:lnTo>
                    <a:pt x="404" y="129"/>
                  </a:lnTo>
                  <a:lnTo>
                    <a:pt x="404" y="131"/>
                  </a:lnTo>
                  <a:lnTo>
                    <a:pt x="406" y="135"/>
                  </a:lnTo>
                  <a:lnTo>
                    <a:pt x="408" y="140"/>
                  </a:lnTo>
                  <a:lnTo>
                    <a:pt x="408" y="144"/>
                  </a:lnTo>
                  <a:lnTo>
                    <a:pt x="406" y="148"/>
                  </a:lnTo>
                  <a:lnTo>
                    <a:pt x="404" y="148"/>
                  </a:lnTo>
                  <a:lnTo>
                    <a:pt x="402" y="148"/>
                  </a:lnTo>
                  <a:lnTo>
                    <a:pt x="400" y="148"/>
                  </a:lnTo>
                  <a:lnTo>
                    <a:pt x="400" y="150"/>
                  </a:lnTo>
                  <a:lnTo>
                    <a:pt x="400" y="152"/>
                  </a:lnTo>
                  <a:lnTo>
                    <a:pt x="400" y="154"/>
                  </a:lnTo>
                  <a:lnTo>
                    <a:pt x="398" y="156"/>
                  </a:lnTo>
                  <a:lnTo>
                    <a:pt x="398" y="156"/>
                  </a:lnTo>
                  <a:lnTo>
                    <a:pt x="394" y="158"/>
                  </a:lnTo>
                  <a:lnTo>
                    <a:pt x="392" y="160"/>
                  </a:lnTo>
                  <a:lnTo>
                    <a:pt x="390" y="160"/>
                  </a:lnTo>
                  <a:lnTo>
                    <a:pt x="390" y="162"/>
                  </a:lnTo>
                  <a:lnTo>
                    <a:pt x="390" y="162"/>
                  </a:lnTo>
                  <a:lnTo>
                    <a:pt x="392" y="162"/>
                  </a:lnTo>
                  <a:lnTo>
                    <a:pt x="394" y="166"/>
                  </a:lnTo>
                  <a:lnTo>
                    <a:pt x="394" y="170"/>
                  </a:lnTo>
                  <a:lnTo>
                    <a:pt x="392" y="174"/>
                  </a:lnTo>
                  <a:lnTo>
                    <a:pt x="388" y="176"/>
                  </a:lnTo>
                  <a:lnTo>
                    <a:pt x="377" y="183"/>
                  </a:lnTo>
                  <a:lnTo>
                    <a:pt x="377" y="183"/>
                  </a:lnTo>
                  <a:lnTo>
                    <a:pt x="377" y="185"/>
                  </a:lnTo>
                  <a:lnTo>
                    <a:pt x="379" y="187"/>
                  </a:lnTo>
                  <a:lnTo>
                    <a:pt x="379" y="189"/>
                  </a:lnTo>
                  <a:lnTo>
                    <a:pt x="377" y="191"/>
                  </a:lnTo>
                  <a:lnTo>
                    <a:pt x="377" y="193"/>
                  </a:lnTo>
                  <a:lnTo>
                    <a:pt x="375" y="193"/>
                  </a:lnTo>
                  <a:lnTo>
                    <a:pt x="373" y="193"/>
                  </a:lnTo>
                  <a:lnTo>
                    <a:pt x="371" y="191"/>
                  </a:lnTo>
                  <a:lnTo>
                    <a:pt x="371" y="193"/>
                  </a:lnTo>
                  <a:lnTo>
                    <a:pt x="369" y="195"/>
                  </a:lnTo>
                  <a:lnTo>
                    <a:pt x="369" y="199"/>
                  </a:lnTo>
                  <a:lnTo>
                    <a:pt x="369" y="203"/>
                  </a:lnTo>
                  <a:lnTo>
                    <a:pt x="371" y="209"/>
                  </a:lnTo>
                  <a:lnTo>
                    <a:pt x="371" y="219"/>
                  </a:lnTo>
                  <a:lnTo>
                    <a:pt x="371" y="224"/>
                  </a:lnTo>
                  <a:lnTo>
                    <a:pt x="371" y="226"/>
                  </a:lnTo>
                  <a:lnTo>
                    <a:pt x="367" y="230"/>
                  </a:lnTo>
                  <a:lnTo>
                    <a:pt x="365" y="232"/>
                  </a:lnTo>
                  <a:lnTo>
                    <a:pt x="363" y="232"/>
                  </a:lnTo>
                  <a:lnTo>
                    <a:pt x="359" y="234"/>
                  </a:lnTo>
                  <a:lnTo>
                    <a:pt x="357" y="234"/>
                  </a:lnTo>
                  <a:lnTo>
                    <a:pt x="357" y="234"/>
                  </a:lnTo>
                  <a:lnTo>
                    <a:pt x="355" y="232"/>
                  </a:lnTo>
                  <a:lnTo>
                    <a:pt x="355" y="234"/>
                  </a:lnTo>
                  <a:lnTo>
                    <a:pt x="355" y="234"/>
                  </a:lnTo>
                  <a:lnTo>
                    <a:pt x="357" y="236"/>
                  </a:lnTo>
                  <a:lnTo>
                    <a:pt x="357" y="238"/>
                  </a:lnTo>
                  <a:lnTo>
                    <a:pt x="357" y="238"/>
                  </a:lnTo>
                  <a:lnTo>
                    <a:pt x="357" y="240"/>
                  </a:lnTo>
                  <a:lnTo>
                    <a:pt x="357" y="242"/>
                  </a:lnTo>
                  <a:lnTo>
                    <a:pt x="355" y="242"/>
                  </a:lnTo>
                  <a:lnTo>
                    <a:pt x="355" y="244"/>
                  </a:lnTo>
                  <a:lnTo>
                    <a:pt x="355" y="244"/>
                  </a:lnTo>
                  <a:lnTo>
                    <a:pt x="353" y="242"/>
                  </a:lnTo>
                  <a:lnTo>
                    <a:pt x="351" y="242"/>
                  </a:lnTo>
                  <a:lnTo>
                    <a:pt x="351" y="242"/>
                  </a:lnTo>
                  <a:lnTo>
                    <a:pt x="351" y="244"/>
                  </a:lnTo>
                  <a:lnTo>
                    <a:pt x="349" y="252"/>
                  </a:lnTo>
                  <a:lnTo>
                    <a:pt x="347" y="252"/>
                  </a:lnTo>
                  <a:lnTo>
                    <a:pt x="347" y="254"/>
                  </a:lnTo>
                  <a:lnTo>
                    <a:pt x="340" y="256"/>
                  </a:lnTo>
                  <a:lnTo>
                    <a:pt x="340" y="258"/>
                  </a:lnTo>
                  <a:lnTo>
                    <a:pt x="340" y="260"/>
                  </a:lnTo>
                  <a:lnTo>
                    <a:pt x="347" y="262"/>
                  </a:lnTo>
                  <a:lnTo>
                    <a:pt x="349" y="267"/>
                  </a:lnTo>
                  <a:lnTo>
                    <a:pt x="347" y="269"/>
                  </a:lnTo>
                  <a:lnTo>
                    <a:pt x="345" y="271"/>
                  </a:lnTo>
                  <a:lnTo>
                    <a:pt x="345" y="271"/>
                  </a:lnTo>
                  <a:lnTo>
                    <a:pt x="342" y="271"/>
                  </a:lnTo>
                  <a:lnTo>
                    <a:pt x="340" y="271"/>
                  </a:lnTo>
                  <a:lnTo>
                    <a:pt x="334" y="275"/>
                  </a:lnTo>
                  <a:lnTo>
                    <a:pt x="330" y="277"/>
                  </a:lnTo>
                  <a:lnTo>
                    <a:pt x="330" y="277"/>
                  </a:lnTo>
                  <a:lnTo>
                    <a:pt x="330" y="279"/>
                  </a:lnTo>
                  <a:lnTo>
                    <a:pt x="330" y="279"/>
                  </a:lnTo>
                  <a:lnTo>
                    <a:pt x="332" y="279"/>
                  </a:lnTo>
                  <a:lnTo>
                    <a:pt x="334" y="281"/>
                  </a:lnTo>
                  <a:lnTo>
                    <a:pt x="334" y="283"/>
                  </a:lnTo>
                  <a:lnTo>
                    <a:pt x="334" y="285"/>
                  </a:lnTo>
                  <a:lnTo>
                    <a:pt x="332" y="287"/>
                  </a:lnTo>
                  <a:lnTo>
                    <a:pt x="334" y="291"/>
                  </a:lnTo>
                  <a:lnTo>
                    <a:pt x="334" y="293"/>
                  </a:lnTo>
                  <a:lnTo>
                    <a:pt x="334" y="295"/>
                  </a:lnTo>
                  <a:lnTo>
                    <a:pt x="334" y="297"/>
                  </a:lnTo>
                  <a:lnTo>
                    <a:pt x="334" y="297"/>
                  </a:lnTo>
                  <a:lnTo>
                    <a:pt x="330" y="299"/>
                  </a:lnTo>
                  <a:lnTo>
                    <a:pt x="330" y="299"/>
                  </a:lnTo>
                  <a:lnTo>
                    <a:pt x="330" y="299"/>
                  </a:lnTo>
                  <a:lnTo>
                    <a:pt x="328" y="301"/>
                  </a:lnTo>
                  <a:lnTo>
                    <a:pt x="326" y="301"/>
                  </a:lnTo>
                  <a:lnTo>
                    <a:pt x="326" y="303"/>
                  </a:lnTo>
                  <a:lnTo>
                    <a:pt x="324" y="308"/>
                  </a:lnTo>
                  <a:lnTo>
                    <a:pt x="322" y="310"/>
                  </a:lnTo>
                  <a:lnTo>
                    <a:pt x="320" y="310"/>
                  </a:lnTo>
                  <a:lnTo>
                    <a:pt x="320" y="312"/>
                  </a:lnTo>
                  <a:lnTo>
                    <a:pt x="322" y="314"/>
                  </a:lnTo>
                  <a:lnTo>
                    <a:pt x="326" y="314"/>
                  </a:lnTo>
                  <a:lnTo>
                    <a:pt x="328" y="316"/>
                  </a:lnTo>
                  <a:lnTo>
                    <a:pt x="328" y="318"/>
                  </a:lnTo>
                  <a:lnTo>
                    <a:pt x="328" y="320"/>
                  </a:lnTo>
                  <a:lnTo>
                    <a:pt x="326" y="322"/>
                  </a:lnTo>
                  <a:lnTo>
                    <a:pt x="324" y="322"/>
                  </a:lnTo>
                  <a:lnTo>
                    <a:pt x="322" y="322"/>
                  </a:lnTo>
                  <a:lnTo>
                    <a:pt x="320" y="324"/>
                  </a:lnTo>
                  <a:lnTo>
                    <a:pt x="320" y="326"/>
                  </a:lnTo>
                  <a:lnTo>
                    <a:pt x="322" y="326"/>
                  </a:lnTo>
                  <a:lnTo>
                    <a:pt x="324" y="328"/>
                  </a:lnTo>
                  <a:lnTo>
                    <a:pt x="326" y="328"/>
                  </a:lnTo>
                  <a:lnTo>
                    <a:pt x="328" y="330"/>
                  </a:lnTo>
                  <a:lnTo>
                    <a:pt x="330" y="332"/>
                  </a:lnTo>
                  <a:lnTo>
                    <a:pt x="330" y="334"/>
                  </a:lnTo>
                  <a:lnTo>
                    <a:pt x="332" y="336"/>
                  </a:lnTo>
                  <a:lnTo>
                    <a:pt x="332" y="340"/>
                  </a:lnTo>
                  <a:lnTo>
                    <a:pt x="330" y="342"/>
                  </a:lnTo>
                  <a:lnTo>
                    <a:pt x="328" y="347"/>
                  </a:lnTo>
                  <a:lnTo>
                    <a:pt x="328" y="349"/>
                  </a:lnTo>
                  <a:lnTo>
                    <a:pt x="328" y="351"/>
                  </a:lnTo>
                  <a:lnTo>
                    <a:pt x="330" y="351"/>
                  </a:lnTo>
                  <a:lnTo>
                    <a:pt x="332" y="353"/>
                  </a:lnTo>
                  <a:lnTo>
                    <a:pt x="334" y="353"/>
                  </a:lnTo>
                  <a:lnTo>
                    <a:pt x="334" y="355"/>
                  </a:lnTo>
                  <a:lnTo>
                    <a:pt x="334" y="361"/>
                  </a:lnTo>
                  <a:lnTo>
                    <a:pt x="336" y="363"/>
                  </a:lnTo>
                  <a:lnTo>
                    <a:pt x="336" y="365"/>
                  </a:lnTo>
                  <a:lnTo>
                    <a:pt x="336" y="367"/>
                  </a:lnTo>
                  <a:lnTo>
                    <a:pt x="334" y="369"/>
                  </a:lnTo>
                  <a:lnTo>
                    <a:pt x="332" y="369"/>
                  </a:lnTo>
                  <a:lnTo>
                    <a:pt x="332" y="369"/>
                  </a:lnTo>
                  <a:lnTo>
                    <a:pt x="330" y="371"/>
                  </a:lnTo>
                  <a:lnTo>
                    <a:pt x="332" y="381"/>
                  </a:lnTo>
                  <a:lnTo>
                    <a:pt x="330" y="383"/>
                  </a:lnTo>
                  <a:lnTo>
                    <a:pt x="314" y="383"/>
                  </a:lnTo>
                  <a:lnTo>
                    <a:pt x="297" y="385"/>
                  </a:lnTo>
                  <a:lnTo>
                    <a:pt x="281" y="385"/>
                  </a:lnTo>
                  <a:lnTo>
                    <a:pt x="265" y="388"/>
                  </a:lnTo>
                  <a:lnTo>
                    <a:pt x="250" y="390"/>
                  </a:lnTo>
                  <a:lnTo>
                    <a:pt x="234" y="390"/>
                  </a:lnTo>
                  <a:lnTo>
                    <a:pt x="218" y="392"/>
                  </a:lnTo>
                  <a:lnTo>
                    <a:pt x="201" y="392"/>
                  </a:lnTo>
                  <a:lnTo>
                    <a:pt x="185" y="394"/>
                  </a:lnTo>
                  <a:lnTo>
                    <a:pt x="168" y="394"/>
                  </a:lnTo>
                  <a:lnTo>
                    <a:pt x="152" y="396"/>
                  </a:lnTo>
                  <a:lnTo>
                    <a:pt x="136" y="396"/>
                  </a:lnTo>
                  <a:lnTo>
                    <a:pt x="119" y="398"/>
                  </a:lnTo>
                  <a:lnTo>
                    <a:pt x="103" y="398"/>
                  </a:lnTo>
                  <a:lnTo>
                    <a:pt x="89" y="400"/>
                  </a:lnTo>
                  <a:lnTo>
                    <a:pt x="72" y="400"/>
                  </a:lnTo>
                  <a:lnTo>
                    <a:pt x="70" y="388"/>
                  </a:lnTo>
                  <a:lnTo>
                    <a:pt x="70" y="375"/>
                  </a:lnTo>
                  <a:lnTo>
                    <a:pt x="68" y="361"/>
                  </a:lnTo>
                  <a:lnTo>
                    <a:pt x="68" y="349"/>
                  </a:lnTo>
                  <a:lnTo>
                    <a:pt x="68" y="342"/>
                  </a:lnTo>
                  <a:lnTo>
                    <a:pt x="68" y="342"/>
                  </a:lnTo>
                  <a:lnTo>
                    <a:pt x="66" y="340"/>
                  </a:lnTo>
                  <a:lnTo>
                    <a:pt x="66" y="340"/>
                  </a:lnTo>
                  <a:lnTo>
                    <a:pt x="62" y="338"/>
                  </a:lnTo>
                  <a:lnTo>
                    <a:pt x="62" y="340"/>
                  </a:lnTo>
                  <a:lnTo>
                    <a:pt x="60" y="340"/>
                  </a:lnTo>
                  <a:lnTo>
                    <a:pt x="58" y="340"/>
                  </a:lnTo>
                  <a:lnTo>
                    <a:pt x="54" y="338"/>
                  </a:lnTo>
                  <a:lnTo>
                    <a:pt x="54" y="338"/>
                  </a:lnTo>
                  <a:lnTo>
                    <a:pt x="52" y="340"/>
                  </a:lnTo>
                  <a:lnTo>
                    <a:pt x="52" y="340"/>
                  </a:lnTo>
                  <a:lnTo>
                    <a:pt x="45" y="338"/>
                  </a:lnTo>
                  <a:lnTo>
                    <a:pt x="45" y="338"/>
                  </a:lnTo>
                  <a:lnTo>
                    <a:pt x="43" y="340"/>
                  </a:lnTo>
                  <a:lnTo>
                    <a:pt x="43" y="342"/>
                  </a:lnTo>
                  <a:lnTo>
                    <a:pt x="43" y="342"/>
                  </a:lnTo>
                  <a:lnTo>
                    <a:pt x="41" y="342"/>
                  </a:lnTo>
                  <a:lnTo>
                    <a:pt x="39" y="342"/>
                  </a:lnTo>
                  <a:lnTo>
                    <a:pt x="37" y="342"/>
                  </a:lnTo>
                  <a:lnTo>
                    <a:pt x="37" y="340"/>
                  </a:lnTo>
                  <a:lnTo>
                    <a:pt x="37" y="340"/>
                  </a:lnTo>
                  <a:lnTo>
                    <a:pt x="37" y="340"/>
                  </a:lnTo>
                  <a:lnTo>
                    <a:pt x="35" y="340"/>
                  </a:lnTo>
                  <a:lnTo>
                    <a:pt x="33" y="338"/>
                  </a:lnTo>
                  <a:lnTo>
                    <a:pt x="31" y="338"/>
                  </a:lnTo>
                  <a:lnTo>
                    <a:pt x="31" y="336"/>
                  </a:lnTo>
                  <a:lnTo>
                    <a:pt x="29" y="334"/>
                  </a:lnTo>
                  <a:lnTo>
                    <a:pt x="27" y="334"/>
                  </a:lnTo>
                  <a:lnTo>
                    <a:pt x="27" y="310"/>
                  </a:lnTo>
                  <a:lnTo>
                    <a:pt x="27" y="287"/>
                  </a:lnTo>
                  <a:lnTo>
                    <a:pt x="25" y="262"/>
                  </a:lnTo>
                  <a:lnTo>
                    <a:pt x="25" y="240"/>
                  </a:lnTo>
                  <a:lnTo>
                    <a:pt x="25" y="215"/>
                  </a:lnTo>
                  <a:lnTo>
                    <a:pt x="23" y="193"/>
                  </a:lnTo>
                  <a:lnTo>
                    <a:pt x="23" y="170"/>
                  </a:lnTo>
                  <a:lnTo>
                    <a:pt x="23" y="146"/>
                  </a:lnTo>
                  <a:lnTo>
                    <a:pt x="19" y="131"/>
                  </a:lnTo>
                  <a:lnTo>
                    <a:pt x="17" y="117"/>
                  </a:lnTo>
                  <a:lnTo>
                    <a:pt x="15" y="101"/>
                  </a:lnTo>
                  <a:lnTo>
                    <a:pt x="13" y="86"/>
                  </a:lnTo>
                  <a:lnTo>
                    <a:pt x="9" y="72"/>
                  </a:lnTo>
                  <a:lnTo>
                    <a:pt x="7" y="58"/>
                  </a:lnTo>
                  <a:lnTo>
                    <a:pt x="5" y="41"/>
                  </a:lnTo>
                  <a:lnTo>
                    <a:pt x="0" y="27"/>
                  </a:lnTo>
                  <a:lnTo>
                    <a:pt x="25" y="25"/>
                  </a:lnTo>
                  <a:lnTo>
                    <a:pt x="50" y="25"/>
                  </a:lnTo>
                  <a:lnTo>
                    <a:pt x="72" y="23"/>
                  </a:lnTo>
                  <a:lnTo>
                    <a:pt x="97" y="23"/>
                  </a:lnTo>
                  <a:lnTo>
                    <a:pt x="121" y="21"/>
                  </a:lnTo>
                  <a:lnTo>
                    <a:pt x="144" y="19"/>
                  </a:lnTo>
                  <a:lnTo>
                    <a:pt x="168" y="17"/>
                  </a:lnTo>
                  <a:lnTo>
                    <a:pt x="193" y="17"/>
                  </a:lnTo>
                  <a:lnTo>
                    <a:pt x="215" y="15"/>
                  </a:lnTo>
                  <a:lnTo>
                    <a:pt x="240" y="12"/>
                  </a:lnTo>
                  <a:lnTo>
                    <a:pt x="263" y="10"/>
                  </a:lnTo>
                  <a:lnTo>
                    <a:pt x="287" y="8"/>
                  </a:lnTo>
                  <a:lnTo>
                    <a:pt x="312" y="6"/>
                  </a:lnTo>
                  <a:lnTo>
                    <a:pt x="334" y="4"/>
                  </a:lnTo>
                  <a:lnTo>
                    <a:pt x="359" y="2"/>
                  </a:lnTo>
                  <a:lnTo>
                    <a:pt x="383" y="0"/>
                  </a:lnTo>
                  <a:lnTo>
                    <a:pt x="390" y="0"/>
                  </a:lnTo>
                  <a:lnTo>
                    <a:pt x="390" y="0"/>
                  </a:lnTo>
                  <a:lnTo>
                    <a:pt x="390" y="0"/>
                  </a:lnTo>
                  <a:lnTo>
                    <a:pt x="390" y="2"/>
                  </a:lnTo>
                  <a:lnTo>
                    <a:pt x="390" y="4"/>
                  </a:lnTo>
                  <a:lnTo>
                    <a:pt x="392" y="4"/>
                  </a:lnTo>
                  <a:lnTo>
                    <a:pt x="392" y="4"/>
                  </a:lnTo>
                  <a:lnTo>
                    <a:pt x="392" y="4"/>
                  </a:lnTo>
                  <a:lnTo>
                    <a:pt x="392" y="4"/>
                  </a:lnTo>
                  <a:lnTo>
                    <a:pt x="392" y="6"/>
                  </a:lnTo>
                  <a:lnTo>
                    <a:pt x="392" y="6"/>
                  </a:lnTo>
                  <a:lnTo>
                    <a:pt x="392" y="8"/>
                  </a:lnTo>
                  <a:lnTo>
                    <a:pt x="394" y="8"/>
                  </a:lnTo>
                  <a:lnTo>
                    <a:pt x="394" y="8"/>
                  </a:lnTo>
                  <a:lnTo>
                    <a:pt x="394" y="8"/>
                  </a:lnTo>
                  <a:lnTo>
                    <a:pt x="394" y="10"/>
                  </a:lnTo>
                  <a:lnTo>
                    <a:pt x="396" y="10"/>
                  </a:lnTo>
                  <a:lnTo>
                    <a:pt x="398" y="10"/>
                  </a:lnTo>
                  <a:lnTo>
                    <a:pt x="398" y="12"/>
                  </a:lnTo>
                  <a:lnTo>
                    <a:pt x="398" y="12"/>
                  </a:lnTo>
                  <a:lnTo>
                    <a:pt x="398" y="12"/>
                  </a:lnTo>
                  <a:lnTo>
                    <a:pt x="398" y="12"/>
                  </a:lnTo>
                  <a:lnTo>
                    <a:pt x="398" y="15"/>
                  </a:lnTo>
                  <a:lnTo>
                    <a:pt x="398" y="15"/>
                  </a:lnTo>
                  <a:lnTo>
                    <a:pt x="398" y="15"/>
                  </a:lnTo>
                  <a:lnTo>
                    <a:pt x="398" y="17"/>
                  </a:lnTo>
                  <a:lnTo>
                    <a:pt x="398" y="19"/>
                  </a:lnTo>
                  <a:lnTo>
                    <a:pt x="400" y="21"/>
                  </a:lnTo>
                  <a:lnTo>
                    <a:pt x="400" y="23"/>
                  </a:lnTo>
                  <a:lnTo>
                    <a:pt x="400" y="23"/>
                  </a:lnTo>
                  <a:lnTo>
                    <a:pt x="398" y="23"/>
                  </a:lnTo>
                  <a:lnTo>
                    <a:pt x="398" y="23"/>
                  </a:lnTo>
                  <a:lnTo>
                    <a:pt x="398" y="25"/>
                  </a:lnTo>
                  <a:lnTo>
                    <a:pt x="398" y="25"/>
                  </a:lnTo>
                  <a:lnTo>
                    <a:pt x="398" y="25"/>
                  </a:lnTo>
                  <a:lnTo>
                    <a:pt x="398" y="25"/>
                  </a:lnTo>
                  <a:lnTo>
                    <a:pt x="396" y="25"/>
                  </a:lnTo>
                  <a:lnTo>
                    <a:pt x="394" y="27"/>
                  </a:lnTo>
                  <a:lnTo>
                    <a:pt x="394" y="27"/>
                  </a:lnTo>
                  <a:lnTo>
                    <a:pt x="394" y="27"/>
                  </a:lnTo>
                  <a:lnTo>
                    <a:pt x="394" y="29"/>
                  </a:lnTo>
                  <a:lnTo>
                    <a:pt x="394" y="29"/>
                  </a:lnTo>
                  <a:lnTo>
                    <a:pt x="394" y="31"/>
                  </a:lnTo>
                  <a:lnTo>
                    <a:pt x="394" y="31"/>
                  </a:lnTo>
                  <a:lnTo>
                    <a:pt x="394" y="31"/>
                  </a:lnTo>
                  <a:lnTo>
                    <a:pt x="390" y="33"/>
                  </a:lnTo>
                  <a:lnTo>
                    <a:pt x="390" y="33"/>
                  </a:lnTo>
                  <a:lnTo>
                    <a:pt x="388" y="35"/>
                  </a:lnTo>
                  <a:lnTo>
                    <a:pt x="388" y="35"/>
                  </a:lnTo>
                  <a:lnTo>
                    <a:pt x="385" y="35"/>
                  </a:lnTo>
                  <a:lnTo>
                    <a:pt x="385" y="35"/>
                  </a:lnTo>
                  <a:lnTo>
                    <a:pt x="385" y="35"/>
                  </a:lnTo>
                  <a:lnTo>
                    <a:pt x="385" y="37"/>
                  </a:lnTo>
                  <a:lnTo>
                    <a:pt x="385" y="37"/>
                  </a:lnTo>
                  <a:lnTo>
                    <a:pt x="385" y="39"/>
                  </a:lnTo>
                  <a:lnTo>
                    <a:pt x="385" y="39"/>
                  </a:lnTo>
                  <a:lnTo>
                    <a:pt x="385" y="39"/>
                  </a:lnTo>
                  <a:lnTo>
                    <a:pt x="385" y="39"/>
                  </a:lnTo>
                  <a:lnTo>
                    <a:pt x="385" y="41"/>
                  </a:lnTo>
                  <a:lnTo>
                    <a:pt x="383" y="41"/>
                  </a:lnTo>
                  <a:lnTo>
                    <a:pt x="383" y="41"/>
                  </a:lnTo>
                  <a:lnTo>
                    <a:pt x="383" y="41"/>
                  </a:lnTo>
                  <a:lnTo>
                    <a:pt x="381" y="41"/>
                  </a:lnTo>
                  <a:lnTo>
                    <a:pt x="381" y="41"/>
                  </a:lnTo>
                  <a:lnTo>
                    <a:pt x="381" y="43"/>
                  </a:lnTo>
                  <a:lnTo>
                    <a:pt x="381" y="43"/>
                  </a:lnTo>
                  <a:lnTo>
                    <a:pt x="379" y="43"/>
                  </a:lnTo>
                  <a:lnTo>
                    <a:pt x="379" y="45"/>
                  </a:lnTo>
                  <a:lnTo>
                    <a:pt x="377" y="47"/>
                  </a:lnTo>
                  <a:lnTo>
                    <a:pt x="377" y="49"/>
                  </a:lnTo>
                  <a:lnTo>
                    <a:pt x="375" y="56"/>
                  </a:lnTo>
                  <a:lnTo>
                    <a:pt x="375" y="56"/>
                  </a:lnTo>
                  <a:lnTo>
                    <a:pt x="375" y="56"/>
                  </a:lnTo>
                  <a:lnTo>
                    <a:pt x="375" y="58"/>
                  </a:lnTo>
                  <a:lnTo>
                    <a:pt x="375" y="58"/>
                  </a:lnTo>
                  <a:lnTo>
                    <a:pt x="381" y="56"/>
                  </a:lnTo>
                  <a:lnTo>
                    <a:pt x="394" y="56"/>
                  </a:lnTo>
                  <a:lnTo>
                    <a:pt x="406" y="53"/>
                  </a:lnTo>
                  <a:lnTo>
                    <a:pt x="418" y="51"/>
                  </a:lnTo>
                  <a:lnTo>
                    <a:pt x="431" y="51"/>
                  </a:lnTo>
                  <a:lnTo>
                    <a:pt x="431" y="51"/>
                  </a:lnTo>
                  <a:lnTo>
                    <a:pt x="431" y="49"/>
                  </a:lnTo>
                  <a:lnTo>
                    <a:pt x="431" y="49"/>
                  </a:lnTo>
                  <a:lnTo>
                    <a:pt x="433" y="49"/>
                  </a:lnTo>
                  <a:lnTo>
                    <a:pt x="433" y="49"/>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AR</a:t>
              </a:r>
            </a:p>
          </p:txBody>
        </p:sp>
        <p:sp>
          <p:nvSpPr>
            <p:cNvPr id="113" name="Freeform 54">
              <a:extLst>
                <a:ext uri="{FF2B5EF4-FFF2-40B4-BE49-F238E27FC236}">
                  <a16:creationId xmlns:a16="http://schemas.microsoft.com/office/drawing/2014/main" id="{92C16F17-3E7D-DE35-DDF4-0E83DA2BC77B}"/>
                </a:ext>
              </a:extLst>
            </p:cNvPr>
            <p:cNvSpPr>
              <a:spLocks noEditPoints="1"/>
            </p:cNvSpPr>
            <p:nvPr/>
          </p:nvSpPr>
          <p:spPr bwMode="auto">
            <a:xfrm>
              <a:off x="3776" y="1576"/>
              <a:ext cx="340" cy="539"/>
            </a:xfrm>
            <a:custGeom>
              <a:avLst/>
              <a:gdLst>
                <a:gd name="T0" fmla="*/ 45 w 340"/>
                <a:gd name="T1" fmla="*/ 539 h 539"/>
                <a:gd name="T2" fmla="*/ 340 w 340"/>
                <a:gd name="T3" fmla="*/ 418 h 539"/>
                <a:gd name="T4" fmla="*/ 328 w 340"/>
                <a:gd name="T5" fmla="*/ 402 h 539"/>
                <a:gd name="T6" fmla="*/ 328 w 340"/>
                <a:gd name="T7" fmla="*/ 389 h 539"/>
                <a:gd name="T8" fmla="*/ 328 w 340"/>
                <a:gd name="T9" fmla="*/ 365 h 539"/>
                <a:gd name="T10" fmla="*/ 321 w 340"/>
                <a:gd name="T11" fmla="*/ 350 h 539"/>
                <a:gd name="T12" fmla="*/ 315 w 340"/>
                <a:gd name="T13" fmla="*/ 330 h 539"/>
                <a:gd name="T14" fmla="*/ 319 w 340"/>
                <a:gd name="T15" fmla="*/ 311 h 539"/>
                <a:gd name="T16" fmla="*/ 319 w 340"/>
                <a:gd name="T17" fmla="*/ 295 h 539"/>
                <a:gd name="T18" fmla="*/ 326 w 340"/>
                <a:gd name="T19" fmla="*/ 291 h 539"/>
                <a:gd name="T20" fmla="*/ 328 w 340"/>
                <a:gd name="T21" fmla="*/ 285 h 539"/>
                <a:gd name="T22" fmla="*/ 330 w 340"/>
                <a:gd name="T23" fmla="*/ 283 h 539"/>
                <a:gd name="T24" fmla="*/ 321 w 340"/>
                <a:gd name="T25" fmla="*/ 273 h 539"/>
                <a:gd name="T26" fmla="*/ 319 w 340"/>
                <a:gd name="T27" fmla="*/ 262 h 539"/>
                <a:gd name="T28" fmla="*/ 307 w 340"/>
                <a:gd name="T29" fmla="*/ 246 h 539"/>
                <a:gd name="T30" fmla="*/ 303 w 340"/>
                <a:gd name="T31" fmla="*/ 234 h 539"/>
                <a:gd name="T32" fmla="*/ 299 w 340"/>
                <a:gd name="T33" fmla="*/ 227 h 539"/>
                <a:gd name="T34" fmla="*/ 293 w 340"/>
                <a:gd name="T35" fmla="*/ 209 h 539"/>
                <a:gd name="T36" fmla="*/ 281 w 340"/>
                <a:gd name="T37" fmla="*/ 170 h 539"/>
                <a:gd name="T38" fmla="*/ 260 w 340"/>
                <a:gd name="T39" fmla="*/ 107 h 539"/>
                <a:gd name="T40" fmla="*/ 240 w 340"/>
                <a:gd name="T41" fmla="*/ 41 h 539"/>
                <a:gd name="T42" fmla="*/ 227 w 340"/>
                <a:gd name="T43" fmla="*/ 2 h 539"/>
                <a:gd name="T44" fmla="*/ 158 w 340"/>
                <a:gd name="T45" fmla="*/ 8 h 539"/>
                <a:gd name="T46" fmla="*/ 59 w 340"/>
                <a:gd name="T47" fmla="*/ 18 h 539"/>
                <a:gd name="T48" fmla="*/ 2 w 340"/>
                <a:gd name="T49" fmla="*/ 27 h 539"/>
                <a:gd name="T50" fmla="*/ 10 w 340"/>
                <a:gd name="T51" fmla="*/ 45 h 539"/>
                <a:gd name="T52" fmla="*/ 10 w 340"/>
                <a:gd name="T53" fmla="*/ 117 h 539"/>
                <a:gd name="T54" fmla="*/ 10 w 340"/>
                <a:gd name="T55" fmla="*/ 234 h 539"/>
                <a:gd name="T56" fmla="*/ 10 w 340"/>
                <a:gd name="T57" fmla="*/ 324 h 539"/>
                <a:gd name="T58" fmla="*/ 10 w 340"/>
                <a:gd name="T59" fmla="*/ 365 h 539"/>
                <a:gd name="T60" fmla="*/ 22 w 340"/>
                <a:gd name="T61" fmla="*/ 445 h 539"/>
                <a:gd name="T62" fmla="*/ 35 w 340"/>
                <a:gd name="T63" fmla="*/ 525 h 539"/>
                <a:gd name="T64" fmla="*/ 43 w 340"/>
                <a:gd name="T65" fmla="*/ 523 h 539"/>
                <a:gd name="T66" fmla="*/ 53 w 340"/>
                <a:gd name="T67" fmla="*/ 527 h 539"/>
                <a:gd name="T68" fmla="*/ 59 w 340"/>
                <a:gd name="T69" fmla="*/ 529 h 539"/>
                <a:gd name="T70" fmla="*/ 61 w 340"/>
                <a:gd name="T71" fmla="*/ 506 h 539"/>
                <a:gd name="T72" fmla="*/ 63 w 340"/>
                <a:gd name="T73" fmla="*/ 498 h 539"/>
                <a:gd name="T74" fmla="*/ 63 w 340"/>
                <a:gd name="T75" fmla="*/ 488 h 539"/>
                <a:gd name="T76" fmla="*/ 68 w 340"/>
                <a:gd name="T77" fmla="*/ 486 h 539"/>
                <a:gd name="T78" fmla="*/ 74 w 340"/>
                <a:gd name="T79" fmla="*/ 490 h 539"/>
                <a:gd name="T80" fmla="*/ 76 w 340"/>
                <a:gd name="T81" fmla="*/ 510 h 539"/>
                <a:gd name="T82" fmla="*/ 80 w 340"/>
                <a:gd name="T83" fmla="*/ 516 h 539"/>
                <a:gd name="T84" fmla="*/ 86 w 340"/>
                <a:gd name="T85" fmla="*/ 518 h 539"/>
                <a:gd name="T86" fmla="*/ 88 w 340"/>
                <a:gd name="T87" fmla="*/ 521 h 539"/>
                <a:gd name="T88" fmla="*/ 84 w 340"/>
                <a:gd name="T89" fmla="*/ 535 h 539"/>
                <a:gd name="T90" fmla="*/ 72 w 340"/>
                <a:gd name="T91" fmla="*/ 537 h 539"/>
                <a:gd name="T92" fmla="*/ 113 w 340"/>
                <a:gd name="T93" fmla="*/ 525 h 539"/>
                <a:gd name="T94" fmla="*/ 108 w 340"/>
                <a:gd name="T95" fmla="*/ 521 h 539"/>
                <a:gd name="T96" fmla="*/ 113 w 340"/>
                <a:gd name="T97" fmla="*/ 523 h 539"/>
                <a:gd name="T98" fmla="*/ 121 w 340"/>
                <a:gd name="T99" fmla="*/ 516 h 539"/>
                <a:gd name="T100" fmla="*/ 125 w 340"/>
                <a:gd name="T101" fmla="*/ 506 h 539"/>
                <a:gd name="T102" fmla="*/ 121 w 340"/>
                <a:gd name="T103" fmla="*/ 498 h 539"/>
                <a:gd name="T104" fmla="*/ 123 w 340"/>
                <a:gd name="T105" fmla="*/ 484 h 539"/>
                <a:gd name="T106" fmla="*/ 108 w 340"/>
                <a:gd name="T107" fmla="*/ 473 h 539"/>
                <a:gd name="T108" fmla="*/ 100 w 340"/>
                <a:gd name="T109" fmla="*/ 463 h 539"/>
                <a:gd name="T110" fmla="*/ 121 w 340"/>
                <a:gd name="T111" fmla="*/ 449 h 539"/>
                <a:gd name="T112" fmla="*/ 223 w 340"/>
                <a:gd name="T113" fmla="*/ 436 h 539"/>
                <a:gd name="T114" fmla="*/ 326 w 340"/>
                <a:gd name="T115" fmla="*/ 42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539">
                  <a:moveTo>
                    <a:pt x="63" y="533"/>
                  </a:moveTo>
                  <a:lnTo>
                    <a:pt x="61" y="535"/>
                  </a:lnTo>
                  <a:lnTo>
                    <a:pt x="61" y="535"/>
                  </a:lnTo>
                  <a:lnTo>
                    <a:pt x="61" y="535"/>
                  </a:lnTo>
                  <a:lnTo>
                    <a:pt x="59" y="535"/>
                  </a:lnTo>
                  <a:lnTo>
                    <a:pt x="53" y="537"/>
                  </a:lnTo>
                  <a:lnTo>
                    <a:pt x="45" y="539"/>
                  </a:lnTo>
                  <a:lnTo>
                    <a:pt x="45" y="539"/>
                  </a:lnTo>
                  <a:lnTo>
                    <a:pt x="65" y="537"/>
                  </a:lnTo>
                  <a:lnTo>
                    <a:pt x="65" y="537"/>
                  </a:lnTo>
                  <a:lnTo>
                    <a:pt x="68" y="535"/>
                  </a:lnTo>
                  <a:lnTo>
                    <a:pt x="68" y="535"/>
                  </a:lnTo>
                  <a:lnTo>
                    <a:pt x="63" y="533"/>
                  </a:lnTo>
                  <a:close/>
                  <a:moveTo>
                    <a:pt x="340" y="418"/>
                  </a:moveTo>
                  <a:lnTo>
                    <a:pt x="340" y="416"/>
                  </a:lnTo>
                  <a:lnTo>
                    <a:pt x="338" y="412"/>
                  </a:lnTo>
                  <a:lnTo>
                    <a:pt x="334" y="408"/>
                  </a:lnTo>
                  <a:lnTo>
                    <a:pt x="332" y="404"/>
                  </a:lnTo>
                  <a:lnTo>
                    <a:pt x="330" y="404"/>
                  </a:lnTo>
                  <a:lnTo>
                    <a:pt x="328" y="402"/>
                  </a:lnTo>
                  <a:lnTo>
                    <a:pt x="328" y="402"/>
                  </a:lnTo>
                  <a:lnTo>
                    <a:pt x="328" y="398"/>
                  </a:lnTo>
                  <a:lnTo>
                    <a:pt x="328" y="396"/>
                  </a:lnTo>
                  <a:lnTo>
                    <a:pt x="326" y="393"/>
                  </a:lnTo>
                  <a:lnTo>
                    <a:pt x="326" y="393"/>
                  </a:lnTo>
                  <a:lnTo>
                    <a:pt x="326" y="391"/>
                  </a:lnTo>
                  <a:lnTo>
                    <a:pt x="328" y="389"/>
                  </a:lnTo>
                  <a:lnTo>
                    <a:pt x="328" y="389"/>
                  </a:lnTo>
                  <a:lnTo>
                    <a:pt x="328" y="381"/>
                  </a:lnTo>
                  <a:lnTo>
                    <a:pt x="328" y="377"/>
                  </a:lnTo>
                  <a:lnTo>
                    <a:pt x="328" y="373"/>
                  </a:lnTo>
                  <a:lnTo>
                    <a:pt x="328" y="371"/>
                  </a:lnTo>
                  <a:lnTo>
                    <a:pt x="328" y="369"/>
                  </a:lnTo>
                  <a:lnTo>
                    <a:pt x="328" y="367"/>
                  </a:lnTo>
                  <a:lnTo>
                    <a:pt x="328" y="365"/>
                  </a:lnTo>
                  <a:lnTo>
                    <a:pt x="328" y="363"/>
                  </a:lnTo>
                  <a:lnTo>
                    <a:pt x="328" y="361"/>
                  </a:lnTo>
                  <a:lnTo>
                    <a:pt x="326" y="361"/>
                  </a:lnTo>
                  <a:lnTo>
                    <a:pt x="326" y="357"/>
                  </a:lnTo>
                  <a:lnTo>
                    <a:pt x="326" y="355"/>
                  </a:lnTo>
                  <a:lnTo>
                    <a:pt x="326" y="355"/>
                  </a:lnTo>
                  <a:lnTo>
                    <a:pt x="321" y="350"/>
                  </a:lnTo>
                  <a:lnTo>
                    <a:pt x="319" y="348"/>
                  </a:lnTo>
                  <a:lnTo>
                    <a:pt x="315" y="336"/>
                  </a:lnTo>
                  <a:lnTo>
                    <a:pt x="315" y="334"/>
                  </a:lnTo>
                  <a:lnTo>
                    <a:pt x="315" y="332"/>
                  </a:lnTo>
                  <a:lnTo>
                    <a:pt x="315" y="332"/>
                  </a:lnTo>
                  <a:lnTo>
                    <a:pt x="315" y="330"/>
                  </a:lnTo>
                  <a:lnTo>
                    <a:pt x="315" y="330"/>
                  </a:lnTo>
                  <a:lnTo>
                    <a:pt x="315" y="326"/>
                  </a:lnTo>
                  <a:lnTo>
                    <a:pt x="317" y="322"/>
                  </a:lnTo>
                  <a:lnTo>
                    <a:pt x="319" y="318"/>
                  </a:lnTo>
                  <a:lnTo>
                    <a:pt x="319" y="316"/>
                  </a:lnTo>
                  <a:lnTo>
                    <a:pt x="319" y="314"/>
                  </a:lnTo>
                  <a:lnTo>
                    <a:pt x="319" y="314"/>
                  </a:lnTo>
                  <a:lnTo>
                    <a:pt x="319" y="311"/>
                  </a:lnTo>
                  <a:lnTo>
                    <a:pt x="319" y="309"/>
                  </a:lnTo>
                  <a:lnTo>
                    <a:pt x="319" y="307"/>
                  </a:lnTo>
                  <a:lnTo>
                    <a:pt x="319" y="305"/>
                  </a:lnTo>
                  <a:lnTo>
                    <a:pt x="319" y="303"/>
                  </a:lnTo>
                  <a:lnTo>
                    <a:pt x="319" y="301"/>
                  </a:lnTo>
                  <a:lnTo>
                    <a:pt x="319" y="299"/>
                  </a:lnTo>
                  <a:lnTo>
                    <a:pt x="319" y="295"/>
                  </a:lnTo>
                  <a:lnTo>
                    <a:pt x="321" y="295"/>
                  </a:lnTo>
                  <a:lnTo>
                    <a:pt x="321" y="295"/>
                  </a:lnTo>
                  <a:lnTo>
                    <a:pt x="321" y="293"/>
                  </a:lnTo>
                  <a:lnTo>
                    <a:pt x="324" y="293"/>
                  </a:lnTo>
                  <a:lnTo>
                    <a:pt x="326" y="293"/>
                  </a:lnTo>
                  <a:lnTo>
                    <a:pt x="326" y="291"/>
                  </a:lnTo>
                  <a:lnTo>
                    <a:pt x="326" y="291"/>
                  </a:lnTo>
                  <a:lnTo>
                    <a:pt x="326" y="289"/>
                  </a:lnTo>
                  <a:lnTo>
                    <a:pt x="326" y="289"/>
                  </a:lnTo>
                  <a:lnTo>
                    <a:pt x="328" y="289"/>
                  </a:lnTo>
                  <a:lnTo>
                    <a:pt x="328" y="289"/>
                  </a:lnTo>
                  <a:lnTo>
                    <a:pt x="330" y="289"/>
                  </a:lnTo>
                  <a:lnTo>
                    <a:pt x="330" y="287"/>
                  </a:lnTo>
                  <a:lnTo>
                    <a:pt x="328" y="285"/>
                  </a:lnTo>
                  <a:lnTo>
                    <a:pt x="330" y="285"/>
                  </a:lnTo>
                  <a:lnTo>
                    <a:pt x="330" y="285"/>
                  </a:lnTo>
                  <a:lnTo>
                    <a:pt x="330" y="285"/>
                  </a:lnTo>
                  <a:lnTo>
                    <a:pt x="332" y="283"/>
                  </a:lnTo>
                  <a:lnTo>
                    <a:pt x="330" y="283"/>
                  </a:lnTo>
                  <a:lnTo>
                    <a:pt x="330" y="283"/>
                  </a:lnTo>
                  <a:lnTo>
                    <a:pt x="330" y="283"/>
                  </a:lnTo>
                  <a:lnTo>
                    <a:pt x="330" y="281"/>
                  </a:lnTo>
                  <a:lnTo>
                    <a:pt x="328" y="281"/>
                  </a:lnTo>
                  <a:lnTo>
                    <a:pt x="324" y="279"/>
                  </a:lnTo>
                  <a:lnTo>
                    <a:pt x="321" y="277"/>
                  </a:lnTo>
                  <a:lnTo>
                    <a:pt x="321" y="277"/>
                  </a:lnTo>
                  <a:lnTo>
                    <a:pt x="321" y="273"/>
                  </a:lnTo>
                  <a:lnTo>
                    <a:pt x="321" y="273"/>
                  </a:lnTo>
                  <a:lnTo>
                    <a:pt x="321" y="271"/>
                  </a:lnTo>
                  <a:lnTo>
                    <a:pt x="321" y="271"/>
                  </a:lnTo>
                  <a:lnTo>
                    <a:pt x="321" y="268"/>
                  </a:lnTo>
                  <a:lnTo>
                    <a:pt x="321" y="266"/>
                  </a:lnTo>
                  <a:lnTo>
                    <a:pt x="321" y="266"/>
                  </a:lnTo>
                  <a:lnTo>
                    <a:pt x="319" y="264"/>
                  </a:lnTo>
                  <a:lnTo>
                    <a:pt x="319" y="262"/>
                  </a:lnTo>
                  <a:lnTo>
                    <a:pt x="317" y="258"/>
                  </a:lnTo>
                  <a:lnTo>
                    <a:pt x="317" y="258"/>
                  </a:lnTo>
                  <a:lnTo>
                    <a:pt x="315" y="256"/>
                  </a:lnTo>
                  <a:lnTo>
                    <a:pt x="309" y="248"/>
                  </a:lnTo>
                  <a:lnTo>
                    <a:pt x="309" y="248"/>
                  </a:lnTo>
                  <a:lnTo>
                    <a:pt x="309" y="246"/>
                  </a:lnTo>
                  <a:lnTo>
                    <a:pt x="307" y="246"/>
                  </a:lnTo>
                  <a:lnTo>
                    <a:pt x="307" y="246"/>
                  </a:lnTo>
                  <a:lnTo>
                    <a:pt x="307" y="244"/>
                  </a:lnTo>
                  <a:lnTo>
                    <a:pt x="307" y="242"/>
                  </a:lnTo>
                  <a:lnTo>
                    <a:pt x="305" y="240"/>
                  </a:lnTo>
                  <a:lnTo>
                    <a:pt x="303" y="236"/>
                  </a:lnTo>
                  <a:lnTo>
                    <a:pt x="303" y="236"/>
                  </a:lnTo>
                  <a:lnTo>
                    <a:pt x="303" y="234"/>
                  </a:lnTo>
                  <a:lnTo>
                    <a:pt x="301" y="234"/>
                  </a:lnTo>
                  <a:lnTo>
                    <a:pt x="303" y="232"/>
                  </a:lnTo>
                  <a:lnTo>
                    <a:pt x="301" y="232"/>
                  </a:lnTo>
                  <a:lnTo>
                    <a:pt x="299" y="230"/>
                  </a:lnTo>
                  <a:lnTo>
                    <a:pt x="299" y="230"/>
                  </a:lnTo>
                  <a:lnTo>
                    <a:pt x="299" y="227"/>
                  </a:lnTo>
                  <a:lnTo>
                    <a:pt x="299" y="227"/>
                  </a:lnTo>
                  <a:lnTo>
                    <a:pt x="297" y="227"/>
                  </a:lnTo>
                  <a:lnTo>
                    <a:pt x="297" y="223"/>
                  </a:lnTo>
                  <a:lnTo>
                    <a:pt x="293" y="215"/>
                  </a:lnTo>
                  <a:lnTo>
                    <a:pt x="293" y="215"/>
                  </a:lnTo>
                  <a:lnTo>
                    <a:pt x="293" y="211"/>
                  </a:lnTo>
                  <a:lnTo>
                    <a:pt x="293" y="211"/>
                  </a:lnTo>
                  <a:lnTo>
                    <a:pt x="293" y="209"/>
                  </a:lnTo>
                  <a:lnTo>
                    <a:pt x="291" y="205"/>
                  </a:lnTo>
                  <a:lnTo>
                    <a:pt x="289" y="203"/>
                  </a:lnTo>
                  <a:lnTo>
                    <a:pt x="289" y="197"/>
                  </a:lnTo>
                  <a:lnTo>
                    <a:pt x="287" y="191"/>
                  </a:lnTo>
                  <a:lnTo>
                    <a:pt x="285" y="184"/>
                  </a:lnTo>
                  <a:lnTo>
                    <a:pt x="283" y="178"/>
                  </a:lnTo>
                  <a:lnTo>
                    <a:pt x="281" y="170"/>
                  </a:lnTo>
                  <a:lnTo>
                    <a:pt x="276" y="162"/>
                  </a:lnTo>
                  <a:lnTo>
                    <a:pt x="274" y="154"/>
                  </a:lnTo>
                  <a:lnTo>
                    <a:pt x="272" y="143"/>
                  </a:lnTo>
                  <a:lnTo>
                    <a:pt x="268" y="135"/>
                  </a:lnTo>
                  <a:lnTo>
                    <a:pt x="266" y="125"/>
                  </a:lnTo>
                  <a:lnTo>
                    <a:pt x="262" y="115"/>
                  </a:lnTo>
                  <a:lnTo>
                    <a:pt x="260" y="107"/>
                  </a:lnTo>
                  <a:lnTo>
                    <a:pt x="256" y="96"/>
                  </a:lnTo>
                  <a:lnTo>
                    <a:pt x="254" y="86"/>
                  </a:lnTo>
                  <a:lnTo>
                    <a:pt x="250" y="76"/>
                  </a:lnTo>
                  <a:lnTo>
                    <a:pt x="248" y="68"/>
                  </a:lnTo>
                  <a:lnTo>
                    <a:pt x="246" y="57"/>
                  </a:lnTo>
                  <a:lnTo>
                    <a:pt x="242" y="49"/>
                  </a:lnTo>
                  <a:lnTo>
                    <a:pt x="240" y="41"/>
                  </a:lnTo>
                  <a:lnTo>
                    <a:pt x="238" y="33"/>
                  </a:lnTo>
                  <a:lnTo>
                    <a:pt x="235" y="27"/>
                  </a:lnTo>
                  <a:lnTo>
                    <a:pt x="233" y="20"/>
                  </a:lnTo>
                  <a:lnTo>
                    <a:pt x="231" y="14"/>
                  </a:lnTo>
                  <a:lnTo>
                    <a:pt x="229" y="10"/>
                  </a:lnTo>
                  <a:lnTo>
                    <a:pt x="229" y="6"/>
                  </a:lnTo>
                  <a:lnTo>
                    <a:pt x="227" y="2"/>
                  </a:lnTo>
                  <a:lnTo>
                    <a:pt x="227" y="0"/>
                  </a:lnTo>
                  <a:lnTo>
                    <a:pt x="227" y="0"/>
                  </a:lnTo>
                  <a:lnTo>
                    <a:pt x="213" y="2"/>
                  </a:lnTo>
                  <a:lnTo>
                    <a:pt x="199" y="4"/>
                  </a:lnTo>
                  <a:lnTo>
                    <a:pt x="186" y="4"/>
                  </a:lnTo>
                  <a:lnTo>
                    <a:pt x="172" y="6"/>
                  </a:lnTo>
                  <a:lnTo>
                    <a:pt x="158" y="8"/>
                  </a:lnTo>
                  <a:lnTo>
                    <a:pt x="143" y="10"/>
                  </a:lnTo>
                  <a:lnTo>
                    <a:pt x="129" y="12"/>
                  </a:lnTo>
                  <a:lnTo>
                    <a:pt x="117" y="12"/>
                  </a:lnTo>
                  <a:lnTo>
                    <a:pt x="102" y="14"/>
                  </a:lnTo>
                  <a:lnTo>
                    <a:pt x="88" y="16"/>
                  </a:lnTo>
                  <a:lnTo>
                    <a:pt x="74" y="16"/>
                  </a:lnTo>
                  <a:lnTo>
                    <a:pt x="59" y="18"/>
                  </a:lnTo>
                  <a:lnTo>
                    <a:pt x="47" y="20"/>
                  </a:lnTo>
                  <a:lnTo>
                    <a:pt x="33" y="20"/>
                  </a:lnTo>
                  <a:lnTo>
                    <a:pt x="18" y="23"/>
                  </a:lnTo>
                  <a:lnTo>
                    <a:pt x="4" y="25"/>
                  </a:lnTo>
                  <a:lnTo>
                    <a:pt x="2" y="25"/>
                  </a:lnTo>
                  <a:lnTo>
                    <a:pt x="0" y="25"/>
                  </a:lnTo>
                  <a:lnTo>
                    <a:pt x="2" y="27"/>
                  </a:lnTo>
                  <a:lnTo>
                    <a:pt x="4" y="31"/>
                  </a:lnTo>
                  <a:lnTo>
                    <a:pt x="6" y="35"/>
                  </a:lnTo>
                  <a:lnTo>
                    <a:pt x="10" y="37"/>
                  </a:lnTo>
                  <a:lnTo>
                    <a:pt x="10" y="37"/>
                  </a:lnTo>
                  <a:lnTo>
                    <a:pt x="10" y="37"/>
                  </a:lnTo>
                  <a:lnTo>
                    <a:pt x="10" y="43"/>
                  </a:lnTo>
                  <a:lnTo>
                    <a:pt x="10" y="45"/>
                  </a:lnTo>
                  <a:lnTo>
                    <a:pt x="10" y="55"/>
                  </a:lnTo>
                  <a:lnTo>
                    <a:pt x="10" y="64"/>
                  </a:lnTo>
                  <a:lnTo>
                    <a:pt x="10" y="72"/>
                  </a:lnTo>
                  <a:lnTo>
                    <a:pt x="10" y="82"/>
                  </a:lnTo>
                  <a:lnTo>
                    <a:pt x="10" y="92"/>
                  </a:lnTo>
                  <a:lnTo>
                    <a:pt x="10" y="105"/>
                  </a:lnTo>
                  <a:lnTo>
                    <a:pt x="10" y="117"/>
                  </a:lnTo>
                  <a:lnTo>
                    <a:pt x="10" y="129"/>
                  </a:lnTo>
                  <a:lnTo>
                    <a:pt x="10" y="143"/>
                  </a:lnTo>
                  <a:lnTo>
                    <a:pt x="10" y="158"/>
                  </a:lnTo>
                  <a:lnTo>
                    <a:pt x="10" y="172"/>
                  </a:lnTo>
                  <a:lnTo>
                    <a:pt x="10" y="189"/>
                  </a:lnTo>
                  <a:lnTo>
                    <a:pt x="10" y="217"/>
                  </a:lnTo>
                  <a:lnTo>
                    <a:pt x="10" y="234"/>
                  </a:lnTo>
                  <a:lnTo>
                    <a:pt x="10" y="248"/>
                  </a:lnTo>
                  <a:lnTo>
                    <a:pt x="10" y="262"/>
                  </a:lnTo>
                  <a:lnTo>
                    <a:pt x="10" y="277"/>
                  </a:lnTo>
                  <a:lnTo>
                    <a:pt x="10" y="289"/>
                  </a:lnTo>
                  <a:lnTo>
                    <a:pt x="10" y="301"/>
                  </a:lnTo>
                  <a:lnTo>
                    <a:pt x="10" y="314"/>
                  </a:lnTo>
                  <a:lnTo>
                    <a:pt x="10" y="324"/>
                  </a:lnTo>
                  <a:lnTo>
                    <a:pt x="10" y="334"/>
                  </a:lnTo>
                  <a:lnTo>
                    <a:pt x="10" y="342"/>
                  </a:lnTo>
                  <a:lnTo>
                    <a:pt x="10" y="350"/>
                  </a:lnTo>
                  <a:lnTo>
                    <a:pt x="10" y="357"/>
                  </a:lnTo>
                  <a:lnTo>
                    <a:pt x="10" y="361"/>
                  </a:lnTo>
                  <a:lnTo>
                    <a:pt x="10" y="363"/>
                  </a:lnTo>
                  <a:lnTo>
                    <a:pt x="10" y="365"/>
                  </a:lnTo>
                  <a:lnTo>
                    <a:pt x="12" y="373"/>
                  </a:lnTo>
                  <a:lnTo>
                    <a:pt x="12" y="383"/>
                  </a:lnTo>
                  <a:lnTo>
                    <a:pt x="14" y="393"/>
                  </a:lnTo>
                  <a:lnTo>
                    <a:pt x="16" y="404"/>
                  </a:lnTo>
                  <a:lnTo>
                    <a:pt x="18" y="414"/>
                  </a:lnTo>
                  <a:lnTo>
                    <a:pt x="18" y="424"/>
                  </a:lnTo>
                  <a:lnTo>
                    <a:pt x="22" y="445"/>
                  </a:lnTo>
                  <a:lnTo>
                    <a:pt x="22" y="455"/>
                  </a:lnTo>
                  <a:lnTo>
                    <a:pt x="25" y="463"/>
                  </a:lnTo>
                  <a:lnTo>
                    <a:pt x="27" y="473"/>
                  </a:lnTo>
                  <a:lnTo>
                    <a:pt x="29" y="484"/>
                  </a:lnTo>
                  <a:lnTo>
                    <a:pt x="31" y="494"/>
                  </a:lnTo>
                  <a:lnTo>
                    <a:pt x="31" y="504"/>
                  </a:lnTo>
                  <a:lnTo>
                    <a:pt x="35" y="525"/>
                  </a:lnTo>
                  <a:lnTo>
                    <a:pt x="37" y="523"/>
                  </a:lnTo>
                  <a:lnTo>
                    <a:pt x="39" y="523"/>
                  </a:lnTo>
                  <a:lnTo>
                    <a:pt x="41" y="523"/>
                  </a:lnTo>
                  <a:lnTo>
                    <a:pt x="43" y="525"/>
                  </a:lnTo>
                  <a:lnTo>
                    <a:pt x="43" y="525"/>
                  </a:lnTo>
                  <a:lnTo>
                    <a:pt x="43" y="523"/>
                  </a:lnTo>
                  <a:lnTo>
                    <a:pt x="43" y="523"/>
                  </a:lnTo>
                  <a:lnTo>
                    <a:pt x="43" y="523"/>
                  </a:lnTo>
                  <a:lnTo>
                    <a:pt x="43" y="523"/>
                  </a:lnTo>
                  <a:lnTo>
                    <a:pt x="45" y="523"/>
                  </a:lnTo>
                  <a:lnTo>
                    <a:pt x="51" y="523"/>
                  </a:lnTo>
                  <a:lnTo>
                    <a:pt x="55" y="525"/>
                  </a:lnTo>
                  <a:lnTo>
                    <a:pt x="53" y="527"/>
                  </a:lnTo>
                  <a:lnTo>
                    <a:pt x="53" y="527"/>
                  </a:lnTo>
                  <a:lnTo>
                    <a:pt x="55" y="529"/>
                  </a:lnTo>
                  <a:lnTo>
                    <a:pt x="57" y="529"/>
                  </a:lnTo>
                  <a:lnTo>
                    <a:pt x="57" y="529"/>
                  </a:lnTo>
                  <a:lnTo>
                    <a:pt x="59" y="527"/>
                  </a:lnTo>
                  <a:lnTo>
                    <a:pt x="59" y="529"/>
                  </a:lnTo>
                  <a:lnTo>
                    <a:pt x="59" y="529"/>
                  </a:lnTo>
                  <a:lnTo>
                    <a:pt x="59" y="529"/>
                  </a:lnTo>
                  <a:lnTo>
                    <a:pt x="61" y="529"/>
                  </a:lnTo>
                  <a:lnTo>
                    <a:pt x="61" y="527"/>
                  </a:lnTo>
                  <a:lnTo>
                    <a:pt x="61" y="518"/>
                  </a:lnTo>
                  <a:lnTo>
                    <a:pt x="61" y="514"/>
                  </a:lnTo>
                  <a:lnTo>
                    <a:pt x="61" y="512"/>
                  </a:lnTo>
                  <a:lnTo>
                    <a:pt x="61" y="508"/>
                  </a:lnTo>
                  <a:lnTo>
                    <a:pt x="61" y="506"/>
                  </a:lnTo>
                  <a:lnTo>
                    <a:pt x="61" y="506"/>
                  </a:lnTo>
                  <a:lnTo>
                    <a:pt x="61" y="504"/>
                  </a:lnTo>
                  <a:lnTo>
                    <a:pt x="61" y="504"/>
                  </a:lnTo>
                  <a:lnTo>
                    <a:pt x="61" y="502"/>
                  </a:lnTo>
                  <a:lnTo>
                    <a:pt x="61" y="500"/>
                  </a:lnTo>
                  <a:lnTo>
                    <a:pt x="61" y="500"/>
                  </a:lnTo>
                  <a:lnTo>
                    <a:pt x="63" y="498"/>
                  </a:lnTo>
                  <a:lnTo>
                    <a:pt x="63" y="498"/>
                  </a:lnTo>
                  <a:lnTo>
                    <a:pt x="63" y="496"/>
                  </a:lnTo>
                  <a:lnTo>
                    <a:pt x="63" y="494"/>
                  </a:lnTo>
                  <a:lnTo>
                    <a:pt x="63" y="492"/>
                  </a:lnTo>
                  <a:lnTo>
                    <a:pt x="63" y="492"/>
                  </a:lnTo>
                  <a:lnTo>
                    <a:pt x="65" y="490"/>
                  </a:lnTo>
                  <a:lnTo>
                    <a:pt x="63" y="488"/>
                  </a:lnTo>
                  <a:lnTo>
                    <a:pt x="65" y="488"/>
                  </a:lnTo>
                  <a:lnTo>
                    <a:pt x="65" y="486"/>
                  </a:lnTo>
                  <a:lnTo>
                    <a:pt x="65" y="484"/>
                  </a:lnTo>
                  <a:lnTo>
                    <a:pt x="65" y="484"/>
                  </a:lnTo>
                  <a:lnTo>
                    <a:pt x="65" y="484"/>
                  </a:lnTo>
                  <a:lnTo>
                    <a:pt x="68" y="484"/>
                  </a:lnTo>
                  <a:lnTo>
                    <a:pt x="68" y="486"/>
                  </a:lnTo>
                  <a:lnTo>
                    <a:pt x="68" y="488"/>
                  </a:lnTo>
                  <a:lnTo>
                    <a:pt x="68" y="488"/>
                  </a:lnTo>
                  <a:lnTo>
                    <a:pt x="68" y="488"/>
                  </a:lnTo>
                  <a:lnTo>
                    <a:pt x="70" y="488"/>
                  </a:lnTo>
                  <a:lnTo>
                    <a:pt x="70" y="488"/>
                  </a:lnTo>
                  <a:lnTo>
                    <a:pt x="72" y="490"/>
                  </a:lnTo>
                  <a:lnTo>
                    <a:pt x="74" y="490"/>
                  </a:lnTo>
                  <a:lnTo>
                    <a:pt x="78" y="498"/>
                  </a:lnTo>
                  <a:lnTo>
                    <a:pt x="78" y="500"/>
                  </a:lnTo>
                  <a:lnTo>
                    <a:pt x="78" y="502"/>
                  </a:lnTo>
                  <a:lnTo>
                    <a:pt x="78" y="504"/>
                  </a:lnTo>
                  <a:lnTo>
                    <a:pt x="76" y="506"/>
                  </a:lnTo>
                  <a:lnTo>
                    <a:pt x="76" y="508"/>
                  </a:lnTo>
                  <a:lnTo>
                    <a:pt x="76" y="510"/>
                  </a:lnTo>
                  <a:lnTo>
                    <a:pt x="76" y="510"/>
                  </a:lnTo>
                  <a:lnTo>
                    <a:pt x="78" y="510"/>
                  </a:lnTo>
                  <a:lnTo>
                    <a:pt x="78" y="512"/>
                  </a:lnTo>
                  <a:lnTo>
                    <a:pt x="78" y="512"/>
                  </a:lnTo>
                  <a:lnTo>
                    <a:pt x="78" y="514"/>
                  </a:lnTo>
                  <a:lnTo>
                    <a:pt x="80" y="516"/>
                  </a:lnTo>
                  <a:lnTo>
                    <a:pt x="80" y="516"/>
                  </a:lnTo>
                  <a:lnTo>
                    <a:pt x="80" y="518"/>
                  </a:lnTo>
                  <a:lnTo>
                    <a:pt x="82" y="518"/>
                  </a:lnTo>
                  <a:lnTo>
                    <a:pt x="82" y="518"/>
                  </a:lnTo>
                  <a:lnTo>
                    <a:pt x="84" y="518"/>
                  </a:lnTo>
                  <a:lnTo>
                    <a:pt x="84" y="518"/>
                  </a:lnTo>
                  <a:lnTo>
                    <a:pt x="86" y="518"/>
                  </a:lnTo>
                  <a:lnTo>
                    <a:pt x="86" y="518"/>
                  </a:lnTo>
                  <a:lnTo>
                    <a:pt x="86" y="518"/>
                  </a:lnTo>
                  <a:lnTo>
                    <a:pt x="86" y="516"/>
                  </a:lnTo>
                  <a:lnTo>
                    <a:pt x="86" y="516"/>
                  </a:lnTo>
                  <a:lnTo>
                    <a:pt x="88" y="516"/>
                  </a:lnTo>
                  <a:lnTo>
                    <a:pt x="88" y="516"/>
                  </a:lnTo>
                  <a:lnTo>
                    <a:pt x="88" y="516"/>
                  </a:lnTo>
                  <a:lnTo>
                    <a:pt x="88" y="521"/>
                  </a:lnTo>
                  <a:lnTo>
                    <a:pt x="88" y="521"/>
                  </a:lnTo>
                  <a:lnTo>
                    <a:pt x="88" y="523"/>
                  </a:lnTo>
                  <a:lnTo>
                    <a:pt x="94" y="527"/>
                  </a:lnTo>
                  <a:lnTo>
                    <a:pt x="94" y="529"/>
                  </a:lnTo>
                  <a:lnTo>
                    <a:pt x="92" y="531"/>
                  </a:lnTo>
                  <a:lnTo>
                    <a:pt x="88" y="533"/>
                  </a:lnTo>
                  <a:lnTo>
                    <a:pt x="84" y="535"/>
                  </a:lnTo>
                  <a:lnTo>
                    <a:pt x="82" y="535"/>
                  </a:lnTo>
                  <a:lnTo>
                    <a:pt x="80" y="533"/>
                  </a:lnTo>
                  <a:lnTo>
                    <a:pt x="78" y="533"/>
                  </a:lnTo>
                  <a:lnTo>
                    <a:pt x="78" y="535"/>
                  </a:lnTo>
                  <a:lnTo>
                    <a:pt x="78" y="535"/>
                  </a:lnTo>
                  <a:lnTo>
                    <a:pt x="74" y="535"/>
                  </a:lnTo>
                  <a:lnTo>
                    <a:pt x="72" y="537"/>
                  </a:lnTo>
                  <a:lnTo>
                    <a:pt x="72" y="539"/>
                  </a:lnTo>
                  <a:lnTo>
                    <a:pt x="74" y="537"/>
                  </a:lnTo>
                  <a:lnTo>
                    <a:pt x="82" y="535"/>
                  </a:lnTo>
                  <a:lnTo>
                    <a:pt x="94" y="535"/>
                  </a:lnTo>
                  <a:lnTo>
                    <a:pt x="104" y="531"/>
                  </a:lnTo>
                  <a:lnTo>
                    <a:pt x="111" y="529"/>
                  </a:lnTo>
                  <a:lnTo>
                    <a:pt x="113" y="525"/>
                  </a:lnTo>
                  <a:lnTo>
                    <a:pt x="113" y="525"/>
                  </a:lnTo>
                  <a:lnTo>
                    <a:pt x="111" y="525"/>
                  </a:lnTo>
                  <a:lnTo>
                    <a:pt x="111" y="525"/>
                  </a:lnTo>
                  <a:lnTo>
                    <a:pt x="108" y="525"/>
                  </a:lnTo>
                  <a:lnTo>
                    <a:pt x="108" y="523"/>
                  </a:lnTo>
                  <a:lnTo>
                    <a:pt x="108" y="523"/>
                  </a:lnTo>
                  <a:lnTo>
                    <a:pt x="108" y="521"/>
                  </a:lnTo>
                  <a:lnTo>
                    <a:pt x="108" y="518"/>
                  </a:lnTo>
                  <a:lnTo>
                    <a:pt x="108" y="518"/>
                  </a:lnTo>
                  <a:lnTo>
                    <a:pt x="108" y="521"/>
                  </a:lnTo>
                  <a:lnTo>
                    <a:pt x="111" y="521"/>
                  </a:lnTo>
                  <a:lnTo>
                    <a:pt x="111" y="523"/>
                  </a:lnTo>
                  <a:lnTo>
                    <a:pt x="111" y="523"/>
                  </a:lnTo>
                  <a:lnTo>
                    <a:pt x="113" y="523"/>
                  </a:lnTo>
                  <a:lnTo>
                    <a:pt x="113" y="523"/>
                  </a:lnTo>
                  <a:lnTo>
                    <a:pt x="115" y="523"/>
                  </a:lnTo>
                  <a:lnTo>
                    <a:pt x="117" y="521"/>
                  </a:lnTo>
                  <a:lnTo>
                    <a:pt x="117" y="518"/>
                  </a:lnTo>
                  <a:lnTo>
                    <a:pt x="119" y="518"/>
                  </a:lnTo>
                  <a:lnTo>
                    <a:pt x="121" y="518"/>
                  </a:lnTo>
                  <a:lnTo>
                    <a:pt x="121" y="516"/>
                  </a:lnTo>
                  <a:lnTo>
                    <a:pt x="123" y="514"/>
                  </a:lnTo>
                  <a:lnTo>
                    <a:pt x="123" y="512"/>
                  </a:lnTo>
                  <a:lnTo>
                    <a:pt x="127" y="508"/>
                  </a:lnTo>
                  <a:lnTo>
                    <a:pt x="127" y="508"/>
                  </a:lnTo>
                  <a:lnTo>
                    <a:pt x="127" y="508"/>
                  </a:lnTo>
                  <a:lnTo>
                    <a:pt x="127" y="506"/>
                  </a:lnTo>
                  <a:lnTo>
                    <a:pt x="125" y="506"/>
                  </a:lnTo>
                  <a:lnTo>
                    <a:pt x="125" y="506"/>
                  </a:lnTo>
                  <a:lnTo>
                    <a:pt x="123" y="504"/>
                  </a:lnTo>
                  <a:lnTo>
                    <a:pt x="123" y="504"/>
                  </a:lnTo>
                  <a:lnTo>
                    <a:pt x="125" y="504"/>
                  </a:lnTo>
                  <a:lnTo>
                    <a:pt x="125" y="504"/>
                  </a:lnTo>
                  <a:lnTo>
                    <a:pt x="123" y="500"/>
                  </a:lnTo>
                  <a:lnTo>
                    <a:pt x="121" y="498"/>
                  </a:lnTo>
                  <a:lnTo>
                    <a:pt x="121" y="498"/>
                  </a:lnTo>
                  <a:lnTo>
                    <a:pt x="121" y="496"/>
                  </a:lnTo>
                  <a:lnTo>
                    <a:pt x="123" y="494"/>
                  </a:lnTo>
                  <a:lnTo>
                    <a:pt x="123" y="490"/>
                  </a:lnTo>
                  <a:lnTo>
                    <a:pt x="123" y="486"/>
                  </a:lnTo>
                  <a:lnTo>
                    <a:pt x="123" y="486"/>
                  </a:lnTo>
                  <a:lnTo>
                    <a:pt x="123" y="484"/>
                  </a:lnTo>
                  <a:lnTo>
                    <a:pt x="123" y="484"/>
                  </a:lnTo>
                  <a:lnTo>
                    <a:pt x="123" y="484"/>
                  </a:lnTo>
                  <a:lnTo>
                    <a:pt x="115" y="480"/>
                  </a:lnTo>
                  <a:lnTo>
                    <a:pt x="113" y="477"/>
                  </a:lnTo>
                  <a:lnTo>
                    <a:pt x="111" y="477"/>
                  </a:lnTo>
                  <a:lnTo>
                    <a:pt x="108" y="473"/>
                  </a:lnTo>
                  <a:lnTo>
                    <a:pt x="108" y="473"/>
                  </a:lnTo>
                  <a:lnTo>
                    <a:pt x="102" y="469"/>
                  </a:lnTo>
                  <a:lnTo>
                    <a:pt x="102" y="467"/>
                  </a:lnTo>
                  <a:lnTo>
                    <a:pt x="100" y="465"/>
                  </a:lnTo>
                  <a:lnTo>
                    <a:pt x="100" y="465"/>
                  </a:lnTo>
                  <a:lnTo>
                    <a:pt x="100" y="465"/>
                  </a:lnTo>
                  <a:lnTo>
                    <a:pt x="100" y="463"/>
                  </a:lnTo>
                  <a:lnTo>
                    <a:pt x="100" y="463"/>
                  </a:lnTo>
                  <a:lnTo>
                    <a:pt x="100" y="461"/>
                  </a:lnTo>
                  <a:lnTo>
                    <a:pt x="102" y="457"/>
                  </a:lnTo>
                  <a:lnTo>
                    <a:pt x="102" y="457"/>
                  </a:lnTo>
                  <a:lnTo>
                    <a:pt x="102" y="453"/>
                  </a:lnTo>
                  <a:lnTo>
                    <a:pt x="102" y="451"/>
                  </a:lnTo>
                  <a:lnTo>
                    <a:pt x="106" y="451"/>
                  </a:lnTo>
                  <a:lnTo>
                    <a:pt x="121" y="449"/>
                  </a:lnTo>
                  <a:lnTo>
                    <a:pt x="135" y="447"/>
                  </a:lnTo>
                  <a:lnTo>
                    <a:pt x="149" y="445"/>
                  </a:lnTo>
                  <a:lnTo>
                    <a:pt x="164" y="443"/>
                  </a:lnTo>
                  <a:lnTo>
                    <a:pt x="178" y="441"/>
                  </a:lnTo>
                  <a:lnTo>
                    <a:pt x="195" y="441"/>
                  </a:lnTo>
                  <a:lnTo>
                    <a:pt x="209" y="439"/>
                  </a:lnTo>
                  <a:lnTo>
                    <a:pt x="223" y="436"/>
                  </a:lnTo>
                  <a:lnTo>
                    <a:pt x="238" y="434"/>
                  </a:lnTo>
                  <a:lnTo>
                    <a:pt x="252" y="432"/>
                  </a:lnTo>
                  <a:lnTo>
                    <a:pt x="266" y="430"/>
                  </a:lnTo>
                  <a:lnTo>
                    <a:pt x="281" y="428"/>
                  </a:lnTo>
                  <a:lnTo>
                    <a:pt x="295" y="426"/>
                  </a:lnTo>
                  <a:lnTo>
                    <a:pt x="311" y="424"/>
                  </a:lnTo>
                  <a:lnTo>
                    <a:pt x="326" y="422"/>
                  </a:lnTo>
                  <a:lnTo>
                    <a:pt x="340" y="420"/>
                  </a:lnTo>
                  <a:lnTo>
                    <a:pt x="340" y="420"/>
                  </a:lnTo>
                  <a:lnTo>
                    <a:pt x="340" y="420"/>
                  </a:lnTo>
                  <a:lnTo>
                    <a:pt x="340" y="418"/>
                  </a:lnTo>
                  <a:lnTo>
                    <a:pt x="340" y="418"/>
                  </a:lnTo>
                  <a:close/>
                </a:path>
              </a:pathLst>
            </a:custGeom>
            <a:solidFill>
              <a:schemeClr val="accent1"/>
            </a:solidFill>
            <a:ln w="3175" cap="rnd">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AL</a:t>
              </a:r>
            </a:p>
          </p:txBody>
        </p:sp>
        <p:sp>
          <p:nvSpPr>
            <p:cNvPr id="114" name="Freeform 55">
              <a:extLst>
                <a:ext uri="{FF2B5EF4-FFF2-40B4-BE49-F238E27FC236}">
                  <a16:creationId xmlns:a16="http://schemas.microsoft.com/office/drawing/2014/main" id="{88E0030A-0B83-5297-19DC-23EBDB9E4640}"/>
                </a:ext>
              </a:extLst>
            </p:cNvPr>
            <p:cNvSpPr>
              <a:spLocks noEditPoints="1"/>
            </p:cNvSpPr>
            <p:nvPr/>
          </p:nvSpPr>
          <p:spPr bwMode="auto">
            <a:xfrm>
              <a:off x="-261" y="2004"/>
              <a:ext cx="1708" cy="918"/>
            </a:xfrm>
            <a:custGeom>
              <a:avLst/>
              <a:gdLst>
                <a:gd name="T0" fmla="*/ 672 w 1708"/>
                <a:gd name="T1" fmla="*/ 871 h 918"/>
                <a:gd name="T2" fmla="*/ 649 w 1708"/>
                <a:gd name="T3" fmla="*/ 369 h 918"/>
                <a:gd name="T4" fmla="*/ 614 w 1708"/>
                <a:gd name="T5" fmla="*/ 879 h 918"/>
                <a:gd name="T6" fmla="*/ 789 w 1708"/>
                <a:gd name="T7" fmla="*/ 838 h 918"/>
                <a:gd name="T8" fmla="*/ 854 w 1708"/>
                <a:gd name="T9" fmla="*/ 850 h 918"/>
                <a:gd name="T10" fmla="*/ 729 w 1708"/>
                <a:gd name="T11" fmla="*/ 832 h 918"/>
                <a:gd name="T12" fmla="*/ 229 w 1708"/>
                <a:gd name="T13" fmla="*/ 883 h 918"/>
                <a:gd name="T14" fmla="*/ 295 w 1708"/>
                <a:gd name="T15" fmla="*/ 896 h 918"/>
                <a:gd name="T16" fmla="*/ 6 w 1708"/>
                <a:gd name="T17" fmla="*/ 711 h 918"/>
                <a:gd name="T18" fmla="*/ 522 w 1708"/>
                <a:gd name="T19" fmla="*/ 908 h 918"/>
                <a:gd name="T20" fmla="*/ 561 w 1708"/>
                <a:gd name="T21" fmla="*/ 910 h 918"/>
                <a:gd name="T22" fmla="*/ 387 w 1708"/>
                <a:gd name="T23" fmla="*/ 914 h 918"/>
                <a:gd name="T24" fmla="*/ 1624 w 1708"/>
                <a:gd name="T25" fmla="*/ 682 h 918"/>
                <a:gd name="T26" fmla="*/ 1221 w 1708"/>
                <a:gd name="T27" fmla="*/ 57 h 918"/>
                <a:gd name="T28" fmla="*/ 1040 w 1708"/>
                <a:gd name="T29" fmla="*/ 37 h 918"/>
                <a:gd name="T30" fmla="*/ 922 w 1708"/>
                <a:gd name="T31" fmla="*/ 31 h 918"/>
                <a:gd name="T32" fmla="*/ 846 w 1708"/>
                <a:gd name="T33" fmla="*/ 84 h 918"/>
                <a:gd name="T34" fmla="*/ 862 w 1708"/>
                <a:gd name="T35" fmla="*/ 244 h 918"/>
                <a:gd name="T36" fmla="*/ 782 w 1708"/>
                <a:gd name="T37" fmla="*/ 238 h 918"/>
                <a:gd name="T38" fmla="*/ 813 w 1708"/>
                <a:gd name="T39" fmla="*/ 344 h 918"/>
                <a:gd name="T40" fmla="*/ 770 w 1708"/>
                <a:gd name="T41" fmla="*/ 416 h 918"/>
                <a:gd name="T42" fmla="*/ 748 w 1708"/>
                <a:gd name="T43" fmla="*/ 488 h 918"/>
                <a:gd name="T44" fmla="*/ 733 w 1708"/>
                <a:gd name="T45" fmla="*/ 541 h 918"/>
                <a:gd name="T46" fmla="*/ 803 w 1708"/>
                <a:gd name="T47" fmla="*/ 629 h 918"/>
                <a:gd name="T48" fmla="*/ 881 w 1708"/>
                <a:gd name="T49" fmla="*/ 654 h 918"/>
                <a:gd name="T50" fmla="*/ 897 w 1708"/>
                <a:gd name="T51" fmla="*/ 725 h 918"/>
                <a:gd name="T52" fmla="*/ 739 w 1708"/>
                <a:gd name="T53" fmla="*/ 840 h 918"/>
                <a:gd name="T54" fmla="*/ 834 w 1708"/>
                <a:gd name="T55" fmla="*/ 807 h 918"/>
                <a:gd name="T56" fmla="*/ 885 w 1708"/>
                <a:gd name="T57" fmla="*/ 785 h 918"/>
                <a:gd name="T58" fmla="*/ 963 w 1708"/>
                <a:gd name="T59" fmla="*/ 719 h 918"/>
                <a:gd name="T60" fmla="*/ 1012 w 1708"/>
                <a:gd name="T61" fmla="*/ 627 h 918"/>
                <a:gd name="T62" fmla="*/ 1116 w 1708"/>
                <a:gd name="T63" fmla="*/ 514 h 918"/>
                <a:gd name="T64" fmla="*/ 1106 w 1708"/>
                <a:gd name="T65" fmla="*/ 615 h 918"/>
                <a:gd name="T66" fmla="*/ 1159 w 1708"/>
                <a:gd name="T67" fmla="*/ 572 h 918"/>
                <a:gd name="T68" fmla="*/ 1163 w 1708"/>
                <a:gd name="T69" fmla="*/ 535 h 918"/>
                <a:gd name="T70" fmla="*/ 1212 w 1708"/>
                <a:gd name="T71" fmla="*/ 541 h 918"/>
                <a:gd name="T72" fmla="*/ 1380 w 1708"/>
                <a:gd name="T73" fmla="*/ 559 h 918"/>
                <a:gd name="T74" fmla="*/ 1485 w 1708"/>
                <a:gd name="T75" fmla="*/ 619 h 918"/>
                <a:gd name="T76" fmla="*/ 1491 w 1708"/>
                <a:gd name="T77" fmla="*/ 586 h 918"/>
                <a:gd name="T78" fmla="*/ 1548 w 1708"/>
                <a:gd name="T79" fmla="*/ 594 h 918"/>
                <a:gd name="T80" fmla="*/ 1600 w 1708"/>
                <a:gd name="T81" fmla="*/ 652 h 918"/>
                <a:gd name="T82" fmla="*/ 1690 w 1708"/>
                <a:gd name="T83" fmla="*/ 728 h 918"/>
                <a:gd name="T84" fmla="*/ 840 w 1708"/>
                <a:gd name="T85" fmla="*/ 654 h 918"/>
                <a:gd name="T86" fmla="*/ 1602 w 1708"/>
                <a:gd name="T87" fmla="*/ 725 h 918"/>
                <a:gd name="T88" fmla="*/ 1606 w 1708"/>
                <a:gd name="T89" fmla="*/ 744 h 918"/>
                <a:gd name="T90" fmla="*/ 1636 w 1708"/>
                <a:gd name="T91" fmla="*/ 723 h 918"/>
                <a:gd name="T92" fmla="*/ 1630 w 1708"/>
                <a:gd name="T93" fmla="*/ 740 h 918"/>
                <a:gd name="T94" fmla="*/ 1636 w 1708"/>
                <a:gd name="T95" fmla="*/ 766 h 918"/>
                <a:gd name="T96" fmla="*/ 723 w 1708"/>
                <a:gd name="T97" fmla="*/ 459 h 918"/>
                <a:gd name="T98" fmla="*/ 1634 w 1708"/>
                <a:gd name="T99" fmla="*/ 695 h 918"/>
                <a:gd name="T100" fmla="*/ 1053 w 1708"/>
                <a:gd name="T101" fmla="*/ 691 h 918"/>
                <a:gd name="T102" fmla="*/ 1165 w 1708"/>
                <a:gd name="T103" fmla="*/ 539 h 918"/>
                <a:gd name="T104" fmla="*/ 1030 w 1708"/>
                <a:gd name="T105" fmla="*/ 705 h 918"/>
                <a:gd name="T106" fmla="*/ 1028 w 1708"/>
                <a:gd name="T107" fmla="*/ 709 h 918"/>
                <a:gd name="T108" fmla="*/ 1014 w 1708"/>
                <a:gd name="T109" fmla="*/ 754 h 918"/>
                <a:gd name="T110" fmla="*/ 1491 w 1708"/>
                <a:gd name="T111" fmla="*/ 639 h 918"/>
                <a:gd name="T112" fmla="*/ 1497 w 1708"/>
                <a:gd name="T113" fmla="*/ 621 h 918"/>
                <a:gd name="T114" fmla="*/ 1557 w 1708"/>
                <a:gd name="T115" fmla="*/ 652 h 918"/>
                <a:gd name="T116" fmla="*/ 1579 w 1708"/>
                <a:gd name="T117" fmla="*/ 725 h 918"/>
                <a:gd name="T118" fmla="*/ 1577 w 1708"/>
                <a:gd name="T119" fmla="*/ 674 h 918"/>
                <a:gd name="T120" fmla="*/ 1524 w 1708"/>
                <a:gd name="T121" fmla="*/ 666 h 918"/>
                <a:gd name="T122" fmla="*/ 1542 w 1708"/>
                <a:gd name="T123" fmla="*/ 689 h 918"/>
                <a:gd name="T124" fmla="*/ 1178 w 1708"/>
                <a:gd name="T125" fmla="*/ 594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8" h="918">
                  <a:moveTo>
                    <a:pt x="694" y="258"/>
                  </a:moveTo>
                  <a:lnTo>
                    <a:pt x="696" y="258"/>
                  </a:lnTo>
                  <a:lnTo>
                    <a:pt x="696" y="258"/>
                  </a:lnTo>
                  <a:lnTo>
                    <a:pt x="696" y="256"/>
                  </a:lnTo>
                  <a:lnTo>
                    <a:pt x="696" y="256"/>
                  </a:lnTo>
                  <a:lnTo>
                    <a:pt x="696" y="256"/>
                  </a:lnTo>
                  <a:lnTo>
                    <a:pt x="694" y="256"/>
                  </a:lnTo>
                  <a:lnTo>
                    <a:pt x="694" y="256"/>
                  </a:lnTo>
                  <a:lnTo>
                    <a:pt x="694" y="258"/>
                  </a:lnTo>
                  <a:lnTo>
                    <a:pt x="694" y="258"/>
                  </a:lnTo>
                  <a:close/>
                  <a:moveTo>
                    <a:pt x="684" y="568"/>
                  </a:moveTo>
                  <a:lnTo>
                    <a:pt x="684" y="568"/>
                  </a:lnTo>
                  <a:lnTo>
                    <a:pt x="684" y="568"/>
                  </a:lnTo>
                  <a:lnTo>
                    <a:pt x="686" y="570"/>
                  </a:lnTo>
                  <a:lnTo>
                    <a:pt x="686" y="570"/>
                  </a:lnTo>
                  <a:lnTo>
                    <a:pt x="686" y="570"/>
                  </a:lnTo>
                  <a:lnTo>
                    <a:pt x="688" y="570"/>
                  </a:lnTo>
                  <a:lnTo>
                    <a:pt x="688" y="570"/>
                  </a:lnTo>
                  <a:lnTo>
                    <a:pt x="688" y="570"/>
                  </a:lnTo>
                  <a:lnTo>
                    <a:pt x="690" y="570"/>
                  </a:lnTo>
                  <a:lnTo>
                    <a:pt x="690" y="570"/>
                  </a:lnTo>
                  <a:lnTo>
                    <a:pt x="690" y="570"/>
                  </a:lnTo>
                  <a:lnTo>
                    <a:pt x="692" y="572"/>
                  </a:lnTo>
                  <a:lnTo>
                    <a:pt x="692" y="572"/>
                  </a:lnTo>
                  <a:lnTo>
                    <a:pt x="694" y="572"/>
                  </a:lnTo>
                  <a:lnTo>
                    <a:pt x="694" y="574"/>
                  </a:lnTo>
                  <a:lnTo>
                    <a:pt x="694" y="574"/>
                  </a:lnTo>
                  <a:lnTo>
                    <a:pt x="694" y="574"/>
                  </a:lnTo>
                  <a:lnTo>
                    <a:pt x="696" y="576"/>
                  </a:lnTo>
                  <a:lnTo>
                    <a:pt x="696" y="576"/>
                  </a:lnTo>
                  <a:lnTo>
                    <a:pt x="696" y="576"/>
                  </a:lnTo>
                  <a:lnTo>
                    <a:pt x="696" y="576"/>
                  </a:lnTo>
                  <a:lnTo>
                    <a:pt x="698" y="576"/>
                  </a:lnTo>
                  <a:lnTo>
                    <a:pt x="698" y="576"/>
                  </a:lnTo>
                  <a:lnTo>
                    <a:pt x="698" y="576"/>
                  </a:lnTo>
                  <a:lnTo>
                    <a:pt x="698" y="574"/>
                  </a:lnTo>
                  <a:lnTo>
                    <a:pt x="698" y="574"/>
                  </a:lnTo>
                  <a:lnTo>
                    <a:pt x="696" y="574"/>
                  </a:lnTo>
                  <a:lnTo>
                    <a:pt x="696" y="574"/>
                  </a:lnTo>
                  <a:lnTo>
                    <a:pt x="694" y="572"/>
                  </a:lnTo>
                  <a:lnTo>
                    <a:pt x="694" y="572"/>
                  </a:lnTo>
                  <a:lnTo>
                    <a:pt x="694" y="572"/>
                  </a:lnTo>
                  <a:lnTo>
                    <a:pt x="696" y="572"/>
                  </a:lnTo>
                  <a:lnTo>
                    <a:pt x="698" y="572"/>
                  </a:lnTo>
                  <a:lnTo>
                    <a:pt x="698" y="572"/>
                  </a:lnTo>
                  <a:lnTo>
                    <a:pt x="700" y="572"/>
                  </a:lnTo>
                  <a:lnTo>
                    <a:pt x="700" y="572"/>
                  </a:lnTo>
                  <a:lnTo>
                    <a:pt x="700" y="572"/>
                  </a:lnTo>
                  <a:lnTo>
                    <a:pt x="703" y="572"/>
                  </a:lnTo>
                  <a:lnTo>
                    <a:pt x="703" y="572"/>
                  </a:lnTo>
                  <a:lnTo>
                    <a:pt x="703" y="570"/>
                  </a:lnTo>
                  <a:lnTo>
                    <a:pt x="703" y="570"/>
                  </a:lnTo>
                  <a:lnTo>
                    <a:pt x="703" y="570"/>
                  </a:lnTo>
                  <a:lnTo>
                    <a:pt x="703" y="572"/>
                  </a:lnTo>
                  <a:lnTo>
                    <a:pt x="703" y="572"/>
                  </a:lnTo>
                  <a:lnTo>
                    <a:pt x="705" y="572"/>
                  </a:lnTo>
                  <a:lnTo>
                    <a:pt x="705" y="572"/>
                  </a:lnTo>
                  <a:lnTo>
                    <a:pt x="709" y="572"/>
                  </a:lnTo>
                  <a:lnTo>
                    <a:pt x="709" y="570"/>
                  </a:lnTo>
                  <a:lnTo>
                    <a:pt x="709" y="570"/>
                  </a:lnTo>
                  <a:lnTo>
                    <a:pt x="709" y="570"/>
                  </a:lnTo>
                  <a:lnTo>
                    <a:pt x="709" y="570"/>
                  </a:lnTo>
                  <a:lnTo>
                    <a:pt x="709" y="572"/>
                  </a:lnTo>
                  <a:lnTo>
                    <a:pt x="711" y="572"/>
                  </a:lnTo>
                  <a:lnTo>
                    <a:pt x="713" y="572"/>
                  </a:lnTo>
                  <a:lnTo>
                    <a:pt x="713" y="572"/>
                  </a:lnTo>
                  <a:lnTo>
                    <a:pt x="713" y="572"/>
                  </a:lnTo>
                  <a:lnTo>
                    <a:pt x="713" y="570"/>
                  </a:lnTo>
                  <a:lnTo>
                    <a:pt x="713" y="570"/>
                  </a:lnTo>
                  <a:lnTo>
                    <a:pt x="713" y="570"/>
                  </a:lnTo>
                  <a:lnTo>
                    <a:pt x="713" y="570"/>
                  </a:lnTo>
                  <a:lnTo>
                    <a:pt x="713" y="570"/>
                  </a:lnTo>
                  <a:lnTo>
                    <a:pt x="713" y="570"/>
                  </a:lnTo>
                  <a:lnTo>
                    <a:pt x="713" y="570"/>
                  </a:lnTo>
                  <a:lnTo>
                    <a:pt x="713" y="568"/>
                  </a:lnTo>
                  <a:lnTo>
                    <a:pt x="715" y="568"/>
                  </a:lnTo>
                  <a:lnTo>
                    <a:pt x="715" y="568"/>
                  </a:lnTo>
                  <a:lnTo>
                    <a:pt x="715" y="568"/>
                  </a:lnTo>
                  <a:lnTo>
                    <a:pt x="713" y="568"/>
                  </a:lnTo>
                  <a:lnTo>
                    <a:pt x="713" y="568"/>
                  </a:lnTo>
                  <a:lnTo>
                    <a:pt x="713" y="568"/>
                  </a:lnTo>
                  <a:lnTo>
                    <a:pt x="713" y="568"/>
                  </a:lnTo>
                  <a:lnTo>
                    <a:pt x="713" y="568"/>
                  </a:lnTo>
                  <a:lnTo>
                    <a:pt x="713" y="566"/>
                  </a:lnTo>
                  <a:lnTo>
                    <a:pt x="713" y="566"/>
                  </a:lnTo>
                  <a:lnTo>
                    <a:pt x="713" y="566"/>
                  </a:lnTo>
                  <a:lnTo>
                    <a:pt x="713" y="566"/>
                  </a:lnTo>
                  <a:lnTo>
                    <a:pt x="713" y="566"/>
                  </a:lnTo>
                  <a:lnTo>
                    <a:pt x="711" y="564"/>
                  </a:lnTo>
                  <a:lnTo>
                    <a:pt x="711" y="564"/>
                  </a:lnTo>
                  <a:lnTo>
                    <a:pt x="711" y="564"/>
                  </a:lnTo>
                  <a:lnTo>
                    <a:pt x="711" y="564"/>
                  </a:lnTo>
                  <a:lnTo>
                    <a:pt x="711" y="562"/>
                  </a:lnTo>
                  <a:lnTo>
                    <a:pt x="713" y="562"/>
                  </a:lnTo>
                  <a:lnTo>
                    <a:pt x="713" y="559"/>
                  </a:lnTo>
                  <a:lnTo>
                    <a:pt x="713" y="559"/>
                  </a:lnTo>
                  <a:lnTo>
                    <a:pt x="713" y="559"/>
                  </a:lnTo>
                  <a:lnTo>
                    <a:pt x="713" y="559"/>
                  </a:lnTo>
                  <a:lnTo>
                    <a:pt x="713" y="559"/>
                  </a:lnTo>
                  <a:lnTo>
                    <a:pt x="713" y="559"/>
                  </a:lnTo>
                  <a:lnTo>
                    <a:pt x="713" y="559"/>
                  </a:lnTo>
                  <a:lnTo>
                    <a:pt x="713" y="559"/>
                  </a:lnTo>
                  <a:lnTo>
                    <a:pt x="713" y="557"/>
                  </a:lnTo>
                  <a:lnTo>
                    <a:pt x="713" y="557"/>
                  </a:lnTo>
                  <a:lnTo>
                    <a:pt x="711" y="557"/>
                  </a:lnTo>
                  <a:lnTo>
                    <a:pt x="711" y="557"/>
                  </a:lnTo>
                  <a:lnTo>
                    <a:pt x="711" y="557"/>
                  </a:lnTo>
                  <a:lnTo>
                    <a:pt x="711" y="557"/>
                  </a:lnTo>
                  <a:lnTo>
                    <a:pt x="713" y="555"/>
                  </a:lnTo>
                  <a:lnTo>
                    <a:pt x="713" y="555"/>
                  </a:lnTo>
                  <a:lnTo>
                    <a:pt x="713" y="553"/>
                  </a:lnTo>
                  <a:lnTo>
                    <a:pt x="713" y="553"/>
                  </a:lnTo>
                  <a:lnTo>
                    <a:pt x="713" y="553"/>
                  </a:lnTo>
                  <a:lnTo>
                    <a:pt x="713" y="553"/>
                  </a:lnTo>
                  <a:lnTo>
                    <a:pt x="713" y="551"/>
                  </a:lnTo>
                  <a:lnTo>
                    <a:pt x="713" y="551"/>
                  </a:lnTo>
                  <a:lnTo>
                    <a:pt x="713" y="551"/>
                  </a:lnTo>
                  <a:lnTo>
                    <a:pt x="713" y="551"/>
                  </a:lnTo>
                  <a:lnTo>
                    <a:pt x="713" y="551"/>
                  </a:lnTo>
                  <a:lnTo>
                    <a:pt x="713" y="551"/>
                  </a:lnTo>
                  <a:lnTo>
                    <a:pt x="713" y="549"/>
                  </a:lnTo>
                  <a:lnTo>
                    <a:pt x="713" y="549"/>
                  </a:lnTo>
                  <a:lnTo>
                    <a:pt x="713" y="549"/>
                  </a:lnTo>
                  <a:lnTo>
                    <a:pt x="713" y="549"/>
                  </a:lnTo>
                  <a:lnTo>
                    <a:pt x="711" y="549"/>
                  </a:lnTo>
                  <a:lnTo>
                    <a:pt x="711" y="549"/>
                  </a:lnTo>
                  <a:lnTo>
                    <a:pt x="711" y="549"/>
                  </a:lnTo>
                  <a:lnTo>
                    <a:pt x="711" y="547"/>
                  </a:lnTo>
                  <a:lnTo>
                    <a:pt x="709" y="547"/>
                  </a:lnTo>
                  <a:lnTo>
                    <a:pt x="709" y="547"/>
                  </a:lnTo>
                  <a:lnTo>
                    <a:pt x="709" y="549"/>
                  </a:lnTo>
                  <a:lnTo>
                    <a:pt x="707" y="549"/>
                  </a:lnTo>
                  <a:lnTo>
                    <a:pt x="705" y="547"/>
                  </a:lnTo>
                  <a:lnTo>
                    <a:pt x="705" y="547"/>
                  </a:lnTo>
                  <a:lnTo>
                    <a:pt x="705" y="547"/>
                  </a:lnTo>
                  <a:lnTo>
                    <a:pt x="705" y="547"/>
                  </a:lnTo>
                  <a:lnTo>
                    <a:pt x="705" y="547"/>
                  </a:lnTo>
                  <a:lnTo>
                    <a:pt x="705" y="547"/>
                  </a:lnTo>
                  <a:lnTo>
                    <a:pt x="705" y="545"/>
                  </a:lnTo>
                  <a:lnTo>
                    <a:pt x="705" y="545"/>
                  </a:lnTo>
                  <a:lnTo>
                    <a:pt x="705" y="545"/>
                  </a:lnTo>
                  <a:lnTo>
                    <a:pt x="705" y="543"/>
                  </a:lnTo>
                  <a:lnTo>
                    <a:pt x="705" y="543"/>
                  </a:lnTo>
                  <a:lnTo>
                    <a:pt x="705" y="543"/>
                  </a:lnTo>
                  <a:lnTo>
                    <a:pt x="703" y="543"/>
                  </a:lnTo>
                  <a:lnTo>
                    <a:pt x="703" y="541"/>
                  </a:lnTo>
                  <a:lnTo>
                    <a:pt x="703" y="543"/>
                  </a:lnTo>
                  <a:lnTo>
                    <a:pt x="703" y="543"/>
                  </a:lnTo>
                  <a:lnTo>
                    <a:pt x="703" y="545"/>
                  </a:lnTo>
                  <a:lnTo>
                    <a:pt x="703" y="545"/>
                  </a:lnTo>
                  <a:lnTo>
                    <a:pt x="703" y="545"/>
                  </a:lnTo>
                  <a:lnTo>
                    <a:pt x="703" y="545"/>
                  </a:lnTo>
                  <a:lnTo>
                    <a:pt x="703" y="543"/>
                  </a:lnTo>
                  <a:lnTo>
                    <a:pt x="698" y="543"/>
                  </a:lnTo>
                  <a:lnTo>
                    <a:pt x="696" y="545"/>
                  </a:lnTo>
                  <a:lnTo>
                    <a:pt x="696" y="545"/>
                  </a:lnTo>
                  <a:lnTo>
                    <a:pt x="696" y="545"/>
                  </a:lnTo>
                  <a:lnTo>
                    <a:pt x="696" y="545"/>
                  </a:lnTo>
                  <a:lnTo>
                    <a:pt x="696" y="545"/>
                  </a:lnTo>
                  <a:lnTo>
                    <a:pt x="696" y="543"/>
                  </a:lnTo>
                  <a:lnTo>
                    <a:pt x="694" y="543"/>
                  </a:lnTo>
                  <a:lnTo>
                    <a:pt x="692" y="543"/>
                  </a:lnTo>
                  <a:lnTo>
                    <a:pt x="692" y="545"/>
                  </a:lnTo>
                  <a:lnTo>
                    <a:pt x="692" y="545"/>
                  </a:lnTo>
                  <a:lnTo>
                    <a:pt x="690" y="545"/>
                  </a:lnTo>
                  <a:lnTo>
                    <a:pt x="690" y="545"/>
                  </a:lnTo>
                  <a:lnTo>
                    <a:pt x="690" y="545"/>
                  </a:lnTo>
                  <a:lnTo>
                    <a:pt x="688" y="545"/>
                  </a:lnTo>
                  <a:lnTo>
                    <a:pt x="688" y="545"/>
                  </a:lnTo>
                  <a:lnTo>
                    <a:pt x="686" y="545"/>
                  </a:lnTo>
                  <a:lnTo>
                    <a:pt x="686" y="547"/>
                  </a:lnTo>
                  <a:lnTo>
                    <a:pt x="686" y="547"/>
                  </a:lnTo>
                  <a:lnTo>
                    <a:pt x="684" y="547"/>
                  </a:lnTo>
                  <a:lnTo>
                    <a:pt x="684" y="547"/>
                  </a:lnTo>
                  <a:lnTo>
                    <a:pt x="684" y="547"/>
                  </a:lnTo>
                  <a:lnTo>
                    <a:pt x="684" y="547"/>
                  </a:lnTo>
                  <a:lnTo>
                    <a:pt x="684" y="549"/>
                  </a:lnTo>
                  <a:lnTo>
                    <a:pt x="682" y="549"/>
                  </a:lnTo>
                  <a:lnTo>
                    <a:pt x="676" y="547"/>
                  </a:lnTo>
                  <a:lnTo>
                    <a:pt x="674" y="547"/>
                  </a:lnTo>
                  <a:lnTo>
                    <a:pt x="674" y="547"/>
                  </a:lnTo>
                  <a:lnTo>
                    <a:pt x="672" y="547"/>
                  </a:lnTo>
                  <a:lnTo>
                    <a:pt x="672" y="547"/>
                  </a:lnTo>
                  <a:lnTo>
                    <a:pt x="672" y="547"/>
                  </a:lnTo>
                  <a:lnTo>
                    <a:pt x="672" y="547"/>
                  </a:lnTo>
                  <a:lnTo>
                    <a:pt x="672" y="547"/>
                  </a:lnTo>
                  <a:lnTo>
                    <a:pt x="672" y="547"/>
                  </a:lnTo>
                  <a:lnTo>
                    <a:pt x="670" y="547"/>
                  </a:lnTo>
                  <a:lnTo>
                    <a:pt x="668" y="547"/>
                  </a:lnTo>
                  <a:lnTo>
                    <a:pt x="668" y="547"/>
                  </a:lnTo>
                  <a:lnTo>
                    <a:pt x="668" y="547"/>
                  </a:lnTo>
                  <a:lnTo>
                    <a:pt x="670" y="551"/>
                  </a:lnTo>
                  <a:lnTo>
                    <a:pt x="670" y="551"/>
                  </a:lnTo>
                  <a:lnTo>
                    <a:pt x="670" y="551"/>
                  </a:lnTo>
                  <a:lnTo>
                    <a:pt x="670" y="553"/>
                  </a:lnTo>
                  <a:lnTo>
                    <a:pt x="670" y="553"/>
                  </a:lnTo>
                  <a:lnTo>
                    <a:pt x="670" y="553"/>
                  </a:lnTo>
                  <a:lnTo>
                    <a:pt x="670" y="555"/>
                  </a:lnTo>
                  <a:lnTo>
                    <a:pt x="670" y="555"/>
                  </a:lnTo>
                  <a:lnTo>
                    <a:pt x="672" y="555"/>
                  </a:lnTo>
                  <a:lnTo>
                    <a:pt x="672" y="553"/>
                  </a:lnTo>
                  <a:lnTo>
                    <a:pt x="672" y="553"/>
                  </a:lnTo>
                  <a:lnTo>
                    <a:pt x="672" y="555"/>
                  </a:lnTo>
                  <a:lnTo>
                    <a:pt x="672" y="557"/>
                  </a:lnTo>
                  <a:lnTo>
                    <a:pt x="672" y="557"/>
                  </a:lnTo>
                  <a:lnTo>
                    <a:pt x="674" y="557"/>
                  </a:lnTo>
                  <a:lnTo>
                    <a:pt x="674" y="559"/>
                  </a:lnTo>
                  <a:lnTo>
                    <a:pt x="674" y="559"/>
                  </a:lnTo>
                  <a:lnTo>
                    <a:pt x="674" y="559"/>
                  </a:lnTo>
                  <a:lnTo>
                    <a:pt x="676" y="559"/>
                  </a:lnTo>
                  <a:lnTo>
                    <a:pt x="676" y="559"/>
                  </a:lnTo>
                  <a:lnTo>
                    <a:pt x="676" y="559"/>
                  </a:lnTo>
                  <a:lnTo>
                    <a:pt x="676" y="559"/>
                  </a:lnTo>
                  <a:lnTo>
                    <a:pt x="676" y="559"/>
                  </a:lnTo>
                  <a:lnTo>
                    <a:pt x="676" y="559"/>
                  </a:lnTo>
                  <a:lnTo>
                    <a:pt x="676" y="559"/>
                  </a:lnTo>
                  <a:lnTo>
                    <a:pt x="676" y="559"/>
                  </a:lnTo>
                  <a:lnTo>
                    <a:pt x="676" y="559"/>
                  </a:lnTo>
                  <a:lnTo>
                    <a:pt x="676" y="559"/>
                  </a:lnTo>
                  <a:lnTo>
                    <a:pt x="678" y="559"/>
                  </a:lnTo>
                  <a:lnTo>
                    <a:pt x="678" y="559"/>
                  </a:lnTo>
                  <a:lnTo>
                    <a:pt x="678" y="559"/>
                  </a:lnTo>
                  <a:lnTo>
                    <a:pt x="676" y="559"/>
                  </a:lnTo>
                  <a:lnTo>
                    <a:pt x="682" y="566"/>
                  </a:lnTo>
                  <a:lnTo>
                    <a:pt x="682" y="566"/>
                  </a:lnTo>
                  <a:lnTo>
                    <a:pt x="684" y="568"/>
                  </a:lnTo>
                  <a:close/>
                  <a:moveTo>
                    <a:pt x="655" y="867"/>
                  </a:moveTo>
                  <a:lnTo>
                    <a:pt x="653" y="867"/>
                  </a:lnTo>
                  <a:lnTo>
                    <a:pt x="653" y="867"/>
                  </a:lnTo>
                  <a:lnTo>
                    <a:pt x="653" y="867"/>
                  </a:lnTo>
                  <a:lnTo>
                    <a:pt x="653" y="867"/>
                  </a:lnTo>
                  <a:lnTo>
                    <a:pt x="655" y="867"/>
                  </a:lnTo>
                  <a:lnTo>
                    <a:pt x="655" y="867"/>
                  </a:lnTo>
                  <a:lnTo>
                    <a:pt x="655" y="865"/>
                  </a:lnTo>
                  <a:lnTo>
                    <a:pt x="653" y="865"/>
                  </a:lnTo>
                  <a:lnTo>
                    <a:pt x="653" y="865"/>
                  </a:lnTo>
                  <a:lnTo>
                    <a:pt x="653" y="865"/>
                  </a:lnTo>
                  <a:lnTo>
                    <a:pt x="653" y="865"/>
                  </a:lnTo>
                  <a:lnTo>
                    <a:pt x="651" y="865"/>
                  </a:lnTo>
                  <a:lnTo>
                    <a:pt x="651" y="863"/>
                  </a:lnTo>
                  <a:lnTo>
                    <a:pt x="651" y="863"/>
                  </a:lnTo>
                  <a:lnTo>
                    <a:pt x="651" y="863"/>
                  </a:lnTo>
                  <a:lnTo>
                    <a:pt x="651" y="863"/>
                  </a:lnTo>
                  <a:lnTo>
                    <a:pt x="651" y="863"/>
                  </a:lnTo>
                  <a:lnTo>
                    <a:pt x="651" y="861"/>
                  </a:lnTo>
                  <a:lnTo>
                    <a:pt x="649" y="861"/>
                  </a:lnTo>
                  <a:lnTo>
                    <a:pt x="649" y="861"/>
                  </a:lnTo>
                  <a:lnTo>
                    <a:pt x="647" y="863"/>
                  </a:lnTo>
                  <a:lnTo>
                    <a:pt x="645" y="863"/>
                  </a:lnTo>
                  <a:lnTo>
                    <a:pt x="645" y="863"/>
                  </a:lnTo>
                  <a:lnTo>
                    <a:pt x="645" y="863"/>
                  </a:lnTo>
                  <a:lnTo>
                    <a:pt x="645" y="865"/>
                  </a:lnTo>
                  <a:lnTo>
                    <a:pt x="645" y="865"/>
                  </a:lnTo>
                  <a:lnTo>
                    <a:pt x="645" y="865"/>
                  </a:lnTo>
                  <a:lnTo>
                    <a:pt x="643" y="865"/>
                  </a:lnTo>
                  <a:lnTo>
                    <a:pt x="645" y="867"/>
                  </a:lnTo>
                  <a:lnTo>
                    <a:pt x="645" y="869"/>
                  </a:lnTo>
                  <a:lnTo>
                    <a:pt x="645" y="869"/>
                  </a:lnTo>
                  <a:lnTo>
                    <a:pt x="645" y="871"/>
                  </a:lnTo>
                  <a:lnTo>
                    <a:pt x="647" y="871"/>
                  </a:lnTo>
                  <a:lnTo>
                    <a:pt x="647" y="869"/>
                  </a:lnTo>
                  <a:lnTo>
                    <a:pt x="647" y="869"/>
                  </a:lnTo>
                  <a:lnTo>
                    <a:pt x="647" y="869"/>
                  </a:lnTo>
                  <a:lnTo>
                    <a:pt x="649" y="869"/>
                  </a:lnTo>
                  <a:lnTo>
                    <a:pt x="649" y="869"/>
                  </a:lnTo>
                  <a:lnTo>
                    <a:pt x="649" y="869"/>
                  </a:lnTo>
                  <a:lnTo>
                    <a:pt x="649" y="871"/>
                  </a:lnTo>
                  <a:lnTo>
                    <a:pt x="649" y="871"/>
                  </a:lnTo>
                  <a:lnTo>
                    <a:pt x="649" y="871"/>
                  </a:lnTo>
                  <a:lnTo>
                    <a:pt x="651" y="871"/>
                  </a:lnTo>
                  <a:lnTo>
                    <a:pt x="651" y="869"/>
                  </a:lnTo>
                  <a:lnTo>
                    <a:pt x="651" y="869"/>
                  </a:lnTo>
                  <a:lnTo>
                    <a:pt x="653" y="869"/>
                  </a:lnTo>
                  <a:lnTo>
                    <a:pt x="653" y="871"/>
                  </a:lnTo>
                  <a:lnTo>
                    <a:pt x="653" y="871"/>
                  </a:lnTo>
                  <a:lnTo>
                    <a:pt x="653" y="871"/>
                  </a:lnTo>
                  <a:lnTo>
                    <a:pt x="657" y="869"/>
                  </a:lnTo>
                  <a:lnTo>
                    <a:pt x="657" y="869"/>
                  </a:lnTo>
                  <a:lnTo>
                    <a:pt x="657" y="869"/>
                  </a:lnTo>
                  <a:lnTo>
                    <a:pt x="657" y="869"/>
                  </a:lnTo>
                  <a:lnTo>
                    <a:pt x="657" y="867"/>
                  </a:lnTo>
                  <a:lnTo>
                    <a:pt x="655" y="867"/>
                  </a:lnTo>
                  <a:close/>
                  <a:moveTo>
                    <a:pt x="680" y="871"/>
                  </a:moveTo>
                  <a:lnTo>
                    <a:pt x="680" y="871"/>
                  </a:lnTo>
                  <a:lnTo>
                    <a:pt x="680" y="871"/>
                  </a:lnTo>
                  <a:lnTo>
                    <a:pt x="678" y="871"/>
                  </a:lnTo>
                  <a:lnTo>
                    <a:pt x="678" y="871"/>
                  </a:lnTo>
                  <a:lnTo>
                    <a:pt x="678" y="871"/>
                  </a:lnTo>
                  <a:lnTo>
                    <a:pt x="676" y="871"/>
                  </a:lnTo>
                  <a:lnTo>
                    <a:pt x="676" y="873"/>
                  </a:lnTo>
                  <a:lnTo>
                    <a:pt x="676" y="871"/>
                  </a:lnTo>
                  <a:lnTo>
                    <a:pt x="676" y="871"/>
                  </a:lnTo>
                  <a:lnTo>
                    <a:pt x="676" y="871"/>
                  </a:lnTo>
                  <a:lnTo>
                    <a:pt x="676" y="871"/>
                  </a:lnTo>
                  <a:lnTo>
                    <a:pt x="676" y="871"/>
                  </a:lnTo>
                  <a:lnTo>
                    <a:pt x="674" y="871"/>
                  </a:lnTo>
                  <a:lnTo>
                    <a:pt x="674" y="871"/>
                  </a:lnTo>
                  <a:lnTo>
                    <a:pt x="674" y="871"/>
                  </a:lnTo>
                  <a:lnTo>
                    <a:pt x="674" y="871"/>
                  </a:lnTo>
                  <a:lnTo>
                    <a:pt x="674" y="871"/>
                  </a:lnTo>
                  <a:lnTo>
                    <a:pt x="674" y="871"/>
                  </a:lnTo>
                  <a:lnTo>
                    <a:pt x="674" y="871"/>
                  </a:lnTo>
                  <a:lnTo>
                    <a:pt x="674" y="871"/>
                  </a:lnTo>
                  <a:lnTo>
                    <a:pt x="672" y="871"/>
                  </a:lnTo>
                  <a:lnTo>
                    <a:pt x="672" y="871"/>
                  </a:lnTo>
                  <a:lnTo>
                    <a:pt x="672" y="871"/>
                  </a:lnTo>
                  <a:lnTo>
                    <a:pt x="672" y="871"/>
                  </a:lnTo>
                  <a:lnTo>
                    <a:pt x="672" y="871"/>
                  </a:lnTo>
                  <a:lnTo>
                    <a:pt x="672" y="871"/>
                  </a:lnTo>
                  <a:lnTo>
                    <a:pt x="672" y="871"/>
                  </a:lnTo>
                  <a:lnTo>
                    <a:pt x="670" y="873"/>
                  </a:lnTo>
                  <a:lnTo>
                    <a:pt x="672" y="873"/>
                  </a:lnTo>
                  <a:lnTo>
                    <a:pt x="674" y="873"/>
                  </a:lnTo>
                  <a:lnTo>
                    <a:pt x="674" y="873"/>
                  </a:lnTo>
                  <a:lnTo>
                    <a:pt x="674" y="873"/>
                  </a:lnTo>
                  <a:lnTo>
                    <a:pt x="674" y="873"/>
                  </a:lnTo>
                  <a:lnTo>
                    <a:pt x="674" y="873"/>
                  </a:lnTo>
                  <a:lnTo>
                    <a:pt x="674" y="873"/>
                  </a:lnTo>
                  <a:lnTo>
                    <a:pt x="674" y="873"/>
                  </a:lnTo>
                  <a:lnTo>
                    <a:pt x="676" y="873"/>
                  </a:lnTo>
                  <a:lnTo>
                    <a:pt x="678" y="875"/>
                  </a:lnTo>
                  <a:lnTo>
                    <a:pt x="678" y="873"/>
                  </a:lnTo>
                  <a:lnTo>
                    <a:pt x="678" y="873"/>
                  </a:lnTo>
                  <a:lnTo>
                    <a:pt x="680" y="873"/>
                  </a:lnTo>
                  <a:lnTo>
                    <a:pt x="680" y="873"/>
                  </a:lnTo>
                  <a:lnTo>
                    <a:pt x="680" y="871"/>
                  </a:lnTo>
                  <a:lnTo>
                    <a:pt x="680" y="871"/>
                  </a:lnTo>
                  <a:close/>
                  <a:moveTo>
                    <a:pt x="662" y="873"/>
                  </a:moveTo>
                  <a:lnTo>
                    <a:pt x="662" y="873"/>
                  </a:lnTo>
                  <a:lnTo>
                    <a:pt x="662" y="871"/>
                  </a:lnTo>
                  <a:lnTo>
                    <a:pt x="662" y="871"/>
                  </a:lnTo>
                  <a:lnTo>
                    <a:pt x="662" y="871"/>
                  </a:lnTo>
                  <a:lnTo>
                    <a:pt x="660" y="873"/>
                  </a:lnTo>
                  <a:lnTo>
                    <a:pt x="660" y="873"/>
                  </a:lnTo>
                  <a:lnTo>
                    <a:pt x="660" y="873"/>
                  </a:lnTo>
                  <a:lnTo>
                    <a:pt x="660" y="873"/>
                  </a:lnTo>
                  <a:lnTo>
                    <a:pt x="662" y="873"/>
                  </a:lnTo>
                  <a:lnTo>
                    <a:pt x="662" y="873"/>
                  </a:lnTo>
                  <a:lnTo>
                    <a:pt x="662" y="873"/>
                  </a:lnTo>
                  <a:lnTo>
                    <a:pt x="662" y="873"/>
                  </a:lnTo>
                  <a:lnTo>
                    <a:pt x="662" y="873"/>
                  </a:lnTo>
                  <a:close/>
                  <a:moveTo>
                    <a:pt x="662" y="869"/>
                  </a:moveTo>
                  <a:lnTo>
                    <a:pt x="662" y="869"/>
                  </a:lnTo>
                  <a:lnTo>
                    <a:pt x="662" y="867"/>
                  </a:lnTo>
                  <a:lnTo>
                    <a:pt x="662" y="867"/>
                  </a:lnTo>
                  <a:lnTo>
                    <a:pt x="662" y="867"/>
                  </a:lnTo>
                  <a:lnTo>
                    <a:pt x="662" y="867"/>
                  </a:lnTo>
                  <a:lnTo>
                    <a:pt x="664" y="867"/>
                  </a:lnTo>
                  <a:lnTo>
                    <a:pt x="664" y="867"/>
                  </a:lnTo>
                  <a:lnTo>
                    <a:pt x="664" y="867"/>
                  </a:lnTo>
                  <a:lnTo>
                    <a:pt x="664" y="867"/>
                  </a:lnTo>
                  <a:lnTo>
                    <a:pt x="664" y="867"/>
                  </a:lnTo>
                  <a:lnTo>
                    <a:pt x="664" y="867"/>
                  </a:lnTo>
                  <a:lnTo>
                    <a:pt x="666" y="867"/>
                  </a:lnTo>
                  <a:lnTo>
                    <a:pt x="666" y="867"/>
                  </a:lnTo>
                  <a:lnTo>
                    <a:pt x="666" y="865"/>
                  </a:lnTo>
                  <a:lnTo>
                    <a:pt x="666" y="865"/>
                  </a:lnTo>
                  <a:lnTo>
                    <a:pt x="662" y="863"/>
                  </a:lnTo>
                  <a:lnTo>
                    <a:pt x="662" y="863"/>
                  </a:lnTo>
                  <a:lnTo>
                    <a:pt x="664" y="863"/>
                  </a:lnTo>
                  <a:lnTo>
                    <a:pt x="662" y="863"/>
                  </a:lnTo>
                  <a:lnTo>
                    <a:pt x="662" y="863"/>
                  </a:lnTo>
                  <a:lnTo>
                    <a:pt x="662" y="863"/>
                  </a:lnTo>
                  <a:lnTo>
                    <a:pt x="662" y="863"/>
                  </a:lnTo>
                  <a:lnTo>
                    <a:pt x="664" y="861"/>
                  </a:lnTo>
                  <a:lnTo>
                    <a:pt x="664" y="861"/>
                  </a:lnTo>
                  <a:lnTo>
                    <a:pt x="664" y="861"/>
                  </a:lnTo>
                  <a:lnTo>
                    <a:pt x="664" y="861"/>
                  </a:lnTo>
                  <a:lnTo>
                    <a:pt x="664" y="861"/>
                  </a:lnTo>
                  <a:lnTo>
                    <a:pt x="664" y="861"/>
                  </a:lnTo>
                  <a:lnTo>
                    <a:pt x="664" y="861"/>
                  </a:lnTo>
                  <a:lnTo>
                    <a:pt x="664" y="861"/>
                  </a:lnTo>
                  <a:lnTo>
                    <a:pt x="662" y="861"/>
                  </a:lnTo>
                  <a:lnTo>
                    <a:pt x="662" y="861"/>
                  </a:lnTo>
                  <a:lnTo>
                    <a:pt x="662" y="861"/>
                  </a:lnTo>
                  <a:lnTo>
                    <a:pt x="662" y="861"/>
                  </a:lnTo>
                  <a:lnTo>
                    <a:pt x="662" y="861"/>
                  </a:lnTo>
                  <a:lnTo>
                    <a:pt x="662" y="861"/>
                  </a:lnTo>
                  <a:lnTo>
                    <a:pt x="662" y="861"/>
                  </a:lnTo>
                  <a:lnTo>
                    <a:pt x="662" y="861"/>
                  </a:lnTo>
                  <a:lnTo>
                    <a:pt x="662" y="859"/>
                  </a:lnTo>
                  <a:lnTo>
                    <a:pt x="662" y="859"/>
                  </a:lnTo>
                  <a:lnTo>
                    <a:pt x="660" y="859"/>
                  </a:lnTo>
                  <a:lnTo>
                    <a:pt x="660" y="861"/>
                  </a:lnTo>
                  <a:lnTo>
                    <a:pt x="660" y="861"/>
                  </a:lnTo>
                  <a:lnTo>
                    <a:pt x="660" y="861"/>
                  </a:lnTo>
                  <a:lnTo>
                    <a:pt x="660" y="861"/>
                  </a:lnTo>
                  <a:lnTo>
                    <a:pt x="660" y="861"/>
                  </a:lnTo>
                  <a:lnTo>
                    <a:pt x="660" y="861"/>
                  </a:lnTo>
                  <a:lnTo>
                    <a:pt x="657" y="863"/>
                  </a:lnTo>
                  <a:lnTo>
                    <a:pt x="662" y="863"/>
                  </a:lnTo>
                  <a:lnTo>
                    <a:pt x="662" y="863"/>
                  </a:lnTo>
                  <a:lnTo>
                    <a:pt x="662" y="863"/>
                  </a:lnTo>
                  <a:lnTo>
                    <a:pt x="660" y="865"/>
                  </a:lnTo>
                  <a:lnTo>
                    <a:pt x="660" y="865"/>
                  </a:lnTo>
                  <a:lnTo>
                    <a:pt x="660" y="865"/>
                  </a:lnTo>
                  <a:lnTo>
                    <a:pt x="660" y="867"/>
                  </a:lnTo>
                  <a:lnTo>
                    <a:pt x="660" y="867"/>
                  </a:lnTo>
                  <a:lnTo>
                    <a:pt x="660" y="867"/>
                  </a:lnTo>
                  <a:lnTo>
                    <a:pt x="660" y="869"/>
                  </a:lnTo>
                  <a:lnTo>
                    <a:pt x="660" y="869"/>
                  </a:lnTo>
                  <a:lnTo>
                    <a:pt x="662" y="869"/>
                  </a:lnTo>
                  <a:close/>
                  <a:moveTo>
                    <a:pt x="670" y="873"/>
                  </a:moveTo>
                  <a:lnTo>
                    <a:pt x="670" y="871"/>
                  </a:lnTo>
                  <a:lnTo>
                    <a:pt x="666" y="871"/>
                  </a:lnTo>
                  <a:lnTo>
                    <a:pt x="664" y="871"/>
                  </a:lnTo>
                  <a:lnTo>
                    <a:pt x="664" y="871"/>
                  </a:lnTo>
                  <a:lnTo>
                    <a:pt x="666" y="871"/>
                  </a:lnTo>
                  <a:lnTo>
                    <a:pt x="666" y="873"/>
                  </a:lnTo>
                  <a:lnTo>
                    <a:pt x="668" y="873"/>
                  </a:lnTo>
                  <a:lnTo>
                    <a:pt x="668" y="873"/>
                  </a:lnTo>
                  <a:lnTo>
                    <a:pt x="668" y="873"/>
                  </a:lnTo>
                  <a:lnTo>
                    <a:pt x="668" y="875"/>
                  </a:lnTo>
                  <a:lnTo>
                    <a:pt x="668" y="873"/>
                  </a:lnTo>
                  <a:lnTo>
                    <a:pt x="668" y="873"/>
                  </a:lnTo>
                  <a:lnTo>
                    <a:pt x="670" y="873"/>
                  </a:lnTo>
                  <a:lnTo>
                    <a:pt x="670" y="873"/>
                  </a:lnTo>
                  <a:lnTo>
                    <a:pt x="670" y="873"/>
                  </a:lnTo>
                  <a:lnTo>
                    <a:pt x="670" y="873"/>
                  </a:lnTo>
                  <a:lnTo>
                    <a:pt x="670" y="873"/>
                  </a:lnTo>
                  <a:lnTo>
                    <a:pt x="670" y="873"/>
                  </a:lnTo>
                  <a:lnTo>
                    <a:pt x="670" y="873"/>
                  </a:lnTo>
                  <a:close/>
                  <a:moveTo>
                    <a:pt x="643" y="873"/>
                  </a:moveTo>
                  <a:lnTo>
                    <a:pt x="643" y="873"/>
                  </a:lnTo>
                  <a:lnTo>
                    <a:pt x="641" y="871"/>
                  </a:lnTo>
                  <a:lnTo>
                    <a:pt x="641" y="873"/>
                  </a:lnTo>
                  <a:lnTo>
                    <a:pt x="641" y="873"/>
                  </a:lnTo>
                  <a:lnTo>
                    <a:pt x="641" y="873"/>
                  </a:lnTo>
                  <a:lnTo>
                    <a:pt x="641" y="873"/>
                  </a:lnTo>
                  <a:lnTo>
                    <a:pt x="641" y="873"/>
                  </a:lnTo>
                  <a:lnTo>
                    <a:pt x="641" y="873"/>
                  </a:lnTo>
                  <a:lnTo>
                    <a:pt x="643" y="875"/>
                  </a:lnTo>
                  <a:lnTo>
                    <a:pt x="643" y="873"/>
                  </a:lnTo>
                  <a:lnTo>
                    <a:pt x="643" y="873"/>
                  </a:lnTo>
                  <a:lnTo>
                    <a:pt x="643" y="873"/>
                  </a:lnTo>
                  <a:lnTo>
                    <a:pt x="643" y="873"/>
                  </a:lnTo>
                  <a:close/>
                  <a:moveTo>
                    <a:pt x="627" y="367"/>
                  </a:moveTo>
                  <a:lnTo>
                    <a:pt x="633" y="371"/>
                  </a:lnTo>
                  <a:lnTo>
                    <a:pt x="633" y="375"/>
                  </a:lnTo>
                  <a:lnTo>
                    <a:pt x="635" y="377"/>
                  </a:lnTo>
                  <a:lnTo>
                    <a:pt x="633" y="373"/>
                  </a:lnTo>
                  <a:lnTo>
                    <a:pt x="633" y="371"/>
                  </a:lnTo>
                  <a:lnTo>
                    <a:pt x="627" y="367"/>
                  </a:lnTo>
                  <a:close/>
                  <a:moveTo>
                    <a:pt x="641" y="385"/>
                  </a:moveTo>
                  <a:lnTo>
                    <a:pt x="643" y="385"/>
                  </a:lnTo>
                  <a:lnTo>
                    <a:pt x="643" y="387"/>
                  </a:lnTo>
                  <a:lnTo>
                    <a:pt x="643" y="389"/>
                  </a:lnTo>
                  <a:lnTo>
                    <a:pt x="643" y="387"/>
                  </a:lnTo>
                  <a:lnTo>
                    <a:pt x="641" y="385"/>
                  </a:lnTo>
                  <a:close/>
                  <a:moveTo>
                    <a:pt x="602" y="359"/>
                  </a:moveTo>
                  <a:lnTo>
                    <a:pt x="604" y="361"/>
                  </a:lnTo>
                  <a:lnTo>
                    <a:pt x="604" y="363"/>
                  </a:lnTo>
                  <a:lnTo>
                    <a:pt x="604" y="363"/>
                  </a:lnTo>
                  <a:lnTo>
                    <a:pt x="606" y="363"/>
                  </a:lnTo>
                  <a:lnTo>
                    <a:pt x="606" y="365"/>
                  </a:lnTo>
                  <a:lnTo>
                    <a:pt x="606" y="365"/>
                  </a:lnTo>
                  <a:lnTo>
                    <a:pt x="606" y="365"/>
                  </a:lnTo>
                  <a:lnTo>
                    <a:pt x="608" y="365"/>
                  </a:lnTo>
                  <a:lnTo>
                    <a:pt x="608" y="365"/>
                  </a:lnTo>
                  <a:lnTo>
                    <a:pt x="608" y="365"/>
                  </a:lnTo>
                  <a:lnTo>
                    <a:pt x="608" y="365"/>
                  </a:lnTo>
                  <a:lnTo>
                    <a:pt x="610" y="367"/>
                  </a:lnTo>
                  <a:lnTo>
                    <a:pt x="610" y="367"/>
                  </a:lnTo>
                  <a:lnTo>
                    <a:pt x="612" y="367"/>
                  </a:lnTo>
                  <a:lnTo>
                    <a:pt x="612" y="365"/>
                  </a:lnTo>
                  <a:lnTo>
                    <a:pt x="612" y="365"/>
                  </a:lnTo>
                  <a:lnTo>
                    <a:pt x="614" y="365"/>
                  </a:lnTo>
                  <a:lnTo>
                    <a:pt x="614" y="365"/>
                  </a:lnTo>
                  <a:lnTo>
                    <a:pt x="614" y="365"/>
                  </a:lnTo>
                  <a:lnTo>
                    <a:pt x="614" y="365"/>
                  </a:lnTo>
                  <a:lnTo>
                    <a:pt x="617" y="365"/>
                  </a:lnTo>
                  <a:lnTo>
                    <a:pt x="619" y="363"/>
                  </a:lnTo>
                  <a:lnTo>
                    <a:pt x="619" y="363"/>
                  </a:lnTo>
                  <a:lnTo>
                    <a:pt x="619" y="363"/>
                  </a:lnTo>
                  <a:lnTo>
                    <a:pt x="621" y="363"/>
                  </a:lnTo>
                  <a:lnTo>
                    <a:pt x="621" y="363"/>
                  </a:lnTo>
                  <a:lnTo>
                    <a:pt x="621" y="363"/>
                  </a:lnTo>
                  <a:lnTo>
                    <a:pt x="621" y="363"/>
                  </a:lnTo>
                  <a:lnTo>
                    <a:pt x="625" y="363"/>
                  </a:lnTo>
                  <a:lnTo>
                    <a:pt x="625" y="363"/>
                  </a:lnTo>
                  <a:lnTo>
                    <a:pt x="625" y="363"/>
                  </a:lnTo>
                  <a:lnTo>
                    <a:pt x="625" y="365"/>
                  </a:lnTo>
                  <a:lnTo>
                    <a:pt x="627" y="365"/>
                  </a:lnTo>
                  <a:lnTo>
                    <a:pt x="627" y="365"/>
                  </a:lnTo>
                  <a:lnTo>
                    <a:pt x="627" y="365"/>
                  </a:lnTo>
                  <a:lnTo>
                    <a:pt x="629" y="367"/>
                  </a:lnTo>
                  <a:lnTo>
                    <a:pt x="629" y="367"/>
                  </a:lnTo>
                  <a:lnTo>
                    <a:pt x="629" y="367"/>
                  </a:lnTo>
                  <a:lnTo>
                    <a:pt x="629" y="367"/>
                  </a:lnTo>
                  <a:lnTo>
                    <a:pt x="629" y="367"/>
                  </a:lnTo>
                  <a:lnTo>
                    <a:pt x="631" y="367"/>
                  </a:lnTo>
                  <a:lnTo>
                    <a:pt x="633" y="371"/>
                  </a:lnTo>
                  <a:lnTo>
                    <a:pt x="633" y="371"/>
                  </a:lnTo>
                  <a:lnTo>
                    <a:pt x="635" y="373"/>
                  </a:lnTo>
                  <a:lnTo>
                    <a:pt x="637" y="375"/>
                  </a:lnTo>
                  <a:lnTo>
                    <a:pt x="637" y="375"/>
                  </a:lnTo>
                  <a:lnTo>
                    <a:pt x="637" y="375"/>
                  </a:lnTo>
                  <a:lnTo>
                    <a:pt x="637" y="375"/>
                  </a:lnTo>
                  <a:lnTo>
                    <a:pt x="637" y="377"/>
                  </a:lnTo>
                  <a:lnTo>
                    <a:pt x="637" y="377"/>
                  </a:lnTo>
                  <a:lnTo>
                    <a:pt x="637" y="377"/>
                  </a:lnTo>
                  <a:lnTo>
                    <a:pt x="637" y="379"/>
                  </a:lnTo>
                  <a:lnTo>
                    <a:pt x="637" y="379"/>
                  </a:lnTo>
                  <a:lnTo>
                    <a:pt x="637" y="379"/>
                  </a:lnTo>
                  <a:lnTo>
                    <a:pt x="635" y="379"/>
                  </a:lnTo>
                  <a:lnTo>
                    <a:pt x="635" y="379"/>
                  </a:lnTo>
                  <a:lnTo>
                    <a:pt x="635" y="379"/>
                  </a:lnTo>
                  <a:lnTo>
                    <a:pt x="635" y="379"/>
                  </a:lnTo>
                  <a:lnTo>
                    <a:pt x="637" y="381"/>
                  </a:lnTo>
                  <a:lnTo>
                    <a:pt x="637" y="381"/>
                  </a:lnTo>
                  <a:lnTo>
                    <a:pt x="637" y="381"/>
                  </a:lnTo>
                  <a:lnTo>
                    <a:pt x="639" y="381"/>
                  </a:lnTo>
                  <a:lnTo>
                    <a:pt x="639" y="379"/>
                  </a:lnTo>
                  <a:lnTo>
                    <a:pt x="639" y="381"/>
                  </a:lnTo>
                  <a:lnTo>
                    <a:pt x="639" y="381"/>
                  </a:lnTo>
                  <a:lnTo>
                    <a:pt x="639" y="381"/>
                  </a:lnTo>
                  <a:lnTo>
                    <a:pt x="639" y="381"/>
                  </a:lnTo>
                  <a:lnTo>
                    <a:pt x="639" y="381"/>
                  </a:lnTo>
                  <a:lnTo>
                    <a:pt x="639" y="381"/>
                  </a:lnTo>
                  <a:lnTo>
                    <a:pt x="639" y="381"/>
                  </a:lnTo>
                  <a:lnTo>
                    <a:pt x="641" y="383"/>
                  </a:lnTo>
                  <a:lnTo>
                    <a:pt x="641" y="383"/>
                  </a:lnTo>
                  <a:lnTo>
                    <a:pt x="641" y="383"/>
                  </a:lnTo>
                  <a:lnTo>
                    <a:pt x="643" y="385"/>
                  </a:lnTo>
                  <a:lnTo>
                    <a:pt x="645" y="385"/>
                  </a:lnTo>
                  <a:lnTo>
                    <a:pt x="645" y="387"/>
                  </a:lnTo>
                  <a:lnTo>
                    <a:pt x="645" y="389"/>
                  </a:lnTo>
                  <a:lnTo>
                    <a:pt x="645" y="389"/>
                  </a:lnTo>
                  <a:lnTo>
                    <a:pt x="645" y="389"/>
                  </a:lnTo>
                  <a:lnTo>
                    <a:pt x="645" y="389"/>
                  </a:lnTo>
                  <a:lnTo>
                    <a:pt x="645" y="391"/>
                  </a:lnTo>
                  <a:lnTo>
                    <a:pt x="645" y="391"/>
                  </a:lnTo>
                  <a:lnTo>
                    <a:pt x="645" y="391"/>
                  </a:lnTo>
                  <a:lnTo>
                    <a:pt x="645" y="391"/>
                  </a:lnTo>
                  <a:lnTo>
                    <a:pt x="645" y="391"/>
                  </a:lnTo>
                  <a:lnTo>
                    <a:pt x="645" y="393"/>
                  </a:lnTo>
                  <a:lnTo>
                    <a:pt x="645" y="393"/>
                  </a:lnTo>
                  <a:lnTo>
                    <a:pt x="643" y="393"/>
                  </a:lnTo>
                  <a:lnTo>
                    <a:pt x="645" y="393"/>
                  </a:lnTo>
                  <a:lnTo>
                    <a:pt x="645" y="396"/>
                  </a:lnTo>
                  <a:lnTo>
                    <a:pt x="645" y="396"/>
                  </a:lnTo>
                  <a:lnTo>
                    <a:pt x="645" y="396"/>
                  </a:lnTo>
                  <a:lnTo>
                    <a:pt x="647" y="396"/>
                  </a:lnTo>
                  <a:lnTo>
                    <a:pt x="647" y="393"/>
                  </a:lnTo>
                  <a:lnTo>
                    <a:pt x="647" y="393"/>
                  </a:lnTo>
                  <a:lnTo>
                    <a:pt x="649" y="393"/>
                  </a:lnTo>
                  <a:lnTo>
                    <a:pt x="649" y="393"/>
                  </a:lnTo>
                  <a:lnTo>
                    <a:pt x="649" y="393"/>
                  </a:lnTo>
                  <a:lnTo>
                    <a:pt x="649" y="391"/>
                  </a:lnTo>
                  <a:lnTo>
                    <a:pt x="649" y="391"/>
                  </a:lnTo>
                  <a:lnTo>
                    <a:pt x="649" y="391"/>
                  </a:lnTo>
                  <a:lnTo>
                    <a:pt x="649" y="389"/>
                  </a:lnTo>
                  <a:lnTo>
                    <a:pt x="649" y="389"/>
                  </a:lnTo>
                  <a:lnTo>
                    <a:pt x="651" y="389"/>
                  </a:lnTo>
                  <a:lnTo>
                    <a:pt x="651" y="389"/>
                  </a:lnTo>
                  <a:lnTo>
                    <a:pt x="653" y="389"/>
                  </a:lnTo>
                  <a:lnTo>
                    <a:pt x="653" y="387"/>
                  </a:lnTo>
                  <a:lnTo>
                    <a:pt x="653" y="387"/>
                  </a:lnTo>
                  <a:lnTo>
                    <a:pt x="653" y="387"/>
                  </a:lnTo>
                  <a:lnTo>
                    <a:pt x="653" y="387"/>
                  </a:lnTo>
                  <a:lnTo>
                    <a:pt x="655" y="385"/>
                  </a:lnTo>
                  <a:lnTo>
                    <a:pt x="657" y="385"/>
                  </a:lnTo>
                  <a:lnTo>
                    <a:pt x="662" y="385"/>
                  </a:lnTo>
                  <a:lnTo>
                    <a:pt x="660" y="385"/>
                  </a:lnTo>
                  <a:lnTo>
                    <a:pt x="660" y="385"/>
                  </a:lnTo>
                  <a:lnTo>
                    <a:pt x="657" y="385"/>
                  </a:lnTo>
                  <a:lnTo>
                    <a:pt x="657" y="385"/>
                  </a:lnTo>
                  <a:lnTo>
                    <a:pt x="655" y="387"/>
                  </a:lnTo>
                  <a:lnTo>
                    <a:pt x="657" y="385"/>
                  </a:lnTo>
                  <a:lnTo>
                    <a:pt x="664" y="387"/>
                  </a:lnTo>
                  <a:lnTo>
                    <a:pt x="664" y="387"/>
                  </a:lnTo>
                  <a:lnTo>
                    <a:pt x="664" y="387"/>
                  </a:lnTo>
                  <a:lnTo>
                    <a:pt x="664" y="387"/>
                  </a:lnTo>
                  <a:lnTo>
                    <a:pt x="668" y="389"/>
                  </a:lnTo>
                  <a:lnTo>
                    <a:pt x="668" y="389"/>
                  </a:lnTo>
                  <a:lnTo>
                    <a:pt x="670" y="387"/>
                  </a:lnTo>
                  <a:lnTo>
                    <a:pt x="670" y="385"/>
                  </a:lnTo>
                  <a:lnTo>
                    <a:pt x="672" y="385"/>
                  </a:lnTo>
                  <a:lnTo>
                    <a:pt x="670" y="383"/>
                  </a:lnTo>
                  <a:lnTo>
                    <a:pt x="672" y="383"/>
                  </a:lnTo>
                  <a:lnTo>
                    <a:pt x="672" y="383"/>
                  </a:lnTo>
                  <a:lnTo>
                    <a:pt x="672" y="383"/>
                  </a:lnTo>
                  <a:lnTo>
                    <a:pt x="672" y="381"/>
                  </a:lnTo>
                  <a:lnTo>
                    <a:pt x="666" y="379"/>
                  </a:lnTo>
                  <a:lnTo>
                    <a:pt x="666" y="379"/>
                  </a:lnTo>
                  <a:lnTo>
                    <a:pt x="666" y="379"/>
                  </a:lnTo>
                  <a:lnTo>
                    <a:pt x="664" y="379"/>
                  </a:lnTo>
                  <a:lnTo>
                    <a:pt x="662" y="377"/>
                  </a:lnTo>
                  <a:lnTo>
                    <a:pt x="662" y="377"/>
                  </a:lnTo>
                  <a:lnTo>
                    <a:pt x="662" y="379"/>
                  </a:lnTo>
                  <a:lnTo>
                    <a:pt x="664" y="379"/>
                  </a:lnTo>
                  <a:lnTo>
                    <a:pt x="664" y="379"/>
                  </a:lnTo>
                  <a:lnTo>
                    <a:pt x="664" y="381"/>
                  </a:lnTo>
                  <a:lnTo>
                    <a:pt x="662" y="381"/>
                  </a:lnTo>
                  <a:lnTo>
                    <a:pt x="662" y="381"/>
                  </a:lnTo>
                  <a:lnTo>
                    <a:pt x="660" y="379"/>
                  </a:lnTo>
                  <a:lnTo>
                    <a:pt x="660" y="377"/>
                  </a:lnTo>
                  <a:lnTo>
                    <a:pt x="660" y="377"/>
                  </a:lnTo>
                  <a:lnTo>
                    <a:pt x="657" y="377"/>
                  </a:lnTo>
                  <a:lnTo>
                    <a:pt x="655" y="375"/>
                  </a:lnTo>
                  <a:lnTo>
                    <a:pt x="655" y="375"/>
                  </a:lnTo>
                  <a:lnTo>
                    <a:pt x="655" y="377"/>
                  </a:lnTo>
                  <a:lnTo>
                    <a:pt x="655" y="377"/>
                  </a:lnTo>
                  <a:lnTo>
                    <a:pt x="655" y="377"/>
                  </a:lnTo>
                  <a:lnTo>
                    <a:pt x="653" y="375"/>
                  </a:lnTo>
                  <a:lnTo>
                    <a:pt x="653" y="375"/>
                  </a:lnTo>
                  <a:lnTo>
                    <a:pt x="653" y="375"/>
                  </a:lnTo>
                  <a:lnTo>
                    <a:pt x="653" y="373"/>
                  </a:lnTo>
                  <a:lnTo>
                    <a:pt x="653" y="371"/>
                  </a:lnTo>
                  <a:lnTo>
                    <a:pt x="651" y="371"/>
                  </a:lnTo>
                  <a:lnTo>
                    <a:pt x="649" y="371"/>
                  </a:lnTo>
                  <a:lnTo>
                    <a:pt x="647" y="369"/>
                  </a:lnTo>
                  <a:lnTo>
                    <a:pt x="649" y="369"/>
                  </a:lnTo>
                  <a:lnTo>
                    <a:pt x="649" y="369"/>
                  </a:lnTo>
                  <a:lnTo>
                    <a:pt x="649" y="369"/>
                  </a:lnTo>
                  <a:lnTo>
                    <a:pt x="647" y="369"/>
                  </a:lnTo>
                  <a:lnTo>
                    <a:pt x="647" y="369"/>
                  </a:lnTo>
                  <a:lnTo>
                    <a:pt x="645" y="367"/>
                  </a:lnTo>
                  <a:lnTo>
                    <a:pt x="643" y="365"/>
                  </a:lnTo>
                  <a:lnTo>
                    <a:pt x="643" y="365"/>
                  </a:lnTo>
                  <a:lnTo>
                    <a:pt x="643" y="367"/>
                  </a:lnTo>
                  <a:lnTo>
                    <a:pt x="643" y="365"/>
                  </a:lnTo>
                  <a:lnTo>
                    <a:pt x="643" y="365"/>
                  </a:lnTo>
                  <a:lnTo>
                    <a:pt x="645" y="365"/>
                  </a:lnTo>
                  <a:lnTo>
                    <a:pt x="645" y="363"/>
                  </a:lnTo>
                  <a:lnTo>
                    <a:pt x="645" y="363"/>
                  </a:lnTo>
                  <a:lnTo>
                    <a:pt x="645" y="363"/>
                  </a:lnTo>
                  <a:lnTo>
                    <a:pt x="645" y="363"/>
                  </a:lnTo>
                  <a:lnTo>
                    <a:pt x="645" y="363"/>
                  </a:lnTo>
                  <a:lnTo>
                    <a:pt x="645" y="361"/>
                  </a:lnTo>
                  <a:lnTo>
                    <a:pt x="645" y="361"/>
                  </a:lnTo>
                  <a:lnTo>
                    <a:pt x="645" y="359"/>
                  </a:lnTo>
                  <a:lnTo>
                    <a:pt x="643" y="359"/>
                  </a:lnTo>
                  <a:lnTo>
                    <a:pt x="643" y="359"/>
                  </a:lnTo>
                  <a:lnTo>
                    <a:pt x="643" y="359"/>
                  </a:lnTo>
                  <a:lnTo>
                    <a:pt x="641" y="357"/>
                  </a:lnTo>
                  <a:lnTo>
                    <a:pt x="641" y="355"/>
                  </a:lnTo>
                  <a:lnTo>
                    <a:pt x="641" y="355"/>
                  </a:lnTo>
                  <a:lnTo>
                    <a:pt x="641" y="355"/>
                  </a:lnTo>
                  <a:lnTo>
                    <a:pt x="641" y="355"/>
                  </a:lnTo>
                  <a:lnTo>
                    <a:pt x="641" y="355"/>
                  </a:lnTo>
                  <a:lnTo>
                    <a:pt x="639" y="355"/>
                  </a:lnTo>
                  <a:lnTo>
                    <a:pt x="639" y="355"/>
                  </a:lnTo>
                  <a:lnTo>
                    <a:pt x="639" y="355"/>
                  </a:lnTo>
                  <a:lnTo>
                    <a:pt x="637" y="352"/>
                  </a:lnTo>
                  <a:lnTo>
                    <a:pt x="637" y="352"/>
                  </a:lnTo>
                  <a:lnTo>
                    <a:pt x="637" y="352"/>
                  </a:lnTo>
                  <a:lnTo>
                    <a:pt x="637" y="352"/>
                  </a:lnTo>
                  <a:lnTo>
                    <a:pt x="633" y="355"/>
                  </a:lnTo>
                  <a:lnTo>
                    <a:pt x="633" y="355"/>
                  </a:lnTo>
                  <a:lnTo>
                    <a:pt x="633" y="352"/>
                  </a:lnTo>
                  <a:lnTo>
                    <a:pt x="633" y="352"/>
                  </a:lnTo>
                  <a:lnTo>
                    <a:pt x="631" y="355"/>
                  </a:lnTo>
                  <a:lnTo>
                    <a:pt x="629" y="355"/>
                  </a:lnTo>
                  <a:lnTo>
                    <a:pt x="627" y="357"/>
                  </a:lnTo>
                  <a:lnTo>
                    <a:pt x="627" y="357"/>
                  </a:lnTo>
                  <a:lnTo>
                    <a:pt x="625" y="357"/>
                  </a:lnTo>
                  <a:lnTo>
                    <a:pt x="625" y="357"/>
                  </a:lnTo>
                  <a:lnTo>
                    <a:pt x="625" y="357"/>
                  </a:lnTo>
                  <a:lnTo>
                    <a:pt x="625" y="357"/>
                  </a:lnTo>
                  <a:lnTo>
                    <a:pt x="625" y="357"/>
                  </a:lnTo>
                  <a:lnTo>
                    <a:pt x="621" y="355"/>
                  </a:lnTo>
                  <a:lnTo>
                    <a:pt x="621" y="355"/>
                  </a:lnTo>
                  <a:lnTo>
                    <a:pt x="621" y="355"/>
                  </a:lnTo>
                  <a:lnTo>
                    <a:pt x="621" y="355"/>
                  </a:lnTo>
                  <a:lnTo>
                    <a:pt x="621" y="355"/>
                  </a:lnTo>
                  <a:lnTo>
                    <a:pt x="621" y="355"/>
                  </a:lnTo>
                  <a:lnTo>
                    <a:pt x="621" y="355"/>
                  </a:lnTo>
                  <a:lnTo>
                    <a:pt x="621" y="355"/>
                  </a:lnTo>
                  <a:lnTo>
                    <a:pt x="621" y="355"/>
                  </a:lnTo>
                  <a:lnTo>
                    <a:pt x="617" y="350"/>
                  </a:lnTo>
                  <a:lnTo>
                    <a:pt x="617" y="350"/>
                  </a:lnTo>
                  <a:lnTo>
                    <a:pt x="617" y="350"/>
                  </a:lnTo>
                  <a:lnTo>
                    <a:pt x="617" y="352"/>
                  </a:lnTo>
                  <a:lnTo>
                    <a:pt x="617" y="352"/>
                  </a:lnTo>
                  <a:lnTo>
                    <a:pt x="617" y="352"/>
                  </a:lnTo>
                  <a:lnTo>
                    <a:pt x="612" y="352"/>
                  </a:lnTo>
                  <a:lnTo>
                    <a:pt x="612" y="352"/>
                  </a:lnTo>
                  <a:lnTo>
                    <a:pt x="612" y="350"/>
                  </a:lnTo>
                  <a:lnTo>
                    <a:pt x="612" y="350"/>
                  </a:lnTo>
                  <a:lnTo>
                    <a:pt x="612" y="350"/>
                  </a:lnTo>
                  <a:lnTo>
                    <a:pt x="612" y="350"/>
                  </a:lnTo>
                  <a:lnTo>
                    <a:pt x="612" y="350"/>
                  </a:lnTo>
                  <a:lnTo>
                    <a:pt x="612" y="350"/>
                  </a:lnTo>
                  <a:lnTo>
                    <a:pt x="612" y="348"/>
                  </a:lnTo>
                  <a:lnTo>
                    <a:pt x="614" y="348"/>
                  </a:lnTo>
                  <a:lnTo>
                    <a:pt x="614" y="350"/>
                  </a:lnTo>
                  <a:lnTo>
                    <a:pt x="614" y="350"/>
                  </a:lnTo>
                  <a:lnTo>
                    <a:pt x="614" y="350"/>
                  </a:lnTo>
                  <a:lnTo>
                    <a:pt x="614" y="348"/>
                  </a:lnTo>
                  <a:lnTo>
                    <a:pt x="610" y="346"/>
                  </a:lnTo>
                  <a:lnTo>
                    <a:pt x="610" y="346"/>
                  </a:lnTo>
                  <a:lnTo>
                    <a:pt x="610" y="346"/>
                  </a:lnTo>
                  <a:lnTo>
                    <a:pt x="610" y="344"/>
                  </a:lnTo>
                  <a:lnTo>
                    <a:pt x="610" y="344"/>
                  </a:lnTo>
                  <a:lnTo>
                    <a:pt x="612" y="344"/>
                  </a:lnTo>
                  <a:lnTo>
                    <a:pt x="612" y="342"/>
                  </a:lnTo>
                  <a:lnTo>
                    <a:pt x="612" y="342"/>
                  </a:lnTo>
                  <a:lnTo>
                    <a:pt x="612" y="342"/>
                  </a:lnTo>
                  <a:lnTo>
                    <a:pt x="610" y="340"/>
                  </a:lnTo>
                  <a:lnTo>
                    <a:pt x="610" y="342"/>
                  </a:lnTo>
                  <a:lnTo>
                    <a:pt x="610" y="340"/>
                  </a:lnTo>
                  <a:lnTo>
                    <a:pt x="610" y="340"/>
                  </a:lnTo>
                  <a:lnTo>
                    <a:pt x="610" y="340"/>
                  </a:lnTo>
                  <a:lnTo>
                    <a:pt x="610" y="340"/>
                  </a:lnTo>
                  <a:lnTo>
                    <a:pt x="610" y="342"/>
                  </a:lnTo>
                  <a:lnTo>
                    <a:pt x="610" y="342"/>
                  </a:lnTo>
                  <a:lnTo>
                    <a:pt x="610" y="342"/>
                  </a:lnTo>
                  <a:lnTo>
                    <a:pt x="610" y="342"/>
                  </a:lnTo>
                  <a:lnTo>
                    <a:pt x="610" y="342"/>
                  </a:lnTo>
                  <a:lnTo>
                    <a:pt x="608" y="344"/>
                  </a:lnTo>
                  <a:lnTo>
                    <a:pt x="608" y="344"/>
                  </a:lnTo>
                  <a:lnTo>
                    <a:pt x="608" y="346"/>
                  </a:lnTo>
                  <a:lnTo>
                    <a:pt x="608" y="346"/>
                  </a:lnTo>
                  <a:lnTo>
                    <a:pt x="608" y="346"/>
                  </a:lnTo>
                  <a:lnTo>
                    <a:pt x="606" y="348"/>
                  </a:lnTo>
                  <a:lnTo>
                    <a:pt x="606" y="348"/>
                  </a:lnTo>
                  <a:lnTo>
                    <a:pt x="606" y="348"/>
                  </a:lnTo>
                  <a:lnTo>
                    <a:pt x="606" y="348"/>
                  </a:lnTo>
                  <a:lnTo>
                    <a:pt x="606" y="348"/>
                  </a:lnTo>
                  <a:lnTo>
                    <a:pt x="606" y="348"/>
                  </a:lnTo>
                  <a:lnTo>
                    <a:pt x="606" y="348"/>
                  </a:lnTo>
                  <a:lnTo>
                    <a:pt x="606" y="348"/>
                  </a:lnTo>
                  <a:lnTo>
                    <a:pt x="606" y="350"/>
                  </a:lnTo>
                  <a:lnTo>
                    <a:pt x="606" y="350"/>
                  </a:lnTo>
                  <a:lnTo>
                    <a:pt x="606" y="350"/>
                  </a:lnTo>
                  <a:lnTo>
                    <a:pt x="604" y="350"/>
                  </a:lnTo>
                  <a:lnTo>
                    <a:pt x="604" y="350"/>
                  </a:lnTo>
                  <a:lnTo>
                    <a:pt x="604" y="350"/>
                  </a:lnTo>
                  <a:lnTo>
                    <a:pt x="604" y="352"/>
                  </a:lnTo>
                  <a:lnTo>
                    <a:pt x="604" y="352"/>
                  </a:lnTo>
                  <a:lnTo>
                    <a:pt x="604" y="352"/>
                  </a:lnTo>
                  <a:lnTo>
                    <a:pt x="604" y="355"/>
                  </a:lnTo>
                  <a:lnTo>
                    <a:pt x="604" y="355"/>
                  </a:lnTo>
                  <a:lnTo>
                    <a:pt x="604" y="355"/>
                  </a:lnTo>
                  <a:lnTo>
                    <a:pt x="604" y="355"/>
                  </a:lnTo>
                  <a:lnTo>
                    <a:pt x="604" y="355"/>
                  </a:lnTo>
                  <a:lnTo>
                    <a:pt x="604" y="355"/>
                  </a:lnTo>
                  <a:lnTo>
                    <a:pt x="604" y="357"/>
                  </a:lnTo>
                  <a:lnTo>
                    <a:pt x="604" y="357"/>
                  </a:lnTo>
                  <a:lnTo>
                    <a:pt x="602" y="357"/>
                  </a:lnTo>
                  <a:lnTo>
                    <a:pt x="602" y="359"/>
                  </a:lnTo>
                  <a:close/>
                  <a:moveTo>
                    <a:pt x="623" y="363"/>
                  </a:moveTo>
                  <a:lnTo>
                    <a:pt x="627" y="367"/>
                  </a:lnTo>
                  <a:lnTo>
                    <a:pt x="621" y="363"/>
                  </a:lnTo>
                  <a:lnTo>
                    <a:pt x="621" y="363"/>
                  </a:lnTo>
                  <a:lnTo>
                    <a:pt x="621" y="363"/>
                  </a:lnTo>
                  <a:lnTo>
                    <a:pt x="623" y="363"/>
                  </a:lnTo>
                  <a:close/>
                  <a:moveTo>
                    <a:pt x="623" y="355"/>
                  </a:moveTo>
                  <a:lnTo>
                    <a:pt x="623" y="355"/>
                  </a:lnTo>
                  <a:lnTo>
                    <a:pt x="623" y="355"/>
                  </a:lnTo>
                  <a:lnTo>
                    <a:pt x="623" y="355"/>
                  </a:lnTo>
                  <a:close/>
                  <a:moveTo>
                    <a:pt x="621" y="355"/>
                  </a:moveTo>
                  <a:lnTo>
                    <a:pt x="621" y="355"/>
                  </a:lnTo>
                  <a:lnTo>
                    <a:pt x="623" y="355"/>
                  </a:lnTo>
                  <a:lnTo>
                    <a:pt x="621" y="355"/>
                  </a:lnTo>
                  <a:close/>
                  <a:moveTo>
                    <a:pt x="653" y="375"/>
                  </a:moveTo>
                  <a:lnTo>
                    <a:pt x="653" y="375"/>
                  </a:lnTo>
                  <a:lnTo>
                    <a:pt x="655" y="375"/>
                  </a:lnTo>
                  <a:lnTo>
                    <a:pt x="655" y="375"/>
                  </a:lnTo>
                  <a:lnTo>
                    <a:pt x="655" y="375"/>
                  </a:lnTo>
                  <a:lnTo>
                    <a:pt x="653" y="375"/>
                  </a:lnTo>
                  <a:close/>
                  <a:moveTo>
                    <a:pt x="635" y="885"/>
                  </a:moveTo>
                  <a:lnTo>
                    <a:pt x="635" y="883"/>
                  </a:lnTo>
                  <a:lnTo>
                    <a:pt x="635" y="883"/>
                  </a:lnTo>
                  <a:lnTo>
                    <a:pt x="635" y="883"/>
                  </a:lnTo>
                  <a:lnTo>
                    <a:pt x="635" y="881"/>
                  </a:lnTo>
                  <a:lnTo>
                    <a:pt x="635" y="881"/>
                  </a:lnTo>
                  <a:lnTo>
                    <a:pt x="635" y="881"/>
                  </a:lnTo>
                  <a:lnTo>
                    <a:pt x="633" y="881"/>
                  </a:lnTo>
                  <a:lnTo>
                    <a:pt x="633" y="883"/>
                  </a:lnTo>
                  <a:lnTo>
                    <a:pt x="633" y="883"/>
                  </a:lnTo>
                  <a:lnTo>
                    <a:pt x="633" y="885"/>
                  </a:lnTo>
                  <a:lnTo>
                    <a:pt x="633" y="883"/>
                  </a:lnTo>
                  <a:lnTo>
                    <a:pt x="633" y="883"/>
                  </a:lnTo>
                  <a:lnTo>
                    <a:pt x="633" y="883"/>
                  </a:lnTo>
                  <a:lnTo>
                    <a:pt x="633" y="883"/>
                  </a:lnTo>
                  <a:lnTo>
                    <a:pt x="633" y="883"/>
                  </a:lnTo>
                  <a:lnTo>
                    <a:pt x="631" y="883"/>
                  </a:lnTo>
                  <a:lnTo>
                    <a:pt x="631" y="883"/>
                  </a:lnTo>
                  <a:lnTo>
                    <a:pt x="631" y="883"/>
                  </a:lnTo>
                  <a:lnTo>
                    <a:pt x="631" y="883"/>
                  </a:lnTo>
                  <a:lnTo>
                    <a:pt x="631" y="883"/>
                  </a:lnTo>
                  <a:lnTo>
                    <a:pt x="629" y="883"/>
                  </a:lnTo>
                  <a:lnTo>
                    <a:pt x="629" y="883"/>
                  </a:lnTo>
                  <a:lnTo>
                    <a:pt x="629" y="885"/>
                  </a:lnTo>
                  <a:lnTo>
                    <a:pt x="629" y="885"/>
                  </a:lnTo>
                  <a:lnTo>
                    <a:pt x="629" y="885"/>
                  </a:lnTo>
                  <a:lnTo>
                    <a:pt x="629" y="885"/>
                  </a:lnTo>
                  <a:lnTo>
                    <a:pt x="629" y="883"/>
                  </a:lnTo>
                  <a:lnTo>
                    <a:pt x="629" y="883"/>
                  </a:lnTo>
                  <a:lnTo>
                    <a:pt x="629" y="883"/>
                  </a:lnTo>
                  <a:lnTo>
                    <a:pt x="627" y="885"/>
                  </a:lnTo>
                  <a:lnTo>
                    <a:pt x="627" y="885"/>
                  </a:lnTo>
                  <a:lnTo>
                    <a:pt x="627" y="885"/>
                  </a:lnTo>
                  <a:lnTo>
                    <a:pt x="627" y="883"/>
                  </a:lnTo>
                  <a:lnTo>
                    <a:pt x="627" y="883"/>
                  </a:lnTo>
                  <a:lnTo>
                    <a:pt x="627" y="883"/>
                  </a:lnTo>
                  <a:lnTo>
                    <a:pt x="629" y="881"/>
                  </a:lnTo>
                  <a:lnTo>
                    <a:pt x="629" y="881"/>
                  </a:lnTo>
                  <a:lnTo>
                    <a:pt x="629" y="881"/>
                  </a:lnTo>
                  <a:lnTo>
                    <a:pt x="629" y="881"/>
                  </a:lnTo>
                  <a:lnTo>
                    <a:pt x="629" y="881"/>
                  </a:lnTo>
                  <a:lnTo>
                    <a:pt x="629" y="881"/>
                  </a:lnTo>
                  <a:lnTo>
                    <a:pt x="629" y="879"/>
                  </a:lnTo>
                  <a:lnTo>
                    <a:pt x="629" y="881"/>
                  </a:lnTo>
                  <a:lnTo>
                    <a:pt x="633" y="879"/>
                  </a:lnTo>
                  <a:lnTo>
                    <a:pt x="633" y="879"/>
                  </a:lnTo>
                  <a:lnTo>
                    <a:pt x="633" y="879"/>
                  </a:lnTo>
                  <a:lnTo>
                    <a:pt x="633" y="879"/>
                  </a:lnTo>
                  <a:lnTo>
                    <a:pt x="633" y="879"/>
                  </a:lnTo>
                  <a:lnTo>
                    <a:pt x="633" y="879"/>
                  </a:lnTo>
                  <a:lnTo>
                    <a:pt x="635" y="877"/>
                  </a:lnTo>
                  <a:lnTo>
                    <a:pt x="635" y="877"/>
                  </a:lnTo>
                  <a:lnTo>
                    <a:pt x="635" y="877"/>
                  </a:lnTo>
                  <a:lnTo>
                    <a:pt x="635" y="877"/>
                  </a:lnTo>
                  <a:lnTo>
                    <a:pt x="635" y="877"/>
                  </a:lnTo>
                  <a:lnTo>
                    <a:pt x="635" y="877"/>
                  </a:lnTo>
                  <a:lnTo>
                    <a:pt x="635" y="877"/>
                  </a:lnTo>
                  <a:lnTo>
                    <a:pt x="635" y="877"/>
                  </a:lnTo>
                  <a:lnTo>
                    <a:pt x="637" y="877"/>
                  </a:lnTo>
                  <a:lnTo>
                    <a:pt x="637" y="877"/>
                  </a:lnTo>
                  <a:lnTo>
                    <a:pt x="637" y="877"/>
                  </a:lnTo>
                  <a:lnTo>
                    <a:pt x="639" y="877"/>
                  </a:lnTo>
                  <a:lnTo>
                    <a:pt x="639" y="877"/>
                  </a:lnTo>
                  <a:lnTo>
                    <a:pt x="639" y="875"/>
                  </a:lnTo>
                  <a:lnTo>
                    <a:pt x="639" y="875"/>
                  </a:lnTo>
                  <a:lnTo>
                    <a:pt x="639" y="875"/>
                  </a:lnTo>
                  <a:lnTo>
                    <a:pt x="639" y="875"/>
                  </a:lnTo>
                  <a:lnTo>
                    <a:pt x="639" y="875"/>
                  </a:lnTo>
                  <a:lnTo>
                    <a:pt x="637" y="875"/>
                  </a:lnTo>
                  <a:lnTo>
                    <a:pt x="639" y="875"/>
                  </a:lnTo>
                  <a:lnTo>
                    <a:pt x="639" y="875"/>
                  </a:lnTo>
                  <a:lnTo>
                    <a:pt x="639" y="873"/>
                  </a:lnTo>
                  <a:lnTo>
                    <a:pt x="639" y="873"/>
                  </a:lnTo>
                  <a:lnTo>
                    <a:pt x="637" y="873"/>
                  </a:lnTo>
                  <a:lnTo>
                    <a:pt x="637" y="873"/>
                  </a:lnTo>
                  <a:lnTo>
                    <a:pt x="637" y="873"/>
                  </a:lnTo>
                  <a:lnTo>
                    <a:pt x="635" y="873"/>
                  </a:lnTo>
                  <a:lnTo>
                    <a:pt x="635" y="873"/>
                  </a:lnTo>
                  <a:lnTo>
                    <a:pt x="635" y="871"/>
                  </a:lnTo>
                  <a:lnTo>
                    <a:pt x="635" y="871"/>
                  </a:lnTo>
                  <a:lnTo>
                    <a:pt x="635" y="871"/>
                  </a:lnTo>
                  <a:lnTo>
                    <a:pt x="635" y="871"/>
                  </a:lnTo>
                  <a:lnTo>
                    <a:pt x="635" y="871"/>
                  </a:lnTo>
                  <a:lnTo>
                    <a:pt x="633" y="873"/>
                  </a:lnTo>
                  <a:lnTo>
                    <a:pt x="633" y="873"/>
                  </a:lnTo>
                  <a:lnTo>
                    <a:pt x="633" y="873"/>
                  </a:lnTo>
                  <a:lnTo>
                    <a:pt x="633" y="873"/>
                  </a:lnTo>
                  <a:lnTo>
                    <a:pt x="633" y="873"/>
                  </a:lnTo>
                  <a:lnTo>
                    <a:pt x="633" y="873"/>
                  </a:lnTo>
                  <a:lnTo>
                    <a:pt x="631" y="875"/>
                  </a:lnTo>
                  <a:lnTo>
                    <a:pt x="631" y="875"/>
                  </a:lnTo>
                  <a:lnTo>
                    <a:pt x="631" y="875"/>
                  </a:lnTo>
                  <a:lnTo>
                    <a:pt x="631" y="875"/>
                  </a:lnTo>
                  <a:lnTo>
                    <a:pt x="627" y="877"/>
                  </a:lnTo>
                  <a:lnTo>
                    <a:pt x="627" y="877"/>
                  </a:lnTo>
                  <a:lnTo>
                    <a:pt x="627" y="877"/>
                  </a:lnTo>
                  <a:lnTo>
                    <a:pt x="629" y="875"/>
                  </a:lnTo>
                  <a:lnTo>
                    <a:pt x="627" y="875"/>
                  </a:lnTo>
                  <a:lnTo>
                    <a:pt x="627" y="875"/>
                  </a:lnTo>
                  <a:lnTo>
                    <a:pt x="627" y="875"/>
                  </a:lnTo>
                  <a:lnTo>
                    <a:pt x="627" y="875"/>
                  </a:lnTo>
                  <a:lnTo>
                    <a:pt x="627" y="875"/>
                  </a:lnTo>
                  <a:lnTo>
                    <a:pt x="627" y="873"/>
                  </a:lnTo>
                  <a:lnTo>
                    <a:pt x="627" y="873"/>
                  </a:lnTo>
                  <a:lnTo>
                    <a:pt x="627" y="873"/>
                  </a:lnTo>
                  <a:lnTo>
                    <a:pt x="627" y="873"/>
                  </a:lnTo>
                  <a:lnTo>
                    <a:pt x="627" y="873"/>
                  </a:lnTo>
                  <a:lnTo>
                    <a:pt x="627" y="873"/>
                  </a:lnTo>
                  <a:lnTo>
                    <a:pt x="627" y="873"/>
                  </a:lnTo>
                  <a:lnTo>
                    <a:pt x="627" y="871"/>
                  </a:lnTo>
                  <a:lnTo>
                    <a:pt x="627" y="871"/>
                  </a:lnTo>
                  <a:lnTo>
                    <a:pt x="627" y="871"/>
                  </a:lnTo>
                  <a:lnTo>
                    <a:pt x="629" y="871"/>
                  </a:lnTo>
                  <a:lnTo>
                    <a:pt x="629" y="869"/>
                  </a:lnTo>
                  <a:lnTo>
                    <a:pt x="627" y="869"/>
                  </a:lnTo>
                  <a:lnTo>
                    <a:pt x="627" y="869"/>
                  </a:lnTo>
                  <a:lnTo>
                    <a:pt x="625" y="869"/>
                  </a:lnTo>
                  <a:lnTo>
                    <a:pt x="625" y="869"/>
                  </a:lnTo>
                  <a:lnTo>
                    <a:pt x="625" y="869"/>
                  </a:lnTo>
                  <a:lnTo>
                    <a:pt x="625" y="869"/>
                  </a:lnTo>
                  <a:lnTo>
                    <a:pt x="625" y="869"/>
                  </a:lnTo>
                  <a:lnTo>
                    <a:pt x="625" y="869"/>
                  </a:lnTo>
                  <a:lnTo>
                    <a:pt x="625" y="869"/>
                  </a:lnTo>
                  <a:lnTo>
                    <a:pt x="625" y="869"/>
                  </a:lnTo>
                  <a:lnTo>
                    <a:pt x="625" y="867"/>
                  </a:lnTo>
                  <a:lnTo>
                    <a:pt x="623" y="869"/>
                  </a:lnTo>
                  <a:lnTo>
                    <a:pt x="621" y="869"/>
                  </a:lnTo>
                  <a:lnTo>
                    <a:pt x="621" y="869"/>
                  </a:lnTo>
                  <a:lnTo>
                    <a:pt x="621" y="869"/>
                  </a:lnTo>
                  <a:lnTo>
                    <a:pt x="619" y="869"/>
                  </a:lnTo>
                  <a:lnTo>
                    <a:pt x="619" y="869"/>
                  </a:lnTo>
                  <a:lnTo>
                    <a:pt x="619" y="869"/>
                  </a:lnTo>
                  <a:lnTo>
                    <a:pt x="617" y="869"/>
                  </a:lnTo>
                  <a:lnTo>
                    <a:pt x="617" y="869"/>
                  </a:lnTo>
                  <a:lnTo>
                    <a:pt x="614" y="869"/>
                  </a:lnTo>
                  <a:lnTo>
                    <a:pt x="614" y="869"/>
                  </a:lnTo>
                  <a:lnTo>
                    <a:pt x="614" y="869"/>
                  </a:lnTo>
                  <a:lnTo>
                    <a:pt x="612" y="871"/>
                  </a:lnTo>
                  <a:lnTo>
                    <a:pt x="612" y="871"/>
                  </a:lnTo>
                  <a:lnTo>
                    <a:pt x="612" y="873"/>
                  </a:lnTo>
                  <a:lnTo>
                    <a:pt x="610" y="873"/>
                  </a:lnTo>
                  <a:lnTo>
                    <a:pt x="610" y="873"/>
                  </a:lnTo>
                  <a:lnTo>
                    <a:pt x="610" y="873"/>
                  </a:lnTo>
                  <a:lnTo>
                    <a:pt x="610" y="873"/>
                  </a:lnTo>
                  <a:lnTo>
                    <a:pt x="610" y="873"/>
                  </a:lnTo>
                  <a:lnTo>
                    <a:pt x="610" y="873"/>
                  </a:lnTo>
                  <a:lnTo>
                    <a:pt x="610" y="875"/>
                  </a:lnTo>
                  <a:lnTo>
                    <a:pt x="610" y="875"/>
                  </a:lnTo>
                  <a:lnTo>
                    <a:pt x="610" y="875"/>
                  </a:lnTo>
                  <a:lnTo>
                    <a:pt x="610" y="875"/>
                  </a:lnTo>
                  <a:lnTo>
                    <a:pt x="610" y="875"/>
                  </a:lnTo>
                  <a:lnTo>
                    <a:pt x="612" y="875"/>
                  </a:lnTo>
                  <a:lnTo>
                    <a:pt x="612" y="875"/>
                  </a:lnTo>
                  <a:lnTo>
                    <a:pt x="612" y="875"/>
                  </a:lnTo>
                  <a:lnTo>
                    <a:pt x="612" y="875"/>
                  </a:lnTo>
                  <a:lnTo>
                    <a:pt x="612" y="875"/>
                  </a:lnTo>
                  <a:lnTo>
                    <a:pt x="610" y="877"/>
                  </a:lnTo>
                  <a:lnTo>
                    <a:pt x="612" y="879"/>
                  </a:lnTo>
                  <a:lnTo>
                    <a:pt x="614" y="879"/>
                  </a:lnTo>
                  <a:lnTo>
                    <a:pt x="614" y="879"/>
                  </a:lnTo>
                  <a:lnTo>
                    <a:pt x="614" y="879"/>
                  </a:lnTo>
                  <a:lnTo>
                    <a:pt x="617" y="879"/>
                  </a:lnTo>
                  <a:lnTo>
                    <a:pt x="617" y="879"/>
                  </a:lnTo>
                  <a:lnTo>
                    <a:pt x="617" y="879"/>
                  </a:lnTo>
                  <a:lnTo>
                    <a:pt x="619" y="881"/>
                  </a:lnTo>
                  <a:lnTo>
                    <a:pt x="623" y="883"/>
                  </a:lnTo>
                  <a:lnTo>
                    <a:pt x="623" y="883"/>
                  </a:lnTo>
                  <a:lnTo>
                    <a:pt x="623" y="883"/>
                  </a:lnTo>
                  <a:lnTo>
                    <a:pt x="621" y="883"/>
                  </a:lnTo>
                  <a:lnTo>
                    <a:pt x="621" y="883"/>
                  </a:lnTo>
                  <a:lnTo>
                    <a:pt x="621" y="883"/>
                  </a:lnTo>
                  <a:lnTo>
                    <a:pt x="621" y="883"/>
                  </a:lnTo>
                  <a:lnTo>
                    <a:pt x="621" y="883"/>
                  </a:lnTo>
                  <a:lnTo>
                    <a:pt x="621" y="883"/>
                  </a:lnTo>
                  <a:lnTo>
                    <a:pt x="621" y="883"/>
                  </a:lnTo>
                  <a:lnTo>
                    <a:pt x="621" y="883"/>
                  </a:lnTo>
                  <a:lnTo>
                    <a:pt x="619" y="883"/>
                  </a:lnTo>
                  <a:lnTo>
                    <a:pt x="619" y="883"/>
                  </a:lnTo>
                  <a:lnTo>
                    <a:pt x="619" y="887"/>
                  </a:lnTo>
                  <a:lnTo>
                    <a:pt x="619" y="885"/>
                  </a:lnTo>
                  <a:lnTo>
                    <a:pt x="619" y="885"/>
                  </a:lnTo>
                  <a:lnTo>
                    <a:pt x="617" y="885"/>
                  </a:lnTo>
                  <a:lnTo>
                    <a:pt x="617" y="885"/>
                  </a:lnTo>
                  <a:lnTo>
                    <a:pt x="617" y="887"/>
                  </a:lnTo>
                  <a:lnTo>
                    <a:pt x="617" y="885"/>
                  </a:lnTo>
                  <a:lnTo>
                    <a:pt x="617" y="885"/>
                  </a:lnTo>
                  <a:lnTo>
                    <a:pt x="617" y="883"/>
                  </a:lnTo>
                  <a:lnTo>
                    <a:pt x="617" y="883"/>
                  </a:lnTo>
                  <a:lnTo>
                    <a:pt x="617" y="881"/>
                  </a:lnTo>
                  <a:lnTo>
                    <a:pt x="614" y="881"/>
                  </a:lnTo>
                  <a:lnTo>
                    <a:pt x="612" y="881"/>
                  </a:lnTo>
                  <a:lnTo>
                    <a:pt x="612" y="881"/>
                  </a:lnTo>
                  <a:lnTo>
                    <a:pt x="610" y="883"/>
                  </a:lnTo>
                  <a:lnTo>
                    <a:pt x="610" y="883"/>
                  </a:lnTo>
                  <a:lnTo>
                    <a:pt x="612" y="883"/>
                  </a:lnTo>
                  <a:lnTo>
                    <a:pt x="612" y="885"/>
                  </a:lnTo>
                  <a:lnTo>
                    <a:pt x="612" y="885"/>
                  </a:lnTo>
                  <a:lnTo>
                    <a:pt x="612" y="885"/>
                  </a:lnTo>
                  <a:lnTo>
                    <a:pt x="610" y="885"/>
                  </a:lnTo>
                  <a:lnTo>
                    <a:pt x="610" y="885"/>
                  </a:lnTo>
                  <a:lnTo>
                    <a:pt x="610" y="887"/>
                  </a:lnTo>
                  <a:lnTo>
                    <a:pt x="610" y="887"/>
                  </a:lnTo>
                  <a:lnTo>
                    <a:pt x="610" y="887"/>
                  </a:lnTo>
                  <a:lnTo>
                    <a:pt x="610" y="887"/>
                  </a:lnTo>
                  <a:lnTo>
                    <a:pt x="610" y="887"/>
                  </a:lnTo>
                  <a:lnTo>
                    <a:pt x="610" y="887"/>
                  </a:lnTo>
                  <a:lnTo>
                    <a:pt x="610" y="885"/>
                  </a:lnTo>
                  <a:lnTo>
                    <a:pt x="610" y="885"/>
                  </a:lnTo>
                  <a:lnTo>
                    <a:pt x="610" y="885"/>
                  </a:lnTo>
                  <a:lnTo>
                    <a:pt x="608" y="885"/>
                  </a:lnTo>
                  <a:lnTo>
                    <a:pt x="608" y="885"/>
                  </a:lnTo>
                  <a:lnTo>
                    <a:pt x="608" y="885"/>
                  </a:lnTo>
                  <a:lnTo>
                    <a:pt x="608" y="887"/>
                  </a:lnTo>
                  <a:lnTo>
                    <a:pt x="608" y="887"/>
                  </a:lnTo>
                  <a:lnTo>
                    <a:pt x="608" y="887"/>
                  </a:lnTo>
                  <a:lnTo>
                    <a:pt x="608" y="887"/>
                  </a:lnTo>
                  <a:lnTo>
                    <a:pt x="608" y="887"/>
                  </a:lnTo>
                  <a:lnTo>
                    <a:pt x="608" y="889"/>
                  </a:lnTo>
                  <a:lnTo>
                    <a:pt x="608" y="889"/>
                  </a:lnTo>
                  <a:lnTo>
                    <a:pt x="608" y="889"/>
                  </a:lnTo>
                  <a:lnTo>
                    <a:pt x="610" y="889"/>
                  </a:lnTo>
                  <a:lnTo>
                    <a:pt x="612" y="889"/>
                  </a:lnTo>
                  <a:lnTo>
                    <a:pt x="612" y="889"/>
                  </a:lnTo>
                  <a:lnTo>
                    <a:pt x="612" y="891"/>
                  </a:lnTo>
                  <a:lnTo>
                    <a:pt x="612" y="891"/>
                  </a:lnTo>
                  <a:lnTo>
                    <a:pt x="610" y="891"/>
                  </a:lnTo>
                  <a:lnTo>
                    <a:pt x="608" y="891"/>
                  </a:lnTo>
                  <a:lnTo>
                    <a:pt x="606" y="889"/>
                  </a:lnTo>
                  <a:lnTo>
                    <a:pt x="606" y="889"/>
                  </a:lnTo>
                  <a:lnTo>
                    <a:pt x="606" y="889"/>
                  </a:lnTo>
                  <a:lnTo>
                    <a:pt x="606" y="891"/>
                  </a:lnTo>
                  <a:lnTo>
                    <a:pt x="606" y="891"/>
                  </a:lnTo>
                  <a:lnTo>
                    <a:pt x="606" y="891"/>
                  </a:lnTo>
                  <a:lnTo>
                    <a:pt x="606" y="891"/>
                  </a:lnTo>
                  <a:lnTo>
                    <a:pt x="606" y="891"/>
                  </a:lnTo>
                  <a:lnTo>
                    <a:pt x="606" y="891"/>
                  </a:lnTo>
                  <a:lnTo>
                    <a:pt x="606" y="891"/>
                  </a:lnTo>
                  <a:lnTo>
                    <a:pt x="606" y="891"/>
                  </a:lnTo>
                  <a:lnTo>
                    <a:pt x="606" y="891"/>
                  </a:lnTo>
                  <a:lnTo>
                    <a:pt x="606" y="894"/>
                  </a:lnTo>
                  <a:lnTo>
                    <a:pt x="604" y="894"/>
                  </a:lnTo>
                  <a:lnTo>
                    <a:pt x="604" y="894"/>
                  </a:lnTo>
                  <a:lnTo>
                    <a:pt x="602" y="891"/>
                  </a:lnTo>
                  <a:lnTo>
                    <a:pt x="602" y="891"/>
                  </a:lnTo>
                  <a:lnTo>
                    <a:pt x="602" y="894"/>
                  </a:lnTo>
                  <a:lnTo>
                    <a:pt x="602" y="894"/>
                  </a:lnTo>
                  <a:lnTo>
                    <a:pt x="602" y="894"/>
                  </a:lnTo>
                  <a:lnTo>
                    <a:pt x="600" y="894"/>
                  </a:lnTo>
                  <a:lnTo>
                    <a:pt x="600" y="894"/>
                  </a:lnTo>
                  <a:lnTo>
                    <a:pt x="600" y="894"/>
                  </a:lnTo>
                  <a:lnTo>
                    <a:pt x="600" y="894"/>
                  </a:lnTo>
                  <a:lnTo>
                    <a:pt x="598" y="894"/>
                  </a:lnTo>
                  <a:lnTo>
                    <a:pt x="598" y="894"/>
                  </a:lnTo>
                  <a:lnTo>
                    <a:pt x="598" y="894"/>
                  </a:lnTo>
                  <a:lnTo>
                    <a:pt x="598" y="894"/>
                  </a:lnTo>
                  <a:lnTo>
                    <a:pt x="598" y="894"/>
                  </a:lnTo>
                  <a:lnTo>
                    <a:pt x="598" y="894"/>
                  </a:lnTo>
                  <a:lnTo>
                    <a:pt x="596" y="894"/>
                  </a:lnTo>
                  <a:lnTo>
                    <a:pt x="596" y="894"/>
                  </a:lnTo>
                  <a:lnTo>
                    <a:pt x="596" y="894"/>
                  </a:lnTo>
                  <a:lnTo>
                    <a:pt x="596" y="894"/>
                  </a:lnTo>
                  <a:lnTo>
                    <a:pt x="596" y="894"/>
                  </a:lnTo>
                  <a:lnTo>
                    <a:pt x="594" y="894"/>
                  </a:lnTo>
                  <a:lnTo>
                    <a:pt x="594" y="894"/>
                  </a:lnTo>
                  <a:lnTo>
                    <a:pt x="596" y="896"/>
                  </a:lnTo>
                  <a:lnTo>
                    <a:pt x="596" y="896"/>
                  </a:lnTo>
                  <a:lnTo>
                    <a:pt x="594" y="896"/>
                  </a:lnTo>
                  <a:lnTo>
                    <a:pt x="594" y="894"/>
                  </a:lnTo>
                  <a:lnTo>
                    <a:pt x="592" y="894"/>
                  </a:lnTo>
                  <a:lnTo>
                    <a:pt x="592" y="896"/>
                  </a:lnTo>
                  <a:lnTo>
                    <a:pt x="592" y="896"/>
                  </a:lnTo>
                  <a:lnTo>
                    <a:pt x="590" y="894"/>
                  </a:lnTo>
                  <a:lnTo>
                    <a:pt x="590" y="896"/>
                  </a:lnTo>
                  <a:lnTo>
                    <a:pt x="590" y="894"/>
                  </a:lnTo>
                  <a:lnTo>
                    <a:pt x="590" y="894"/>
                  </a:lnTo>
                  <a:lnTo>
                    <a:pt x="588" y="894"/>
                  </a:lnTo>
                  <a:lnTo>
                    <a:pt x="588" y="894"/>
                  </a:lnTo>
                  <a:lnTo>
                    <a:pt x="584" y="898"/>
                  </a:lnTo>
                  <a:lnTo>
                    <a:pt x="584" y="898"/>
                  </a:lnTo>
                  <a:lnTo>
                    <a:pt x="584" y="898"/>
                  </a:lnTo>
                  <a:lnTo>
                    <a:pt x="584" y="898"/>
                  </a:lnTo>
                  <a:lnTo>
                    <a:pt x="584" y="898"/>
                  </a:lnTo>
                  <a:lnTo>
                    <a:pt x="584" y="898"/>
                  </a:lnTo>
                  <a:lnTo>
                    <a:pt x="584" y="898"/>
                  </a:lnTo>
                  <a:lnTo>
                    <a:pt x="586" y="898"/>
                  </a:lnTo>
                  <a:lnTo>
                    <a:pt x="586" y="898"/>
                  </a:lnTo>
                  <a:lnTo>
                    <a:pt x="586" y="900"/>
                  </a:lnTo>
                  <a:lnTo>
                    <a:pt x="588" y="900"/>
                  </a:lnTo>
                  <a:lnTo>
                    <a:pt x="588" y="900"/>
                  </a:lnTo>
                  <a:lnTo>
                    <a:pt x="588" y="902"/>
                  </a:lnTo>
                  <a:lnTo>
                    <a:pt x="590" y="900"/>
                  </a:lnTo>
                  <a:lnTo>
                    <a:pt x="590" y="900"/>
                  </a:lnTo>
                  <a:lnTo>
                    <a:pt x="590" y="900"/>
                  </a:lnTo>
                  <a:lnTo>
                    <a:pt x="590" y="900"/>
                  </a:lnTo>
                  <a:lnTo>
                    <a:pt x="590" y="900"/>
                  </a:lnTo>
                  <a:lnTo>
                    <a:pt x="592" y="900"/>
                  </a:lnTo>
                  <a:lnTo>
                    <a:pt x="592" y="900"/>
                  </a:lnTo>
                  <a:lnTo>
                    <a:pt x="592" y="900"/>
                  </a:lnTo>
                  <a:lnTo>
                    <a:pt x="594" y="900"/>
                  </a:lnTo>
                  <a:lnTo>
                    <a:pt x="594" y="902"/>
                  </a:lnTo>
                  <a:lnTo>
                    <a:pt x="594" y="902"/>
                  </a:lnTo>
                  <a:lnTo>
                    <a:pt x="594" y="902"/>
                  </a:lnTo>
                  <a:lnTo>
                    <a:pt x="594" y="900"/>
                  </a:lnTo>
                  <a:lnTo>
                    <a:pt x="594" y="900"/>
                  </a:lnTo>
                  <a:lnTo>
                    <a:pt x="596" y="900"/>
                  </a:lnTo>
                  <a:lnTo>
                    <a:pt x="596" y="900"/>
                  </a:lnTo>
                  <a:lnTo>
                    <a:pt x="596" y="900"/>
                  </a:lnTo>
                  <a:lnTo>
                    <a:pt x="596" y="898"/>
                  </a:lnTo>
                  <a:lnTo>
                    <a:pt x="596" y="898"/>
                  </a:lnTo>
                  <a:lnTo>
                    <a:pt x="598" y="898"/>
                  </a:lnTo>
                  <a:lnTo>
                    <a:pt x="598" y="898"/>
                  </a:lnTo>
                  <a:lnTo>
                    <a:pt x="600" y="900"/>
                  </a:lnTo>
                  <a:lnTo>
                    <a:pt x="600" y="898"/>
                  </a:lnTo>
                  <a:lnTo>
                    <a:pt x="600" y="898"/>
                  </a:lnTo>
                  <a:lnTo>
                    <a:pt x="602" y="898"/>
                  </a:lnTo>
                  <a:lnTo>
                    <a:pt x="602" y="898"/>
                  </a:lnTo>
                  <a:lnTo>
                    <a:pt x="602" y="898"/>
                  </a:lnTo>
                  <a:lnTo>
                    <a:pt x="604" y="898"/>
                  </a:lnTo>
                  <a:lnTo>
                    <a:pt x="606" y="896"/>
                  </a:lnTo>
                  <a:lnTo>
                    <a:pt x="606" y="896"/>
                  </a:lnTo>
                  <a:lnTo>
                    <a:pt x="608" y="896"/>
                  </a:lnTo>
                  <a:lnTo>
                    <a:pt x="608" y="896"/>
                  </a:lnTo>
                  <a:lnTo>
                    <a:pt x="610" y="896"/>
                  </a:lnTo>
                  <a:lnTo>
                    <a:pt x="612" y="896"/>
                  </a:lnTo>
                  <a:lnTo>
                    <a:pt x="610" y="896"/>
                  </a:lnTo>
                  <a:lnTo>
                    <a:pt x="610" y="896"/>
                  </a:lnTo>
                  <a:lnTo>
                    <a:pt x="612" y="896"/>
                  </a:lnTo>
                  <a:lnTo>
                    <a:pt x="612" y="896"/>
                  </a:lnTo>
                  <a:lnTo>
                    <a:pt x="612" y="896"/>
                  </a:lnTo>
                  <a:lnTo>
                    <a:pt x="612" y="894"/>
                  </a:lnTo>
                  <a:lnTo>
                    <a:pt x="612" y="894"/>
                  </a:lnTo>
                  <a:lnTo>
                    <a:pt x="612" y="896"/>
                  </a:lnTo>
                  <a:lnTo>
                    <a:pt x="612" y="896"/>
                  </a:lnTo>
                  <a:lnTo>
                    <a:pt x="612" y="896"/>
                  </a:lnTo>
                  <a:lnTo>
                    <a:pt x="614" y="896"/>
                  </a:lnTo>
                  <a:lnTo>
                    <a:pt x="614" y="894"/>
                  </a:lnTo>
                  <a:lnTo>
                    <a:pt x="614" y="894"/>
                  </a:lnTo>
                  <a:lnTo>
                    <a:pt x="614" y="894"/>
                  </a:lnTo>
                  <a:lnTo>
                    <a:pt x="617" y="896"/>
                  </a:lnTo>
                  <a:lnTo>
                    <a:pt x="617" y="896"/>
                  </a:lnTo>
                  <a:lnTo>
                    <a:pt x="617" y="896"/>
                  </a:lnTo>
                  <a:lnTo>
                    <a:pt x="617" y="896"/>
                  </a:lnTo>
                  <a:lnTo>
                    <a:pt x="617" y="896"/>
                  </a:lnTo>
                  <a:lnTo>
                    <a:pt x="617" y="896"/>
                  </a:lnTo>
                  <a:lnTo>
                    <a:pt x="617" y="896"/>
                  </a:lnTo>
                  <a:lnTo>
                    <a:pt x="617" y="896"/>
                  </a:lnTo>
                  <a:lnTo>
                    <a:pt x="619" y="896"/>
                  </a:lnTo>
                  <a:lnTo>
                    <a:pt x="619" y="896"/>
                  </a:lnTo>
                  <a:lnTo>
                    <a:pt x="619" y="896"/>
                  </a:lnTo>
                  <a:lnTo>
                    <a:pt x="619" y="896"/>
                  </a:lnTo>
                  <a:lnTo>
                    <a:pt x="619" y="894"/>
                  </a:lnTo>
                  <a:lnTo>
                    <a:pt x="619" y="891"/>
                  </a:lnTo>
                  <a:lnTo>
                    <a:pt x="619" y="891"/>
                  </a:lnTo>
                  <a:lnTo>
                    <a:pt x="619" y="889"/>
                  </a:lnTo>
                  <a:lnTo>
                    <a:pt x="619" y="891"/>
                  </a:lnTo>
                  <a:lnTo>
                    <a:pt x="619" y="891"/>
                  </a:lnTo>
                  <a:lnTo>
                    <a:pt x="619" y="894"/>
                  </a:lnTo>
                  <a:lnTo>
                    <a:pt x="621" y="894"/>
                  </a:lnTo>
                  <a:lnTo>
                    <a:pt x="621" y="894"/>
                  </a:lnTo>
                  <a:lnTo>
                    <a:pt x="621" y="894"/>
                  </a:lnTo>
                  <a:lnTo>
                    <a:pt x="621" y="894"/>
                  </a:lnTo>
                  <a:lnTo>
                    <a:pt x="621" y="896"/>
                  </a:lnTo>
                  <a:lnTo>
                    <a:pt x="623" y="896"/>
                  </a:lnTo>
                  <a:lnTo>
                    <a:pt x="623" y="894"/>
                  </a:lnTo>
                  <a:lnTo>
                    <a:pt x="623" y="894"/>
                  </a:lnTo>
                  <a:lnTo>
                    <a:pt x="621" y="894"/>
                  </a:lnTo>
                  <a:lnTo>
                    <a:pt x="621" y="894"/>
                  </a:lnTo>
                  <a:lnTo>
                    <a:pt x="621" y="891"/>
                  </a:lnTo>
                  <a:lnTo>
                    <a:pt x="621" y="891"/>
                  </a:lnTo>
                  <a:lnTo>
                    <a:pt x="623" y="894"/>
                  </a:lnTo>
                  <a:lnTo>
                    <a:pt x="623" y="894"/>
                  </a:lnTo>
                  <a:lnTo>
                    <a:pt x="623" y="891"/>
                  </a:lnTo>
                  <a:lnTo>
                    <a:pt x="623" y="889"/>
                  </a:lnTo>
                  <a:lnTo>
                    <a:pt x="623" y="889"/>
                  </a:lnTo>
                  <a:lnTo>
                    <a:pt x="625" y="891"/>
                  </a:lnTo>
                  <a:lnTo>
                    <a:pt x="625" y="894"/>
                  </a:lnTo>
                  <a:lnTo>
                    <a:pt x="625" y="891"/>
                  </a:lnTo>
                  <a:lnTo>
                    <a:pt x="625" y="889"/>
                  </a:lnTo>
                  <a:lnTo>
                    <a:pt x="627" y="889"/>
                  </a:lnTo>
                  <a:lnTo>
                    <a:pt x="627" y="891"/>
                  </a:lnTo>
                  <a:lnTo>
                    <a:pt x="627" y="889"/>
                  </a:lnTo>
                  <a:lnTo>
                    <a:pt x="627" y="889"/>
                  </a:lnTo>
                  <a:lnTo>
                    <a:pt x="627" y="889"/>
                  </a:lnTo>
                  <a:lnTo>
                    <a:pt x="627" y="889"/>
                  </a:lnTo>
                  <a:lnTo>
                    <a:pt x="627" y="889"/>
                  </a:lnTo>
                  <a:lnTo>
                    <a:pt x="629" y="887"/>
                  </a:lnTo>
                  <a:lnTo>
                    <a:pt x="629" y="887"/>
                  </a:lnTo>
                  <a:lnTo>
                    <a:pt x="629" y="887"/>
                  </a:lnTo>
                  <a:lnTo>
                    <a:pt x="631" y="887"/>
                  </a:lnTo>
                  <a:lnTo>
                    <a:pt x="631" y="887"/>
                  </a:lnTo>
                  <a:lnTo>
                    <a:pt x="631" y="887"/>
                  </a:lnTo>
                  <a:lnTo>
                    <a:pt x="631" y="887"/>
                  </a:lnTo>
                  <a:lnTo>
                    <a:pt x="631" y="887"/>
                  </a:lnTo>
                  <a:lnTo>
                    <a:pt x="633" y="887"/>
                  </a:lnTo>
                  <a:lnTo>
                    <a:pt x="635" y="887"/>
                  </a:lnTo>
                  <a:lnTo>
                    <a:pt x="635" y="887"/>
                  </a:lnTo>
                  <a:lnTo>
                    <a:pt x="635" y="885"/>
                  </a:lnTo>
                  <a:lnTo>
                    <a:pt x="635" y="885"/>
                  </a:lnTo>
                  <a:lnTo>
                    <a:pt x="635" y="885"/>
                  </a:lnTo>
                  <a:lnTo>
                    <a:pt x="635" y="885"/>
                  </a:lnTo>
                  <a:lnTo>
                    <a:pt x="635" y="885"/>
                  </a:lnTo>
                  <a:close/>
                  <a:moveTo>
                    <a:pt x="643" y="389"/>
                  </a:moveTo>
                  <a:lnTo>
                    <a:pt x="643" y="389"/>
                  </a:lnTo>
                  <a:lnTo>
                    <a:pt x="645" y="391"/>
                  </a:lnTo>
                  <a:lnTo>
                    <a:pt x="643" y="389"/>
                  </a:lnTo>
                  <a:lnTo>
                    <a:pt x="643" y="389"/>
                  </a:lnTo>
                  <a:close/>
                  <a:moveTo>
                    <a:pt x="641" y="879"/>
                  </a:moveTo>
                  <a:lnTo>
                    <a:pt x="641" y="879"/>
                  </a:lnTo>
                  <a:lnTo>
                    <a:pt x="641" y="879"/>
                  </a:lnTo>
                  <a:lnTo>
                    <a:pt x="641" y="879"/>
                  </a:lnTo>
                  <a:lnTo>
                    <a:pt x="641" y="879"/>
                  </a:lnTo>
                  <a:lnTo>
                    <a:pt x="639" y="879"/>
                  </a:lnTo>
                  <a:lnTo>
                    <a:pt x="639" y="879"/>
                  </a:lnTo>
                  <a:lnTo>
                    <a:pt x="639" y="879"/>
                  </a:lnTo>
                  <a:lnTo>
                    <a:pt x="639" y="881"/>
                  </a:lnTo>
                  <a:lnTo>
                    <a:pt x="637" y="883"/>
                  </a:lnTo>
                  <a:lnTo>
                    <a:pt x="637" y="883"/>
                  </a:lnTo>
                  <a:lnTo>
                    <a:pt x="637" y="881"/>
                  </a:lnTo>
                  <a:lnTo>
                    <a:pt x="637" y="881"/>
                  </a:lnTo>
                  <a:lnTo>
                    <a:pt x="637" y="881"/>
                  </a:lnTo>
                  <a:lnTo>
                    <a:pt x="637" y="881"/>
                  </a:lnTo>
                  <a:lnTo>
                    <a:pt x="637" y="881"/>
                  </a:lnTo>
                  <a:lnTo>
                    <a:pt x="637" y="881"/>
                  </a:lnTo>
                  <a:lnTo>
                    <a:pt x="637" y="881"/>
                  </a:lnTo>
                  <a:lnTo>
                    <a:pt x="635" y="881"/>
                  </a:lnTo>
                  <a:lnTo>
                    <a:pt x="635" y="881"/>
                  </a:lnTo>
                  <a:lnTo>
                    <a:pt x="635" y="883"/>
                  </a:lnTo>
                  <a:lnTo>
                    <a:pt x="635" y="883"/>
                  </a:lnTo>
                  <a:lnTo>
                    <a:pt x="635" y="883"/>
                  </a:lnTo>
                  <a:lnTo>
                    <a:pt x="637" y="885"/>
                  </a:lnTo>
                  <a:lnTo>
                    <a:pt x="637" y="885"/>
                  </a:lnTo>
                  <a:lnTo>
                    <a:pt x="637" y="885"/>
                  </a:lnTo>
                  <a:lnTo>
                    <a:pt x="637" y="885"/>
                  </a:lnTo>
                  <a:lnTo>
                    <a:pt x="639" y="885"/>
                  </a:lnTo>
                  <a:lnTo>
                    <a:pt x="639" y="885"/>
                  </a:lnTo>
                  <a:lnTo>
                    <a:pt x="639" y="885"/>
                  </a:lnTo>
                  <a:lnTo>
                    <a:pt x="639" y="883"/>
                  </a:lnTo>
                  <a:lnTo>
                    <a:pt x="639" y="883"/>
                  </a:lnTo>
                  <a:lnTo>
                    <a:pt x="639" y="883"/>
                  </a:lnTo>
                  <a:lnTo>
                    <a:pt x="641" y="883"/>
                  </a:lnTo>
                  <a:lnTo>
                    <a:pt x="641" y="883"/>
                  </a:lnTo>
                  <a:lnTo>
                    <a:pt x="641" y="883"/>
                  </a:lnTo>
                  <a:lnTo>
                    <a:pt x="641" y="883"/>
                  </a:lnTo>
                  <a:lnTo>
                    <a:pt x="641" y="881"/>
                  </a:lnTo>
                  <a:lnTo>
                    <a:pt x="641" y="881"/>
                  </a:lnTo>
                  <a:lnTo>
                    <a:pt x="641" y="881"/>
                  </a:lnTo>
                  <a:lnTo>
                    <a:pt x="641" y="881"/>
                  </a:lnTo>
                  <a:lnTo>
                    <a:pt x="641" y="881"/>
                  </a:lnTo>
                  <a:lnTo>
                    <a:pt x="641" y="881"/>
                  </a:lnTo>
                  <a:lnTo>
                    <a:pt x="641" y="881"/>
                  </a:lnTo>
                  <a:lnTo>
                    <a:pt x="643" y="879"/>
                  </a:lnTo>
                  <a:lnTo>
                    <a:pt x="641" y="879"/>
                  </a:lnTo>
                  <a:lnTo>
                    <a:pt x="641" y="879"/>
                  </a:lnTo>
                  <a:close/>
                  <a:moveTo>
                    <a:pt x="786" y="836"/>
                  </a:moveTo>
                  <a:lnTo>
                    <a:pt x="786" y="834"/>
                  </a:lnTo>
                  <a:lnTo>
                    <a:pt x="786" y="834"/>
                  </a:lnTo>
                  <a:lnTo>
                    <a:pt x="786" y="836"/>
                  </a:lnTo>
                  <a:lnTo>
                    <a:pt x="786" y="836"/>
                  </a:lnTo>
                  <a:lnTo>
                    <a:pt x="786" y="836"/>
                  </a:lnTo>
                  <a:lnTo>
                    <a:pt x="786" y="836"/>
                  </a:lnTo>
                  <a:lnTo>
                    <a:pt x="786" y="836"/>
                  </a:lnTo>
                  <a:lnTo>
                    <a:pt x="786" y="836"/>
                  </a:lnTo>
                  <a:lnTo>
                    <a:pt x="786" y="838"/>
                  </a:lnTo>
                  <a:lnTo>
                    <a:pt x="786" y="838"/>
                  </a:lnTo>
                  <a:lnTo>
                    <a:pt x="789" y="838"/>
                  </a:lnTo>
                  <a:lnTo>
                    <a:pt x="789" y="838"/>
                  </a:lnTo>
                  <a:lnTo>
                    <a:pt x="789" y="836"/>
                  </a:lnTo>
                  <a:lnTo>
                    <a:pt x="789" y="836"/>
                  </a:lnTo>
                  <a:lnTo>
                    <a:pt x="786" y="836"/>
                  </a:lnTo>
                  <a:close/>
                  <a:moveTo>
                    <a:pt x="834" y="830"/>
                  </a:moveTo>
                  <a:lnTo>
                    <a:pt x="834" y="830"/>
                  </a:lnTo>
                  <a:lnTo>
                    <a:pt x="834" y="830"/>
                  </a:lnTo>
                  <a:lnTo>
                    <a:pt x="834" y="828"/>
                  </a:lnTo>
                  <a:lnTo>
                    <a:pt x="834" y="828"/>
                  </a:lnTo>
                  <a:lnTo>
                    <a:pt x="834" y="828"/>
                  </a:lnTo>
                  <a:lnTo>
                    <a:pt x="834" y="828"/>
                  </a:lnTo>
                  <a:lnTo>
                    <a:pt x="834" y="828"/>
                  </a:lnTo>
                  <a:lnTo>
                    <a:pt x="834" y="828"/>
                  </a:lnTo>
                  <a:lnTo>
                    <a:pt x="832" y="828"/>
                  </a:lnTo>
                  <a:lnTo>
                    <a:pt x="832" y="828"/>
                  </a:lnTo>
                  <a:lnTo>
                    <a:pt x="832" y="828"/>
                  </a:lnTo>
                  <a:lnTo>
                    <a:pt x="832" y="828"/>
                  </a:lnTo>
                  <a:lnTo>
                    <a:pt x="832" y="830"/>
                  </a:lnTo>
                  <a:lnTo>
                    <a:pt x="834" y="830"/>
                  </a:lnTo>
                  <a:close/>
                  <a:moveTo>
                    <a:pt x="827" y="824"/>
                  </a:moveTo>
                  <a:lnTo>
                    <a:pt x="827" y="824"/>
                  </a:lnTo>
                  <a:lnTo>
                    <a:pt x="827" y="824"/>
                  </a:lnTo>
                  <a:lnTo>
                    <a:pt x="827" y="824"/>
                  </a:lnTo>
                  <a:lnTo>
                    <a:pt x="827" y="824"/>
                  </a:lnTo>
                  <a:lnTo>
                    <a:pt x="830" y="824"/>
                  </a:lnTo>
                  <a:lnTo>
                    <a:pt x="830" y="824"/>
                  </a:lnTo>
                  <a:lnTo>
                    <a:pt x="830" y="824"/>
                  </a:lnTo>
                  <a:lnTo>
                    <a:pt x="830" y="826"/>
                  </a:lnTo>
                  <a:lnTo>
                    <a:pt x="830" y="826"/>
                  </a:lnTo>
                  <a:lnTo>
                    <a:pt x="832" y="826"/>
                  </a:lnTo>
                  <a:lnTo>
                    <a:pt x="832" y="824"/>
                  </a:lnTo>
                  <a:lnTo>
                    <a:pt x="832" y="824"/>
                  </a:lnTo>
                  <a:lnTo>
                    <a:pt x="832" y="824"/>
                  </a:lnTo>
                  <a:lnTo>
                    <a:pt x="832" y="822"/>
                  </a:lnTo>
                  <a:lnTo>
                    <a:pt x="832" y="822"/>
                  </a:lnTo>
                  <a:lnTo>
                    <a:pt x="830" y="822"/>
                  </a:lnTo>
                  <a:lnTo>
                    <a:pt x="830" y="822"/>
                  </a:lnTo>
                  <a:lnTo>
                    <a:pt x="830" y="822"/>
                  </a:lnTo>
                  <a:lnTo>
                    <a:pt x="830" y="822"/>
                  </a:lnTo>
                  <a:lnTo>
                    <a:pt x="830" y="822"/>
                  </a:lnTo>
                  <a:lnTo>
                    <a:pt x="830" y="822"/>
                  </a:lnTo>
                  <a:lnTo>
                    <a:pt x="830" y="822"/>
                  </a:lnTo>
                  <a:lnTo>
                    <a:pt x="827" y="822"/>
                  </a:lnTo>
                  <a:lnTo>
                    <a:pt x="827" y="822"/>
                  </a:lnTo>
                  <a:lnTo>
                    <a:pt x="827" y="822"/>
                  </a:lnTo>
                  <a:lnTo>
                    <a:pt x="825" y="822"/>
                  </a:lnTo>
                  <a:lnTo>
                    <a:pt x="825" y="824"/>
                  </a:lnTo>
                  <a:lnTo>
                    <a:pt x="825" y="824"/>
                  </a:lnTo>
                  <a:lnTo>
                    <a:pt x="825" y="824"/>
                  </a:lnTo>
                  <a:lnTo>
                    <a:pt x="825" y="824"/>
                  </a:lnTo>
                  <a:lnTo>
                    <a:pt x="827" y="824"/>
                  </a:lnTo>
                  <a:close/>
                  <a:moveTo>
                    <a:pt x="789" y="828"/>
                  </a:moveTo>
                  <a:lnTo>
                    <a:pt x="786" y="828"/>
                  </a:lnTo>
                  <a:lnTo>
                    <a:pt x="786" y="828"/>
                  </a:lnTo>
                  <a:lnTo>
                    <a:pt x="784" y="828"/>
                  </a:lnTo>
                  <a:lnTo>
                    <a:pt x="784" y="830"/>
                  </a:lnTo>
                  <a:lnTo>
                    <a:pt x="784" y="830"/>
                  </a:lnTo>
                  <a:lnTo>
                    <a:pt x="784" y="830"/>
                  </a:lnTo>
                  <a:lnTo>
                    <a:pt x="786" y="830"/>
                  </a:lnTo>
                  <a:lnTo>
                    <a:pt x="786" y="830"/>
                  </a:lnTo>
                  <a:lnTo>
                    <a:pt x="786" y="830"/>
                  </a:lnTo>
                  <a:lnTo>
                    <a:pt x="789" y="830"/>
                  </a:lnTo>
                  <a:lnTo>
                    <a:pt x="789" y="830"/>
                  </a:lnTo>
                  <a:lnTo>
                    <a:pt x="789" y="830"/>
                  </a:lnTo>
                  <a:lnTo>
                    <a:pt x="789" y="828"/>
                  </a:lnTo>
                  <a:lnTo>
                    <a:pt x="789" y="828"/>
                  </a:lnTo>
                  <a:lnTo>
                    <a:pt x="789" y="828"/>
                  </a:lnTo>
                  <a:close/>
                  <a:moveTo>
                    <a:pt x="825" y="826"/>
                  </a:moveTo>
                  <a:lnTo>
                    <a:pt x="823" y="826"/>
                  </a:lnTo>
                  <a:lnTo>
                    <a:pt x="823" y="826"/>
                  </a:lnTo>
                  <a:lnTo>
                    <a:pt x="821" y="826"/>
                  </a:lnTo>
                  <a:lnTo>
                    <a:pt x="821" y="826"/>
                  </a:lnTo>
                  <a:lnTo>
                    <a:pt x="821" y="826"/>
                  </a:lnTo>
                  <a:lnTo>
                    <a:pt x="819" y="826"/>
                  </a:lnTo>
                  <a:lnTo>
                    <a:pt x="819" y="826"/>
                  </a:lnTo>
                  <a:lnTo>
                    <a:pt x="819" y="828"/>
                  </a:lnTo>
                  <a:lnTo>
                    <a:pt x="819" y="828"/>
                  </a:lnTo>
                  <a:lnTo>
                    <a:pt x="819" y="828"/>
                  </a:lnTo>
                  <a:lnTo>
                    <a:pt x="819" y="828"/>
                  </a:lnTo>
                  <a:lnTo>
                    <a:pt x="823" y="830"/>
                  </a:lnTo>
                  <a:lnTo>
                    <a:pt x="823" y="832"/>
                  </a:lnTo>
                  <a:lnTo>
                    <a:pt x="823" y="832"/>
                  </a:lnTo>
                  <a:lnTo>
                    <a:pt x="823" y="832"/>
                  </a:lnTo>
                  <a:lnTo>
                    <a:pt x="825" y="832"/>
                  </a:lnTo>
                  <a:lnTo>
                    <a:pt x="825" y="830"/>
                  </a:lnTo>
                  <a:lnTo>
                    <a:pt x="825" y="830"/>
                  </a:lnTo>
                  <a:lnTo>
                    <a:pt x="825" y="828"/>
                  </a:lnTo>
                  <a:lnTo>
                    <a:pt x="825" y="826"/>
                  </a:lnTo>
                  <a:lnTo>
                    <a:pt x="825" y="826"/>
                  </a:lnTo>
                  <a:lnTo>
                    <a:pt x="825" y="826"/>
                  </a:lnTo>
                  <a:close/>
                  <a:moveTo>
                    <a:pt x="795" y="832"/>
                  </a:moveTo>
                  <a:lnTo>
                    <a:pt x="795" y="830"/>
                  </a:lnTo>
                  <a:lnTo>
                    <a:pt x="795" y="830"/>
                  </a:lnTo>
                  <a:lnTo>
                    <a:pt x="795" y="830"/>
                  </a:lnTo>
                  <a:lnTo>
                    <a:pt x="795" y="830"/>
                  </a:lnTo>
                  <a:lnTo>
                    <a:pt x="795" y="830"/>
                  </a:lnTo>
                  <a:lnTo>
                    <a:pt x="793" y="830"/>
                  </a:lnTo>
                  <a:lnTo>
                    <a:pt x="793" y="830"/>
                  </a:lnTo>
                  <a:lnTo>
                    <a:pt x="793" y="830"/>
                  </a:lnTo>
                  <a:lnTo>
                    <a:pt x="793" y="832"/>
                  </a:lnTo>
                  <a:lnTo>
                    <a:pt x="793" y="832"/>
                  </a:lnTo>
                  <a:lnTo>
                    <a:pt x="795" y="832"/>
                  </a:lnTo>
                  <a:lnTo>
                    <a:pt x="795" y="834"/>
                  </a:lnTo>
                  <a:lnTo>
                    <a:pt x="795" y="834"/>
                  </a:lnTo>
                  <a:lnTo>
                    <a:pt x="795" y="832"/>
                  </a:lnTo>
                  <a:lnTo>
                    <a:pt x="795" y="832"/>
                  </a:lnTo>
                  <a:lnTo>
                    <a:pt x="795" y="832"/>
                  </a:lnTo>
                  <a:lnTo>
                    <a:pt x="795" y="832"/>
                  </a:lnTo>
                  <a:lnTo>
                    <a:pt x="795" y="832"/>
                  </a:lnTo>
                  <a:close/>
                  <a:moveTo>
                    <a:pt x="819" y="834"/>
                  </a:moveTo>
                  <a:lnTo>
                    <a:pt x="819" y="834"/>
                  </a:lnTo>
                  <a:lnTo>
                    <a:pt x="819" y="834"/>
                  </a:lnTo>
                  <a:lnTo>
                    <a:pt x="819" y="834"/>
                  </a:lnTo>
                  <a:lnTo>
                    <a:pt x="819" y="832"/>
                  </a:lnTo>
                  <a:lnTo>
                    <a:pt x="819" y="832"/>
                  </a:lnTo>
                  <a:lnTo>
                    <a:pt x="819" y="832"/>
                  </a:lnTo>
                  <a:lnTo>
                    <a:pt x="817" y="832"/>
                  </a:lnTo>
                  <a:lnTo>
                    <a:pt x="817" y="832"/>
                  </a:lnTo>
                  <a:lnTo>
                    <a:pt x="819" y="832"/>
                  </a:lnTo>
                  <a:lnTo>
                    <a:pt x="819" y="832"/>
                  </a:lnTo>
                  <a:lnTo>
                    <a:pt x="819" y="830"/>
                  </a:lnTo>
                  <a:lnTo>
                    <a:pt x="817" y="830"/>
                  </a:lnTo>
                  <a:lnTo>
                    <a:pt x="817" y="830"/>
                  </a:lnTo>
                  <a:lnTo>
                    <a:pt x="817" y="830"/>
                  </a:lnTo>
                  <a:lnTo>
                    <a:pt x="817" y="828"/>
                  </a:lnTo>
                  <a:lnTo>
                    <a:pt x="817" y="828"/>
                  </a:lnTo>
                  <a:lnTo>
                    <a:pt x="819" y="826"/>
                  </a:lnTo>
                  <a:lnTo>
                    <a:pt x="819" y="826"/>
                  </a:lnTo>
                  <a:lnTo>
                    <a:pt x="819" y="824"/>
                  </a:lnTo>
                  <a:lnTo>
                    <a:pt x="819" y="824"/>
                  </a:lnTo>
                  <a:lnTo>
                    <a:pt x="819" y="824"/>
                  </a:lnTo>
                  <a:lnTo>
                    <a:pt x="817" y="824"/>
                  </a:lnTo>
                  <a:lnTo>
                    <a:pt x="817" y="824"/>
                  </a:lnTo>
                  <a:lnTo>
                    <a:pt x="817" y="826"/>
                  </a:lnTo>
                  <a:lnTo>
                    <a:pt x="817" y="826"/>
                  </a:lnTo>
                  <a:lnTo>
                    <a:pt x="817" y="828"/>
                  </a:lnTo>
                  <a:lnTo>
                    <a:pt x="817" y="828"/>
                  </a:lnTo>
                  <a:lnTo>
                    <a:pt x="817" y="826"/>
                  </a:lnTo>
                  <a:lnTo>
                    <a:pt x="815" y="826"/>
                  </a:lnTo>
                  <a:lnTo>
                    <a:pt x="815" y="826"/>
                  </a:lnTo>
                  <a:lnTo>
                    <a:pt x="815" y="828"/>
                  </a:lnTo>
                  <a:lnTo>
                    <a:pt x="815" y="828"/>
                  </a:lnTo>
                  <a:lnTo>
                    <a:pt x="815" y="828"/>
                  </a:lnTo>
                  <a:lnTo>
                    <a:pt x="815" y="828"/>
                  </a:lnTo>
                  <a:lnTo>
                    <a:pt x="815" y="828"/>
                  </a:lnTo>
                  <a:lnTo>
                    <a:pt x="815" y="828"/>
                  </a:lnTo>
                  <a:lnTo>
                    <a:pt x="815" y="826"/>
                  </a:lnTo>
                  <a:lnTo>
                    <a:pt x="815" y="826"/>
                  </a:lnTo>
                  <a:lnTo>
                    <a:pt x="815" y="824"/>
                  </a:lnTo>
                  <a:lnTo>
                    <a:pt x="815" y="822"/>
                  </a:lnTo>
                  <a:lnTo>
                    <a:pt x="813" y="822"/>
                  </a:lnTo>
                  <a:lnTo>
                    <a:pt x="813" y="824"/>
                  </a:lnTo>
                  <a:lnTo>
                    <a:pt x="811" y="824"/>
                  </a:lnTo>
                  <a:lnTo>
                    <a:pt x="809" y="826"/>
                  </a:lnTo>
                  <a:lnTo>
                    <a:pt x="809" y="826"/>
                  </a:lnTo>
                  <a:lnTo>
                    <a:pt x="809" y="828"/>
                  </a:lnTo>
                  <a:lnTo>
                    <a:pt x="809" y="828"/>
                  </a:lnTo>
                  <a:lnTo>
                    <a:pt x="809" y="830"/>
                  </a:lnTo>
                  <a:lnTo>
                    <a:pt x="809" y="830"/>
                  </a:lnTo>
                  <a:lnTo>
                    <a:pt x="809" y="830"/>
                  </a:lnTo>
                  <a:lnTo>
                    <a:pt x="809" y="830"/>
                  </a:lnTo>
                  <a:lnTo>
                    <a:pt x="809" y="830"/>
                  </a:lnTo>
                  <a:lnTo>
                    <a:pt x="809" y="832"/>
                  </a:lnTo>
                  <a:lnTo>
                    <a:pt x="809" y="832"/>
                  </a:lnTo>
                  <a:lnTo>
                    <a:pt x="809" y="832"/>
                  </a:lnTo>
                  <a:lnTo>
                    <a:pt x="809" y="832"/>
                  </a:lnTo>
                  <a:lnTo>
                    <a:pt x="811" y="834"/>
                  </a:lnTo>
                  <a:lnTo>
                    <a:pt x="811" y="834"/>
                  </a:lnTo>
                  <a:lnTo>
                    <a:pt x="809" y="836"/>
                  </a:lnTo>
                  <a:lnTo>
                    <a:pt x="809" y="836"/>
                  </a:lnTo>
                  <a:lnTo>
                    <a:pt x="811" y="836"/>
                  </a:lnTo>
                  <a:lnTo>
                    <a:pt x="811" y="834"/>
                  </a:lnTo>
                  <a:lnTo>
                    <a:pt x="811" y="834"/>
                  </a:lnTo>
                  <a:lnTo>
                    <a:pt x="811" y="834"/>
                  </a:lnTo>
                  <a:lnTo>
                    <a:pt x="813" y="834"/>
                  </a:lnTo>
                  <a:lnTo>
                    <a:pt x="813" y="834"/>
                  </a:lnTo>
                  <a:lnTo>
                    <a:pt x="813" y="834"/>
                  </a:lnTo>
                  <a:lnTo>
                    <a:pt x="813" y="834"/>
                  </a:lnTo>
                  <a:lnTo>
                    <a:pt x="813" y="832"/>
                  </a:lnTo>
                  <a:lnTo>
                    <a:pt x="815" y="832"/>
                  </a:lnTo>
                  <a:lnTo>
                    <a:pt x="815" y="834"/>
                  </a:lnTo>
                  <a:lnTo>
                    <a:pt x="815" y="834"/>
                  </a:lnTo>
                  <a:lnTo>
                    <a:pt x="813" y="834"/>
                  </a:lnTo>
                  <a:lnTo>
                    <a:pt x="813" y="834"/>
                  </a:lnTo>
                  <a:lnTo>
                    <a:pt x="815" y="834"/>
                  </a:lnTo>
                  <a:lnTo>
                    <a:pt x="815" y="836"/>
                  </a:lnTo>
                  <a:lnTo>
                    <a:pt x="815" y="836"/>
                  </a:lnTo>
                  <a:lnTo>
                    <a:pt x="815" y="836"/>
                  </a:lnTo>
                  <a:lnTo>
                    <a:pt x="817" y="836"/>
                  </a:lnTo>
                  <a:lnTo>
                    <a:pt x="817" y="836"/>
                  </a:lnTo>
                  <a:lnTo>
                    <a:pt x="817" y="838"/>
                  </a:lnTo>
                  <a:lnTo>
                    <a:pt x="819" y="836"/>
                  </a:lnTo>
                  <a:lnTo>
                    <a:pt x="819" y="836"/>
                  </a:lnTo>
                  <a:lnTo>
                    <a:pt x="819" y="834"/>
                  </a:lnTo>
                  <a:lnTo>
                    <a:pt x="817" y="834"/>
                  </a:lnTo>
                  <a:lnTo>
                    <a:pt x="819" y="834"/>
                  </a:lnTo>
                  <a:lnTo>
                    <a:pt x="819" y="834"/>
                  </a:lnTo>
                  <a:lnTo>
                    <a:pt x="821" y="834"/>
                  </a:lnTo>
                  <a:lnTo>
                    <a:pt x="821" y="834"/>
                  </a:lnTo>
                  <a:lnTo>
                    <a:pt x="819" y="834"/>
                  </a:lnTo>
                  <a:close/>
                  <a:moveTo>
                    <a:pt x="838" y="836"/>
                  </a:moveTo>
                  <a:lnTo>
                    <a:pt x="838" y="838"/>
                  </a:lnTo>
                  <a:lnTo>
                    <a:pt x="838" y="838"/>
                  </a:lnTo>
                  <a:lnTo>
                    <a:pt x="836" y="838"/>
                  </a:lnTo>
                  <a:lnTo>
                    <a:pt x="838" y="836"/>
                  </a:lnTo>
                  <a:lnTo>
                    <a:pt x="838" y="834"/>
                  </a:lnTo>
                  <a:lnTo>
                    <a:pt x="838" y="834"/>
                  </a:lnTo>
                  <a:lnTo>
                    <a:pt x="838" y="834"/>
                  </a:lnTo>
                  <a:lnTo>
                    <a:pt x="838" y="832"/>
                  </a:lnTo>
                  <a:lnTo>
                    <a:pt x="838" y="832"/>
                  </a:lnTo>
                  <a:lnTo>
                    <a:pt x="838" y="832"/>
                  </a:lnTo>
                  <a:lnTo>
                    <a:pt x="838" y="830"/>
                  </a:lnTo>
                  <a:lnTo>
                    <a:pt x="838" y="832"/>
                  </a:lnTo>
                  <a:lnTo>
                    <a:pt x="836" y="832"/>
                  </a:lnTo>
                  <a:lnTo>
                    <a:pt x="836" y="832"/>
                  </a:lnTo>
                  <a:lnTo>
                    <a:pt x="836" y="834"/>
                  </a:lnTo>
                  <a:lnTo>
                    <a:pt x="836" y="834"/>
                  </a:lnTo>
                  <a:lnTo>
                    <a:pt x="836" y="834"/>
                  </a:lnTo>
                  <a:lnTo>
                    <a:pt x="836" y="834"/>
                  </a:lnTo>
                  <a:lnTo>
                    <a:pt x="836" y="834"/>
                  </a:lnTo>
                  <a:lnTo>
                    <a:pt x="836" y="834"/>
                  </a:lnTo>
                  <a:lnTo>
                    <a:pt x="836" y="834"/>
                  </a:lnTo>
                  <a:lnTo>
                    <a:pt x="836" y="834"/>
                  </a:lnTo>
                  <a:lnTo>
                    <a:pt x="836" y="836"/>
                  </a:lnTo>
                  <a:lnTo>
                    <a:pt x="836" y="836"/>
                  </a:lnTo>
                  <a:lnTo>
                    <a:pt x="832" y="834"/>
                  </a:lnTo>
                  <a:lnTo>
                    <a:pt x="834" y="836"/>
                  </a:lnTo>
                  <a:lnTo>
                    <a:pt x="834" y="838"/>
                  </a:lnTo>
                  <a:lnTo>
                    <a:pt x="834" y="840"/>
                  </a:lnTo>
                  <a:lnTo>
                    <a:pt x="834" y="840"/>
                  </a:lnTo>
                  <a:lnTo>
                    <a:pt x="834" y="840"/>
                  </a:lnTo>
                  <a:lnTo>
                    <a:pt x="834" y="840"/>
                  </a:lnTo>
                  <a:lnTo>
                    <a:pt x="834" y="840"/>
                  </a:lnTo>
                  <a:lnTo>
                    <a:pt x="834" y="840"/>
                  </a:lnTo>
                  <a:lnTo>
                    <a:pt x="834" y="840"/>
                  </a:lnTo>
                  <a:lnTo>
                    <a:pt x="832" y="840"/>
                  </a:lnTo>
                  <a:lnTo>
                    <a:pt x="832" y="838"/>
                  </a:lnTo>
                  <a:lnTo>
                    <a:pt x="832" y="838"/>
                  </a:lnTo>
                  <a:lnTo>
                    <a:pt x="832" y="838"/>
                  </a:lnTo>
                  <a:lnTo>
                    <a:pt x="832" y="838"/>
                  </a:lnTo>
                  <a:lnTo>
                    <a:pt x="832" y="838"/>
                  </a:lnTo>
                  <a:lnTo>
                    <a:pt x="832" y="836"/>
                  </a:lnTo>
                  <a:lnTo>
                    <a:pt x="830" y="838"/>
                  </a:lnTo>
                  <a:lnTo>
                    <a:pt x="832" y="838"/>
                  </a:lnTo>
                  <a:lnTo>
                    <a:pt x="832" y="840"/>
                  </a:lnTo>
                  <a:lnTo>
                    <a:pt x="832" y="840"/>
                  </a:lnTo>
                  <a:lnTo>
                    <a:pt x="832" y="840"/>
                  </a:lnTo>
                  <a:lnTo>
                    <a:pt x="830" y="838"/>
                  </a:lnTo>
                  <a:lnTo>
                    <a:pt x="830" y="838"/>
                  </a:lnTo>
                  <a:lnTo>
                    <a:pt x="827" y="838"/>
                  </a:lnTo>
                  <a:lnTo>
                    <a:pt x="827" y="840"/>
                  </a:lnTo>
                  <a:lnTo>
                    <a:pt x="830" y="840"/>
                  </a:lnTo>
                  <a:lnTo>
                    <a:pt x="830" y="840"/>
                  </a:lnTo>
                  <a:lnTo>
                    <a:pt x="830" y="840"/>
                  </a:lnTo>
                  <a:lnTo>
                    <a:pt x="830" y="840"/>
                  </a:lnTo>
                  <a:lnTo>
                    <a:pt x="830" y="842"/>
                  </a:lnTo>
                  <a:lnTo>
                    <a:pt x="830" y="842"/>
                  </a:lnTo>
                  <a:lnTo>
                    <a:pt x="830" y="842"/>
                  </a:lnTo>
                  <a:lnTo>
                    <a:pt x="830" y="842"/>
                  </a:lnTo>
                  <a:lnTo>
                    <a:pt x="830" y="842"/>
                  </a:lnTo>
                  <a:lnTo>
                    <a:pt x="832" y="842"/>
                  </a:lnTo>
                  <a:lnTo>
                    <a:pt x="832" y="844"/>
                  </a:lnTo>
                  <a:lnTo>
                    <a:pt x="830" y="844"/>
                  </a:lnTo>
                  <a:lnTo>
                    <a:pt x="830" y="844"/>
                  </a:lnTo>
                  <a:lnTo>
                    <a:pt x="830" y="844"/>
                  </a:lnTo>
                  <a:lnTo>
                    <a:pt x="827" y="848"/>
                  </a:lnTo>
                  <a:lnTo>
                    <a:pt x="827" y="848"/>
                  </a:lnTo>
                  <a:lnTo>
                    <a:pt x="825" y="848"/>
                  </a:lnTo>
                  <a:lnTo>
                    <a:pt x="825" y="848"/>
                  </a:lnTo>
                  <a:lnTo>
                    <a:pt x="825" y="850"/>
                  </a:lnTo>
                  <a:lnTo>
                    <a:pt x="825" y="850"/>
                  </a:lnTo>
                  <a:lnTo>
                    <a:pt x="825" y="850"/>
                  </a:lnTo>
                  <a:lnTo>
                    <a:pt x="827" y="853"/>
                  </a:lnTo>
                  <a:lnTo>
                    <a:pt x="827" y="850"/>
                  </a:lnTo>
                  <a:lnTo>
                    <a:pt x="827" y="848"/>
                  </a:lnTo>
                  <a:lnTo>
                    <a:pt x="830" y="848"/>
                  </a:lnTo>
                  <a:lnTo>
                    <a:pt x="830" y="846"/>
                  </a:lnTo>
                  <a:lnTo>
                    <a:pt x="832" y="846"/>
                  </a:lnTo>
                  <a:lnTo>
                    <a:pt x="832" y="844"/>
                  </a:lnTo>
                  <a:lnTo>
                    <a:pt x="834" y="842"/>
                  </a:lnTo>
                  <a:lnTo>
                    <a:pt x="834" y="842"/>
                  </a:lnTo>
                  <a:lnTo>
                    <a:pt x="834" y="842"/>
                  </a:lnTo>
                  <a:lnTo>
                    <a:pt x="834" y="842"/>
                  </a:lnTo>
                  <a:lnTo>
                    <a:pt x="836" y="842"/>
                  </a:lnTo>
                  <a:lnTo>
                    <a:pt x="836" y="842"/>
                  </a:lnTo>
                  <a:lnTo>
                    <a:pt x="836" y="842"/>
                  </a:lnTo>
                  <a:lnTo>
                    <a:pt x="834" y="840"/>
                  </a:lnTo>
                  <a:lnTo>
                    <a:pt x="836" y="840"/>
                  </a:lnTo>
                  <a:lnTo>
                    <a:pt x="836" y="838"/>
                  </a:lnTo>
                  <a:lnTo>
                    <a:pt x="836" y="838"/>
                  </a:lnTo>
                  <a:lnTo>
                    <a:pt x="836" y="840"/>
                  </a:lnTo>
                  <a:lnTo>
                    <a:pt x="836" y="840"/>
                  </a:lnTo>
                  <a:lnTo>
                    <a:pt x="838" y="840"/>
                  </a:lnTo>
                  <a:lnTo>
                    <a:pt x="838" y="840"/>
                  </a:lnTo>
                  <a:lnTo>
                    <a:pt x="838" y="840"/>
                  </a:lnTo>
                  <a:lnTo>
                    <a:pt x="838" y="840"/>
                  </a:lnTo>
                  <a:lnTo>
                    <a:pt x="838" y="840"/>
                  </a:lnTo>
                  <a:lnTo>
                    <a:pt x="838" y="840"/>
                  </a:lnTo>
                  <a:lnTo>
                    <a:pt x="838" y="838"/>
                  </a:lnTo>
                  <a:lnTo>
                    <a:pt x="838" y="838"/>
                  </a:lnTo>
                  <a:lnTo>
                    <a:pt x="840" y="838"/>
                  </a:lnTo>
                  <a:lnTo>
                    <a:pt x="840" y="838"/>
                  </a:lnTo>
                  <a:lnTo>
                    <a:pt x="840" y="836"/>
                  </a:lnTo>
                  <a:lnTo>
                    <a:pt x="838" y="836"/>
                  </a:lnTo>
                  <a:lnTo>
                    <a:pt x="838" y="836"/>
                  </a:lnTo>
                  <a:close/>
                  <a:moveTo>
                    <a:pt x="856" y="850"/>
                  </a:moveTo>
                  <a:lnTo>
                    <a:pt x="856" y="850"/>
                  </a:lnTo>
                  <a:lnTo>
                    <a:pt x="854" y="850"/>
                  </a:lnTo>
                  <a:lnTo>
                    <a:pt x="854" y="850"/>
                  </a:lnTo>
                  <a:lnTo>
                    <a:pt x="854" y="850"/>
                  </a:lnTo>
                  <a:lnTo>
                    <a:pt x="854" y="850"/>
                  </a:lnTo>
                  <a:lnTo>
                    <a:pt x="854" y="850"/>
                  </a:lnTo>
                  <a:lnTo>
                    <a:pt x="854" y="850"/>
                  </a:lnTo>
                  <a:lnTo>
                    <a:pt x="852" y="850"/>
                  </a:lnTo>
                  <a:lnTo>
                    <a:pt x="854" y="850"/>
                  </a:lnTo>
                  <a:lnTo>
                    <a:pt x="854" y="850"/>
                  </a:lnTo>
                  <a:lnTo>
                    <a:pt x="854" y="850"/>
                  </a:lnTo>
                  <a:lnTo>
                    <a:pt x="854" y="853"/>
                  </a:lnTo>
                  <a:lnTo>
                    <a:pt x="854" y="853"/>
                  </a:lnTo>
                  <a:lnTo>
                    <a:pt x="854" y="853"/>
                  </a:lnTo>
                  <a:lnTo>
                    <a:pt x="854" y="855"/>
                  </a:lnTo>
                  <a:lnTo>
                    <a:pt x="856" y="853"/>
                  </a:lnTo>
                  <a:lnTo>
                    <a:pt x="856" y="853"/>
                  </a:lnTo>
                  <a:lnTo>
                    <a:pt x="856" y="853"/>
                  </a:lnTo>
                  <a:lnTo>
                    <a:pt x="856" y="850"/>
                  </a:lnTo>
                  <a:lnTo>
                    <a:pt x="856" y="850"/>
                  </a:lnTo>
                  <a:close/>
                  <a:moveTo>
                    <a:pt x="858" y="805"/>
                  </a:moveTo>
                  <a:lnTo>
                    <a:pt x="856" y="805"/>
                  </a:lnTo>
                  <a:lnTo>
                    <a:pt x="856" y="805"/>
                  </a:lnTo>
                  <a:lnTo>
                    <a:pt x="856" y="807"/>
                  </a:lnTo>
                  <a:lnTo>
                    <a:pt x="856" y="807"/>
                  </a:lnTo>
                  <a:lnTo>
                    <a:pt x="856" y="807"/>
                  </a:lnTo>
                  <a:lnTo>
                    <a:pt x="856" y="807"/>
                  </a:lnTo>
                  <a:lnTo>
                    <a:pt x="858" y="807"/>
                  </a:lnTo>
                  <a:lnTo>
                    <a:pt x="858" y="807"/>
                  </a:lnTo>
                  <a:lnTo>
                    <a:pt x="858" y="807"/>
                  </a:lnTo>
                  <a:lnTo>
                    <a:pt x="858" y="805"/>
                  </a:lnTo>
                  <a:lnTo>
                    <a:pt x="858" y="805"/>
                  </a:lnTo>
                  <a:close/>
                  <a:moveTo>
                    <a:pt x="875" y="803"/>
                  </a:moveTo>
                  <a:lnTo>
                    <a:pt x="875" y="803"/>
                  </a:lnTo>
                  <a:lnTo>
                    <a:pt x="875" y="803"/>
                  </a:lnTo>
                  <a:lnTo>
                    <a:pt x="873" y="803"/>
                  </a:lnTo>
                  <a:lnTo>
                    <a:pt x="873" y="803"/>
                  </a:lnTo>
                  <a:lnTo>
                    <a:pt x="873" y="801"/>
                  </a:lnTo>
                  <a:lnTo>
                    <a:pt x="870" y="801"/>
                  </a:lnTo>
                  <a:lnTo>
                    <a:pt x="870" y="803"/>
                  </a:lnTo>
                  <a:lnTo>
                    <a:pt x="870" y="803"/>
                  </a:lnTo>
                  <a:lnTo>
                    <a:pt x="868" y="805"/>
                  </a:lnTo>
                  <a:lnTo>
                    <a:pt x="868" y="805"/>
                  </a:lnTo>
                  <a:lnTo>
                    <a:pt x="868" y="805"/>
                  </a:lnTo>
                  <a:lnTo>
                    <a:pt x="870" y="807"/>
                  </a:lnTo>
                  <a:lnTo>
                    <a:pt x="870" y="807"/>
                  </a:lnTo>
                  <a:lnTo>
                    <a:pt x="870" y="805"/>
                  </a:lnTo>
                  <a:lnTo>
                    <a:pt x="870" y="805"/>
                  </a:lnTo>
                  <a:lnTo>
                    <a:pt x="870" y="805"/>
                  </a:lnTo>
                  <a:lnTo>
                    <a:pt x="870" y="805"/>
                  </a:lnTo>
                  <a:lnTo>
                    <a:pt x="870" y="805"/>
                  </a:lnTo>
                  <a:lnTo>
                    <a:pt x="870" y="803"/>
                  </a:lnTo>
                  <a:lnTo>
                    <a:pt x="873" y="803"/>
                  </a:lnTo>
                  <a:lnTo>
                    <a:pt x="875" y="805"/>
                  </a:lnTo>
                  <a:lnTo>
                    <a:pt x="875" y="805"/>
                  </a:lnTo>
                  <a:lnTo>
                    <a:pt x="875" y="803"/>
                  </a:lnTo>
                  <a:close/>
                  <a:moveTo>
                    <a:pt x="852" y="846"/>
                  </a:moveTo>
                  <a:lnTo>
                    <a:pt x="852" y="846"/>
                  </a:lnTo>
                  <a:lnTo>
                    <a:pt x="852" y="846"/>
                  </a:lnTo>
                  <a:lnTo>
                    <a:pt x="852" y="846"/>
                  </a:lnTo>
                  <a:lnTo>
                    <a:pt x="852" y="846"/>
                  </a:lnTo>
                  <a:lnTo>
                    <a:pt x="852" y="846"/>
                  </a:lnTo>
                  <a:lnTo>
                    <a:pt x="852" y="844"/>
                  </a:lnTo>
                  <a:lnTo>
                    <a:pt x="852" y="846"/>
                  </a:lnTo>
                  <a:lnTo>
                    <a:pt x="852" y="844"/>
                  </a:lnTo>
                  <a:lnTo>
                    <a:pt x="852" y="844"/>
                  </a:lnTo>
                  <a:lnTo>
                    <a:pt x="854" y="844"/>
                  </a:lnTo>
                  <a:lnTo>
                    <a:pt x="852" y="844"/>
                  </a:lnTo>
                  <a:lnTo>
                    <a:pt x="852" y="844"/>
                  </a:lnTo>
                  <a:lnTo>
                    <a:pt x="850" y="844"/>
                  </a:lnTo>
                  <a:lnTo>
                    <a:pt x="850" y="844"/>
                  </a:lnTo>
                  <a:lnTo>
                    <a:pt x="850" y="844"/>
                  </a:lnTo>
                  <a:lnTo>
                    <a:pt x="850" y="844"/>
                  </a:lnTo>
                  <a:lnTo>
                    <a:pt x="850" y="844"/>
                  </a:lnTo>
                  <a:lnTo>
                    <a:pt x="848" y="846"/>
                  </a:lnTo>
                  <a:lnTo>
                    <a:pt x="850" y="846"/>
                  </a:lnTo>
                  <a:lnTo>
                    <a:pt x="850" y="846"/>
                  </a:lnTo>
                  <a:lnTo>
                    <a:pt x="850" y="848"/>
                  </a:lnTo>
                  <a:lnTo>
                    <a:pt x="850" y="848"/>
                  </a:lnTo>
                  <a:lnTo>
                    <a:pt x="850" y="848"/>
                  </a:lnTo>
                  <a:lnTo>
                    <a:pt x="850" y="848"/>
                  </a:lnTo>
                  <a:lnTo>
                    <a:pt x="850" y="848"/>
                  </a:lnTo>
                  <a:lnTo>
                    <a:pt x="850" y="848"/>
                  </a:lnTo>
                  <a:lnTo>
                    <a:pt x="850" y="848"/>
                  </a:lnTo>
                  <a:lnTo>
                    <a:pt x="850" y="848"/>
                  </a:lnTo>
                  <a:lnTo>
                    <a:pt x="850" y="850"/>
                  </a:lnTo>
                  <a:lnTo>
                    <a:pt x="850" y="850"/>
                  </a:lnTo>
                  <a:lnTo>
                    <a:pt x="852" y="850"/>
                  </a:lnTo>
                  <a:lnTo>
                    <a:pt x="852" y="848"/>
                  </a:lnTo>
                  <a:lnTo>
                    <a:pt x="852" y="846"/>
                  </a:lnTo>
                  <a:close/>
                  <a:moveTo>
                    <a:pt x="846" y="857"/>
                  </a:moveTo>
                  <a:lnTo>
                    <a:pt x="846" y="857"/>
                  </a:lnTo>
                  <a:lnTo>
                    <a:pt x="846" y="857"/>
                  </a:lnTo>
                  <a:lnTo>
                    <a:pt x="846" y="857"/>
                  </a:lnTo>
                  <a:lnTo>
                    <a:pt x="846" y="857"/>
                  </a:lnTo>
                  <a:lnTo>
                    <a:pt x="846" y="857"/>
                  </a:lnTo>
                  <a:lnTo>
                    <a:pt x="844" y="857"/>
                  </a:lnTo>
                  <a:lnTo>
                    <a:pt x="844" y="857"/>
                  </a:lnTo>
                  <a:lnTo>
                    <a:pt x="844" y="857"/>
                  </a:lnTo>
                  <a:lnTo>
                    <a:pt x="844" y="857"/>
                  </a:lnTo>
                  <a:lnTo>
                    <a:pt x="844" y="859"/>
                  </a:lnTo>
                  <a:lnTo>
                    <a:pt x="844" y="859"/>
                  </a:lnTo>
                  <a:lnTo>
                    <a:pt x="844" y="859"/>
                  </a:lnTo>
                  <a:lnTo>
                    <a:pt x="844" y="859"/>
                  </a:lnTo>
                  <a:lnTo>
                    <a:pt x="846" y="859"/>
                  </a:lnTo>
                  <a:lnTo>
                    <a:pt x="846" y="859"/>
                  </a:lnTo>
                  <a:lnTo>
                    <a:pt x="846" y="859"/>
                  </a:lnTo>
                  <a:lnTo>
                    <a:pt x="846" y="859"/>
                  </a:lnTo>
                  <a:lnTo>
                    <a:pt x="848" y="859"/>
                  </a:lnTo>
                  <a:lnTo>
                    <a:pt x="848" y="859"/>
                  </a:lnTo>
                  <a:lnTo>
                    <a:pt x="846" y="857"/>
                  </a:lnTo>
                  <a:close/>
                  <a:moveTo>
                    <a:pt x="705" y="301"/>
                  </a:moveTo>
                  <a:lnTo>
                    <a:pt x="705" y="301"/>
                  </a:lnTo>
                  <a:lnTo>
                    <a:pt x="705" y="301"/>
                  </a:lnTo>
                  <a:lnTo>
                    <a:pt x="705" y="301"/>
                  </a:lnTo>
                  <a:lnTo>
                    <a:pt x="705" y="299"/>
                  </a:lnTo>
                  <a:lnTo>
                    <a:pt x="705" y="301"/>
                  </a:lnTo>
                  <a:lnTo>
                    <a:pt x="705" y="301"/>
                  </a:lnTo>
                  <a:lnTo>
                    <a:pt x="705" y="301"/>
                  </a:lnTo>
                  <a:lnTo>
                    <a:pt x="705" y="301"/>
                  </a:lnTo>
                  <a:close/>
                  <a:moveTo>
                    <a:pt x="848" y="842"/>
                  </a:moveTo>
                  <a:lnTo>
                    <a:pt x="848" y="842"/>
                  </a:lnTo>
                  <a:lnTo>
                    <a:pt x="848" y="840"/>
                  </a:lnTo>
                  <a:lnTo>
                    <a:pt x="848" y="838"/>
                  </a:lnTo>
                  <a:lnTo>
                    <a:pt x="848" y="838"/>
                  </a:lnTo>
                  <a:lnTo>
                    <a:pt x="848" y="838"/>
                  </a:lnTo>
                  <a:lnTo>
                    <a:pt x="848" y="838"/>
                  </a:lnTo>
                  <a:lnTo>
                    <a:pt x="848" y="838"/>
                  </a:lnTo>
                  <a:lnTo>
                    <a:pt x="848" y="836"/>
                  </a:lnTo>
                  <a:lnTo>
                    <a:pt x="848" y="836"/>
                  </a:lnTo>
                  <a:lnTo>
                    <a:pt x="848" y="836"/>
                  </a:lnTo>
                  <a:lnTo>
                    <a:pt x="848" y="836"/>
                  </a:lnTo>
                  <a:lnTo>
                    <a:pt x="848" y="834"/>
                  </a:lnTo>
                  <a:lnTo>
                    <a:pt x="848" y="834"/>
                  </a:lnTo>
                  <a:lnTo>
                    <a:pt x="848" y="834"/>
                  </a:lnTo>
                  <a:lnTo>
                    <a:pt x="848" y="834"/>
                  </a:lnTo>
                  <a:lnTo>
                    <a:pt x="848" y="834"/>
                  </a:lnTo>
                  <a:lnTo>
                    <a:pt x="848" y="836"/>
                  </a:lnTo>
                  <a:lnTo>
                    <a:pt x="848" y="836"/>
                  </a:lnTo>
                  <a:lnTo>
                    <a:pt x="848" y="836"/>
                  </a:lnTo>
                  <a:lnTo>
                    <a:pt x="848" y="836"/>
                  </a:lnTo>
                  <a:lnTo>
                    <a:pt x="846" y="836"/>
                  </a:lnTo>
                  <a:lnTo>
                    <a:pt x="846" y="836"/>
                  </a:lnTo>
                  <a:lnTo>
                    <a:pt x="846" y="838"/>
                  </a:lnTo>
                  <a:lnTo>
                    <a:pt x="846" y="838"/>
                  </a:lnTo>
                  <a:lnTo>
                    <a:pt x="846" y="838"/>
                  </a:lnTo>
                  <a:lnTo>
                    <a:pt x="848" y="838"/>
                  </a:lnTo>
                  <a:lnTo>
                    <a:pt x="848" y="838"/>
                  </a:lnTo>
                  <a:lnTo>
                    <a:pt x="848" y="840"/>
                  </a:lnTo>
                  <a:lnTo>
                    <a:pt x="846" y="840"/>
                  </a:lnTo>
                  <a:lnTo>
                    <a:pt x="846" y="840"/>
                  </a:lnTo>
                  <a:lnTo>
                    <a:pt x="846" y="840"/>
                  </a:lnTo>
                  <a:lnTo>
                    <a:pt x="846" y="840"/>
                  </a:lnTo>
                  <a:lnTo>
                    <a:pt x="846" y="840"/>
                  </a:lnTo>
                  <a:lnTo>
                    <a:pt x="844" y="840"/>
                  </a:lnTo>
                  <a:lnTo>
                    <a:pt x="844" y="840"/>
                  </a:lnTo>
                  <a:lnTo>
                    <a:pt x="844" y="840"/>
                  </a:lnTo>
                  <a:lnTo>
                    <a:pt x="846" y="840"/>
                  </a:lnTo>
                  <a:lnTo>
                    <a:pt x="846" y="840"/>
                  </a:lnTo>
                  <a:lnTo>
                    <a:pt x="846" y="842"/>
                  </a:lnTo>
                  <a:lnTo>
                    <a:pt x="846" y="842"/>
                  </a:lnTo>
                  <a:lnTo>
                    <a:pt x="846" y="842"/>
                  </a:lnTo>
                  <a:lnTo>
                    <a:pt x="846" y="842"/>
                  </a:lnTo>
                  <a:lnTo>
                    <a:pt x="846" y="842"/>
                  </a:lnTo>
                  <a:lnTo>
                    <a:pt x="846" y="842"/>
                  </a:lnTo>
                  <a:lnTo>
                    <a:pt x="844" y="842"/>
                  </a:lnTo>
                  <a:lnTo>
                    <a:pt x="844" y="842"/>
                  </a:lnTo>
                  <a:lnTo>
                    <a:pt x="844" y="842"/>
                  </a:lnTo>
                  <a:lnTo>
                    <a:pt x="844" y="844"/>
                  </a:lnTo>
                  <a:lnTo>
                    <a:pt x="844" y="844"/>
                  </a:lnTo>
                  <a:lnTo>
                    <a:pt x="844" y="844"/>
                  </a:lnTo>
                  <a:lnTo>
                    <a:pt x="844" y="844"/>
                  </a:lnTo>
                  <a:lnTo>
                    <a:pt x="844" y="844"/>
                  </a:lnTo>
                  <a:lnTo>
                    <a:pt x="846" y="844"/>
                  </a:lnTo>
                  <a:lnTo>
                    <a:pt x="846" y="844"/>
                  </a:lnTo>
                  <a:lnTo>
                    <a:pt x="846" y="844"/>
                  </a:lnTo>
                  <a:lnTo>
                    <a:pt x="846" y="844"/>
                  </a:lnTo>
                  <a:lnTo>
                    <a:pt x="846" y="842"/>
                  </a:lnTo>
                  <a:lnTo>
                    <a:pt x="846" y="842"/>
                  </a:lnTo>
                  <a:lnTo>
                    <a:pt x="846" y="842"/>
                  </a:lnTo>
                  <a:lnTo>
                    <a:pt x="846" y="842"/>
                  </a:lnTo>
                  <a:lnTo>
                    <a:pt x="848" y="842"/>
                  </a:lnTo>
                  <a:lnTo>
                    <a:pt x="848" y="844"/>
                  </a:lnTo>
                  <a:lnTo>
                    <a:pt x="848" y="844"/>
                  </a:lnTo>
                  <a:lnTo>
                    <a:pt x="848" y="844"/>
                  </a:lnTo>
                  <a:lnTo>
                    <a:pt x="848" y="844"/>
                  </a:lnTo>
                  <a:lnTo>
                    <a:pt x="848" y="844"/>
                  </a:lnTo>
                  <a:lnTo>
                    <a:pt x="848" y="844"/>
                  </a:lnTo>
                  <a:lnTo>
                    <a:pt x="848" y="842"/>
                  </a:lnTo>
                  <a:close/>
                  <a:moveTo>
                    <a:pt x="754" y="867"/>
                  </a:moveTo>
                  <a:lnTo>
                    <a:pt x="754" y="865"/>
                  </a:lnTo>
                  <a:lnTo>
                    <a:pt x="754" y="865"/>
                  </a:lnTo>
                  <a:lnTo>
                    <a:pt x="754" y="865"/>
                  </a:lnTo>
                  <a:lnTo>
                    <a:pt x="754" y="865"/>
                  </a:lnTo>
                  <a:lnTo>
                    <a:pt x="752" y="865"/>
                  </a:lnTo>
                  <a:lnTo>
                    <a:pt x="752" y="865"/>
                  </a:lnTo>
                  <a:lnTo>
                    <a:pt x="752" y="865"/>
                  </a:lnTo>
                  <a:lnTo>
                    <a:pt x="752" y="865"/>
                  </a:lnTo>
                  <a:lnTo>
                    <a:pt x="750" y="865"/>
                  </a:lnTo>
                  <a:lnTo>
                    <a:pt x="750" y="863"/>
                  </a:lnTo>
                  <a:lnTo>
                    <a:pt x="748" y="863"/>
                  </a:lnTo>
                  <a:lnTo>
                    <a:pt x="748" y="863"/>
                  </a:lnTo>
                  <a:lnTo>
                    <a:pt x="746" y="863"/>
                  </a:lnTo>
                  <a:lnTo>
                    <a:pt x="746" y="863"/>
                  </a:lnTo>
                  <a:lnTo>
                    <a:pt x="746" y="863"/>
                  </a:lnTo>
                  <a:lnTo>
                    <a:pt x="746" y="863"/>
                  </a:lnTo>
                  <a:lnTo>
                    <a:pt x="746" y="865"/>
                  </a:lnTo>
                  <a:lnTo>
                    <a:pt x="746" y="865"/>
                  </a:lnTo>
                  <a:lnTo>
                    <a:pt x="746" y="867"/>
                  </a:lnTo>
                  <a:lnTo>
                    <a:pt x="748" y="867"/>
                  </a:lnTo>
                  <a:lnTo>
                    <a:pt x="748" y="867"/>
                  </a:lnTo>
                  <a:lnTo>
                    <a:pt x="748" y="867"/>
                  </a:lnTo>
                  <a:lnTo>
                    <a:pt x="750" y="869"/>
                  </a:lnTo>
                  <a:lnTo>
                    <a:pt x="750" y="869"/>
                  </a:lnTo>
                  <a:lnTo>
                    <a:pt x="752" y="869"/>
                  </a:lnTo>
                  <a:lnTo>
                    <a:pt x="752" y="869"/>
                  </a:lnTo>
                  <a:lnTo>
                    <a:pt x="752" y="869"/>
                  </a:lnTo>
                  <a:lnTo>
                    <a:pt x="752" y="869"/>
                  </a:lnTo>
                  <a:lnTo>
                    <a:pt x="752" y="869"/>
                  </a:lnTo>
                  <a:lnTo>
                    <a:pt x="752" y="869"/>
                  </a:lnTo>
                  <a:lnTo>
                    <a:pt x="750" y="869"/>
                  </a:lnTo>
                  <a:lnTo>
                    <a:pt x="754" y="869"/>
                  </a:lnTo>
                  <a:lnTo>
                    <a:pt x="754" y="869"/>
                  </a:lnTo>
                  <a:lnTo>
                    <a:pt x="754" y="869"/>
                  </a:lnTo>
                  <a:lnTo>
                    <a:pt x="754" y="867"/>
                  </a:lnTo>
                  <a:lnTo>
                    <a:pt x="754" y="867"/>
                  </a:lnTo>
                  <a:lnTo>
                    <a:pt x="754" y="867"/>
                  </a:lnTo>
                  <a:close/>
                  <a:moveTo>
                    <a:pt x="733" y="830"/>
                  </a:moveTo>
                  <a:lnTo>
                    <a:pt x="733" y="830"/>
                  </a:lnTo>
                  <a:lnTo>
                    <a:pt x="733" y="830"/>
                  </a:lnTo>
                  <a:lnTo>
                    <a:pt x="731" y="830"/>
                  </a:lnTo>
                  <a:lnTo>
                    <a:pt x="731" y="830"/>
                  </a:lnTo>
                  <a:lnTo>
                    <a:pt x="731" y="830"/>
                  </a:lnTo>
                  <a:lnTo>
                    <a:pt x="733" y="830"/>
                  </a:lnTo>
                  <a:lnTo>
                    <a:pt x="733" y="830"/>
                  </a:lnTo>
                  <a:lnTo>
                    <a:pt x="733" y="830"/>
                  </a:lnTo>
                  <a:lnTo>
                    <a:pt x="733" y="830"/>
                  </a:lnTo>
                  <a:lnTo>
                    <a:pt x="733" y="830"/>
                  </a:lnTo>
                  <a:lnTo>
                    <a:pt x="733" y="830"/>
                  </a:lnTo>
                  <a:lnTo>
                    <a:pt x="733" y="830"/>
                  </a:lnTo>
                  <a:lnTo>
                    <a:pt x="731" y="830"/>
                  </a:lnTo>
                  <a:lnTo>
                    <a:pt x="731" y="830"/>
                  </a:lnTo>
                  <a:lnTo>
                    <a:pt x="733" y="830"/>
                  </a:lnTo>
                  <a:close/>
                  <a:moveTo>
                    <a:pt x="586" y="865"/>
                  </a:moveTo>
                  <a:lnTo>
                    <a:pt x="584" y="863"/>
                  </a:lnTo>
                  <a:lnTo>
                    <a:pt x="584" y="863"/>
                  </a:lnTo>
                  <a:lnTo>
                    <a:pt x="584" y="865"/>
                  </a:lnTo>
                  <a:lnTo>
                    <a:pt x="586" y="865"/>
                  </a:lnTo>
                  <a:close/>
                  <a:moveTo>
                    <a:pt x="758" y="869"/>
                  </a:moveTo>
                  <a:lnTo>
                    <a:pt x="758" y="869"/>
                  </a:lnTo>
                  <a:lnTo>
                    <a:pt x="758" y="869"/>
                  </a:lnTo>
                  <a:lnTo>
                    <a:pt x="758" y="869"/>
                  </a:lnTo>
                  <a:lnTo>
                    <a:pt x="756" y="867"/>
                  </a:lnTo>
                  <a:lnTo>
                    <a:pt x="756" y="867"/>
                  </a:lnTo>
                  <a:lnTo>
                    <a:pt x="756" y="867"/>
                  </a:lnTo>
                  <a:lnTo>
                    <a:pt x="756" y="867"/>
                  </a:lnTo>
                  <a:lnTo>
                    <a:pt x="756" y="869"/>
                  </a:lnTo>
                  <a:lnTo>
                    <a:pt x="756" y="869"/>
                  </a:lnTo>
                  <a:lnTo>
                    <a:pt x="756" y="869"/>
                  </a:lnTo>
                  <a:lnTo>
                    <a:pt x="758" y="871"/>
                  </a:lnTo>
                  <a:lnTo>
                    <a:pt x="758" y="871"/>
                  </a:lnTo>
                  <a:lnTo>
                    <a:pt x="760" y="869"/>
                  </a:lnTo>
                  <a:lnTo>
                    <a:pt x="760" y="869"/>
                  </a:lnTo>
                  <a:lnTo>
                    <a:pt x="758" y="869"/>
                  </a:lnTo>
                  <a:lnTo>
                    <a:pt x="758" y="869"/>
                  </a:lnTo>
                  <a:close/>
                  <a:moveTo>
                    <a:pt x="684" y="867"/>
                  </a:moveTo>
                  <a:lnTo>
                    <a:pt x="684" y="867"/>
                  </a:lnTo>
                  <a:lnTo>
                    <a:pt x="682" y="869"/>
                  </a:lnTo>
                  <a:lnTo>
                    <a:pt x="682" y="869"/>
                  </a:lnTo>
                  <a:lnTo>
                    <a:pt x="682" y="869"/>
                  </a:lnTo>
                  <a:lnTo>
                    <a:pt x="684" y="869"/>
                  </a:lnTo>
                  <a:lnTo>
                    <a:pt x="686" y="869"/>
                  </a:lnTo>
                  <a:lnTo>
                    <a:pt x="686" y="869"/>
                  </a:lnTo>
                  <a:lnTo>
                    <a:pt x="686" y="867"/>
                  </a:lnTo>
                  <a:lnTo>
                    <a:pt x="684" y="867"/>
                  </a:lnTo>
                  <a:close/>
                  <a:moveTo>
                    <a:pt x="739" y="853"/>
                  </a:moveTo>
                  <a:lnTo>
                    <a:pt x="739" y="850"/>
                  </a:lnTo>
                  <a:lnTo>
                    <a:pt x="739" y="850"/>
                  </a:lnTo>
                  <a:lnTo>
                    <a:pt x="739" y="850"/>
                  </a:lnTo>
                  <a:lnTo>
                    <a:pt x="739" y="850"/>
                  </a:lnTo>
                  <a:lnTo>
                    <a:pt x="739" y="850"/>
                  </a:lnTo>
                  <a:lnTo>
                    <a:pt x="739" y="848"/>
                  </a:lnTo>
                  <a:lnTo>
                    <a:pt x="739" y="846"/>
                  </a:lnTo>
                  <a:lnTo>
                    <a:pt x="737" y="846"/>
                  </a:lnTo>
                  <a:lnTo>
                    <a:pt x="737" y="846"/>
                  </a:lnTo>
                  <a:lnTo>
                    <a:pt x="737" y="846"/>
                  </a:lnTo>
                  <a:lnTo>
                    <a:pt x="737" y="846"/>
                  </a:lnTo>
                  <a:lnTo>
                    <a:pt x="737" y="846"/>
                  </a:lnTo>
                  <a:lnTo>
                    <a:pt x="737" y="846"/>
                  </a:lnTo>
                  <a:lnTo>
                    <a:pt x="735" y="846"/>
                  </a:lnTo>
                  <a:lnTo>
                    <a:pt x="735" y="846"/>
                  </a:lnTo>
                  <a:lnTo>
                    <a:pt x="733" y="846"/>
                  </a:lnTo>
                  <a:lnTo>
                    <a:pt x="733" y="846"/>
                  </a:lnTo>
                  <a:lnTo>
                    <a:pt x="733" y="846"/>
                  </a:lnTo>
                  <a:lnTo>
                    <a:pt x="731" y="844"/>
                  </a:lnTo>
                  <a:lnTo>
                    <a:pt x="731" y="842"/>
                  </a:lnTo>
                  <a:lnTo>
                    <a:pt x="731" y="840"/>
                  </a:lnTo>
                  <a:lnTo>
                    <a:pt x="731" y="838"/>
                  </a:lnTo>
                  <a:lnTo>
                    <a:pt x="731" y="836"/>
                  </a:lnTo>
                  <a:lnTo>
                    <a:pt x="731" y="836"/>
                  </a:lnTo>
                  <a:lnTo>
                    <a:pt x="731" y="836"/>
                  </a:lnTo>
                  <a:lnTo>
                    <a:pt x="729" y="834"/>
                  </a:lnTo>
                  <a:lnTo>
                    <a:pt x="729" y="834"/>
                  </a:lnTo>
                  <a:lnTo>
                    <a:pt x="729" y="832"/>
                  </a:lnTo>
                  <a:lnTo>
                    <a:pt x="729" y="832"/>
                  </a:lnTo>
                  <a:lnTo>
                    <a:pt x="729" y="832"/>
                  </a:lnTo>
                  <a:lnTo>
                    <a:pt x="729" y="832"/>
                  </a:lnTo>
                  <a:lnTo>
                    <a:pt x="729" y="832"/>
                  </a:lnTo>
                  <a:lnTo>
                    <a:pt x="729" y="832"/>
                  </a:lnTo>
                  <a:lnTo>
                    <a:pt x="727" y="830"/>
                  </a:lnTo>
                  <a:lnTo>
                    <a:pt x="725" y="830"/>
                  </a:lnTo>
                  <a:lnTo>
                    <a:pt x="723" y="830"/>
                  </a:lnTo>
                  <a:lnTo>
                    <a:pt x="721" y="830"/>
                  </a:lnTo>
                  <a:lnTo>
                    <a:pt x="721" y="830"/>
                  </a:lnTo>
                  <a:lnTo>
                    <a:pt x="721" y="830"/>
                  </a:lnTo>
                  <a:lnTo>
                    <a:pt x="717" y="830"/>
                  </a:lnTo>
                  <a:lnTo>
                    <a:pt x="717" y="830"/>
                  </a:lnTo>
                  <a:lnTo>
                    <a:pt x="715" y="832"/>
                  </a:lnTo>
                  <a:lnTo>
                    <a:pt x="715" y="832"/>
                  </a:lnTo>
                  <a:lnTo>
                    <a:pt x="713" y="832"/>
                  </a:lnTo>
                  <a:lnTo>
                    <a:pt x="711" y="832"/>
                  </a:lnTo>
                  <a:lnTo>
                    <a:pt x="711" y="832"/>
                  </a:lnTo>
                  <a:lnTo>
                    <a:pt x="709" y="834"/>
                  </a:lnTo>
                  <a:lnTo>
                    <a:pt x="707" y="834"/>
                  </a:lnTo>
                  <a:lnTo>
                    <a:pt x="709" y="834"/>
                  </a:lnTo>
                  <a:lnTo>
                    <a:pt x="709" y="836"/>
                  </a:lnTo>
                  <a:lnTo>
                    <a:pt x="707" y="836"/>
                  </a:lnTo>
                  <a:lnTo>
                    <a:pt x="705" y="836"/>
                  </a:lnTo>
                  <a:lnTo>
                    <a:pt x="705" y="834"/>
                  </a:lnTo>
                  <a:lnTo>
                    <a:pt x="703" y="834"/>
                  </a:lnTo>
                  <a:lnTo>
                    <a:pt x="703" y="834"/>
                  </a:lnTo>
                  <a:lnTo>
                    <a:pt x="700" y="832"/>
                  </a:lnTo>
                  <a:lnTo>
                    <a:pt x="700" y="834"/>
                  </a:lnTo>
                  <a:lnTo>
                    <a:pt x="698" y="834"/>
                  </a:lnTo>
                  <a:lnTo>
                    <a:pt x="698" y="834"/>
                  </a:lnTo>
                  <a:lnTo>
                    <a:pt x="696" y="836"/>
                  </a:lnTo>
                  <a:lnTo>
                    <a:pt x="696" y="836"/>
                  </a:lnTo>
                  <a:lnTo>
                    <a:pt x="692" y="844"/>
                  </a:lnTo>
                  <a:lnTo>
                    <a:pt x="690" y="846"/>
                  </a:lnTo>
                  <a:lnTo>
                    <a:pt x="688" y="846"/>
                  </a:lnTo>
                  <a:lnTo>
                    <a:pt x="686" y="846"/>
                  </a:lnTo>
                  <a:lnTo>
                    <a:pt x="684" y="846"/>
                  </a:lnTo>
                  <a:lnTo>
                    <a:pt x="684" y="848"/>
                  </a:lnTo>
                  <a:lnTo>
                    <a:pt x="682" y="848"/>
                  </a:lnTo>
                  <a:lnTo>
                    <a:pt x="684" y="850"/>
                  </a:lnTo>
                  <a:lnTo>
                    <a:pt x="684" y="850"/>
                  </a:lnTo>
                  <a:lnTo>
                    <a:pt x="684" y="850"/>
                  </a:lnTo>
                  <a:lnTo>
                    <a:pt x="684" y="853"/>
                  </a:lnTo>
                  <a:lnTo>
                    <a:pt x="684" y="853"/>
                  </a:lnTo>
                  <a:lnTo>
                    <a:pt x="684" y="853"/>
                  </a:lnTo>
                  <a:lnTo>
                    <a:pt x="684" y="855"/>
                  </a:lnTo>
                  <a:lnTo>
                    <a:pt x="684" y="855"/>
                  </a:lnTo>
                  <a:lnTo>
                    <a:pt x="684" y="855"/>
                  </a:lnTo>
                  <a:lnTo>
                    <a:pt x="684" y="857"/>
                  </a:lnTo>
                  <a:lnTo>
                    <a:pt x="686" y="857"/>
                  </a:lnTo>
                  <a:lnTo>
                    <a:pt x="686" y="859"/>
                  </a:lnTo>
                  <a:lnTo>
                    <a:pt x="690" y="859"/>
                  </a:lnTo>
                  <a:lnTo>
                    <a:pt x="690" y="859"/>
                  </a:lnTo>
                  <a:lnTo>
                    <a:pt x="692" y="859"/>
                  </a:lnTo>
                  <a:lnTo>
                    <a:pt x="692" y="859"/>
                  </a:lnTo>
                  <a:lnTo>
                    <a:pt x="694" y="859"/>
                  </a:lnTo>
                  <a:lnTo>
                    <a:pt x="696" y="859"/>
                  </a:lnTo>
                  <a:lnTo>
                    <a:pt x="698" y="859"/>
                  </a:lnTo>
                  <a:lnTo>
                    <a:pt x="700" y="857"/>
                  </a:lnTo>
                  <a:lnTo>
                    <a:pt x="700" y="857"/>
                  </a:lnTo>
                  <a:lnTo>
                    <a:pt x="700" y="855"/>
                  </a:lnTo>
                  <a:lnTo>
                    <a:pt x="700" y="855"/>
                  </a:lnTo>
                  <a:lnTo>
                    <a:pt x="700" y="855"/>
                  </a:lnTo>
                  <a:lnTo>
                    <a:pt x="700" y="855"/>
                  </a:lnTo>
                  <a:lnTo>
                    <a:pt x="700" y="855"/>
                  </a:lnTo>
                  <a:lnTo>
                    <a:pt x="705" y="850"/>
                  </a:lnTo>
                  <a:lnTo>
                    <a:pt x="707" y="850"/>
                  </a:lnTo>
                  <a:lnTo>
                    <a:pt x="709" y="850"/>
                  </a:lnTo>
                  <a:lnTo>
                    <a:pt x="719" y="850"/>
                  </a:lnTo>
                  <a:lnTo>
                    <a:pt x="721" y="853"/>
                  </a:lnTo>
                  <a:lnTo>
                    <a:pt x="723" y="853"/>
                  </a:lnTo>
                  <a:lnTo>
                    <a:pt x="725" y="853"/>
                  </a:lnTo>
                  <a:lnTo>
                    <a:pt x="727" y="853"/>
                  </a:lnTo>
                  <a:lnTo>
                    <a:pt x="727" y="850"/>
                  </a:lnTo>
                  <a:lnTo>
                    <a:pt x="729" y="850"/>
                  </a:lnTo>
                  <a:lnTo>
                    <a:pt x="729" y="850"/>
                  </a:lnTo>
                  <a:lnTo>
                    <a:pt x="729" y="850"/>
                  </a:lnTo>
                  <a:lnTo>
                    <a:pt x="729" y="848"/>
                  </a:lnTo>
                  <a:lnTo>
                    <a:pt x="729" y="846"/>
                  </a:lnTo>
                  <a:lnTo>
                    <a:pt x="729" y="846"/>
                  </a:lnTo>
                  <a:lnTo>
                    <a:pt x="731" y="846"/>
                  </a:lnTo>
                  <a:lnTo>
                    <a:pt x="731" y="846"/>
                  </a:lnTo>
                  <a:lnTo>
                    <a:pt x="733" y="846"/>
                  </a:lnTo>
                  <a:lnTo>
                    <a:pt x="733" y="848"/>
                  </a:lnTo>
                  <a:lnTo>
                    <a:pt x="733" y="848"/>
                  </a:lnTo>
                  <a:lnTo>
                    <a:pt x="733" y="848"/>
                  </a:lnTo>
                  <a:lnTo>
                    <a:pt x="735" y="850"/>
                  </a:lnTo>
                  <a:lnTo>
                    <a:pt x="735" y="850"/>
                  </a:lnTo>
                  <a:lnTo>
                    <a:pt x="735" y="850"/>
                  </a:lnTo>
                  <a:lnTo>
                    <a:pt x="735" y="850"/>
                  </a:lnTo>
                  <a:lnTo>
                    <a:pt x="735" y="850"/>
                  </a:lnTo>
                  <a:lnTo>
                    <a:pt x="737" y="850"/>
                  </a:lnTo>
                  <a:lnTo>
                    <a:pt x="737" y="850"/>
                  </a:lnTo>
                  <a:lnTo>
                    <a:pt x="737" y="850"/>
                  </a:lnTo>
                  <a:lnTo>
                    <a:pt x="737" y="850"/>
                  </a:lnTo>
                  <a:lnTo>
                    <a:pt x="739" y="850"/>
                  </a:lnTo>
                  <a:lnTo>
                    <a:pt x="739" y="850"/>
                  </a:lnTo>
                  <a:lnTo>
                    <a:pt x="737" y="853"/>
                  </a:lnTo>
                  <a:lnTo>
                    <a:pt x="737" y="853"/>
                  </a:lnTo>
                  <a:lnTo>
                    <a:pt x="737" y="853"/>
                  </a:lnTo>
                  <a:lnTo>
                    <a:pt x="739" y="853"/>
                  </a:lnTo>
                  <a:lnTo>
                    <a:pt x="741" y="853"/>
                  </a:lnTo>
                  <a:lnTo>
                    <a:pt x="741" y="853"/>
                  </a:lnTo>
                  <a:lnTo>
                    <a:pt x="739" y="853"/>
                  </a:lnTo>
                  <a:close/>
                  <a:moveTo>
                    <a:pt x="748" y="840"/>
                  </a:moveTo>
                  <a:lnTo>
                    <a:pt x="748" y="840"/>
                  </a:lnTo>
                  <a:lnTo>
                    <a:pt x="748" y="840"/>
                  </a:lnTo>
                  <a:lnTo>
                    <a:pt x="748" y="842"/>
                  </a:lnTo>
                  <a:lnTo>
                    <a:pt x="748" y="842"/>
                  </a:lnTo>
                  <a:lnTo>
                    <a:pt x="748" y="840"/>
                  </a:lnTo>
                  <a:close/>
                  <a:moveTo>
                    <a:pt x="782" y="832"/>
                  </a:moveTo>
                  <a:lnTo>
                    <a:pt x="782" y="832"/>
                  </a:lnTo>
                  <a:lnTo>
                    <a:pt x="782" y="832"/>
                  </a:lnTo>
                  <a:lnTo>
                    <a:pt x="782" y="832"/>
                  </a:lnTo>
                  <a:lnTo>
                    <a:pt x="782" y="832"/>
                  </a:lnTo>
                  <a:lnTo>
                    <a:pt x="782" y="832"/>
                  </a:lnTo>
                  <a:lnTo>
                    <a:pt x="780" y="832"/>
                  </a:lnTo>
                  <a:lnTo>
                    <a:pt x="778" y="832"/>
                  </a:lnTo>
                  <a:lnTo>
                    <a:pt x="778" y="832"/>
                  </a:lnTo>
                  <a:lnTo>
                    <a:pt x="778" y="832"/>
                  </a:lnTo>
                  <a:lnTo>
                    <a:pt x="778" y="832"/>
                  </a:lnTo>
                  <a:lnTo>
                    <a:pt x="778" y="832"/>
                  </a:lnTo>
                  <a:lnTo>
                    <a:pt x="778" y="832"/>
                  </a:lnTo>
                  <a:lnTo>
                    <a:pt x="778" y="832"/>
                  </a:lnTo>
                  <a:lnTo>
                    <a:pt x="778" y="834"/>
                  </a:lnTo>
                  <a:lnTo>
                    <a:pt x="780" y="834"/>
                  </a:lnTo>
                  <a:lnTo>
                    <a:pt x="780" y="834"/>
                  </a:lnTo>
                  <a:lnTo>
                    <a:pt x="780" y="834"/>
                  </a:lnTo>
                  <a:lnTo>
                    <a:pt x="780" y="832"/>
                  </a:lnTo>
                  <a:lnTo>
                    <a:pt x="780" y="832"/>
                  </a:lnTo>
                  <a:lnTo>
                    <a:pt x="780" y="832"/>
                  </a:lnTo>
                  <a:lnTo>
                    <a:pt x="782" y="834"/>
                  </a:lnTo>
                  <a:lnTo>
                    <a:pt x="782" y="834"/>
                  </a:lnTo>
                  <a:lnTo>
                    <a:pt x="780" y="834"/>
                  </a:lnTo>
                  <a:lnTo>
                    <a:pt x="780" y="836"/>
                  </a:lnTo>
                  <a:lnTo>
                    <a:pt x="780" y="836"/>
                  </a:lnTo>
                  <a:lnTo>
                    <a:pt x="780" y="836"/>
                  </a:lnTo>
                  <a:lnTo>
                    <a:pt x="780" y="836"/>
                  </a:lnTo>
                  <a:lnTo>
                    <a:pt x="782" y="838"/>
                  </a:lnTo>
                  <a:lnTo>
                    <a:pt x="782" y="836"/>
                  </a:lnTo>
                  <a:lnTo>
                    <a:pt x="782" y="836"/>
                  </a:lnTo>
                  <a:lnTo>
                    <a:pt x="782" y="836"/>
                  </a:lnTo>
                  <a:lnTo>
                    <a:pt x="784" y="836"/>
                  </a:lnTo>
                  <a:lnTo>
                    <a:pt x="784" y="836"/>
                  </a:lnTo>
                  <a:lnTo>
                    <a:pt x="784" y="834"/>
                  </a:lnTo>
                  <a:lnTo>
                    <a:pt x="784" y="834"/>
                  </a:lnTo>
                  <a:lnTo>
                    <a:pt x="784" y="834"/>
                  </a:lnTo>
                  <a:lnTo>
                    <a:pt x="782" y="832"/>
                  </a:lnTo>
                  <a:close/>
                  <a:moveTo>
                    <a:pt x="778" y="840"/>
                  </a:moveTo>
                  <a:lnTo>
                    <a:pt x="776" y="838"/>
                  </a:lnTo>
                  <a:lnTo>
                    <a:pt x="776" y="838"/>
                  </a:lnTo>
                  <a:lnTo>
                    <a:pt x="776" y="838"/>
                  </a:lnTo>
                  <a:lnTo>
                    <a:pt x="776" y="838"/>
                  </a:lnTo>
                  <a:lnTo>
                    <a:pt x="778" y="840"/>
                  </a:lnTo>
                  <a:lnTo>
                    <a:pt x="778" y="840"/>
                  </a:lnTo>
                  <a:lnTo>
                    <a:pt x="778" y="840"/>
                  </a:lnTo>
                  <a:lnTo>
                    <a:pt x="778" y="840"/>
                  </a:lnTo>
                  <a:lnTo>
                    <a:pt x="778" y="840"/>
                  </a:lnTo>
                  <a:close/>
                  <a:moveTo>
                    <a:pt x="762" y="857"/>
                  </a:moveTo>
                  <a:lnTo>
                    <a:pt x="762" y="857"/>
                  </a:lnTo>
                  <a:lnTo>
                    <a:pt x="760" y="857"/>
                  </a:lnTo>
                  <a:lnTo>
                    <a:pt x="760" y="857"/>
                  </a:lnTo>
                  <a:lnTo>
                    <a:pt x="762" y="857"/>
                  </a:lnTo>
                  <a:lnTo>
                    <a:pt x="760" y="857"/>
                  </a:lnTo>
                  <a:lnTo>
                    <a:pt x="760" y="857"/>
                  </a:lnTo>
                  <a:lnTo>
                    <a:pt x="760" y="857"/>
                  </a:lnTo>
                  <a:lnTo>
                    <a:pt x="760" y="857"/>
                  </a:lnTo>
                  <a:lnTo>
                    <a:pt x="760" y="857"/>
                  </a:lnTo>
                  <a:lnTo>
                    <a:pt x="760" y="857"/>
                  </a:lnTo>
                  <a:lnTo>
                    <a:pt x="760" y="857"/>
                  </a:lnTo>
                  <a:lnTo>
                    <a:pt x="760" y="857"/>
                  </a:lnTo>
                  <a:lnTo>
                    <a:pt x="760" y="857"/>
                  </a:lnTo>
                  <a:lnTo>
                    <a:pt x="762" y="857"/>
                  </a:lnTo>
                  <a:lnTo>
                    <a:pt x="762" y="857"/>
                  </a:lnTo>
                  <a:lnTo>
                    <a:pt x="762" y="857"/>
                  </a:lnTo>
                  <a:lnTo>
                    <a:pt x="762" y="857"/>
                  </a:lnTo>
                  <a:lnTo>
                    <a:pt x="762" y="857"/>
                  </a:lnTo>
                  <a:lnTo>
                    <a:pt x="762" y="857"/>
                  </a:lnTo>
                  <a:close/>
                  <a:moveTo>
                    <a:pt x="776" y="836"/>
                  </a:moveTo>
                  <a:lnTo>
                    <a:pt x="776" y="836"/>
                  </a:lnTo>
                  <a:lnTo>
                    <a:pt x="776" y="836"/>
                  </a:lnTo>
                  <a:lnTo>
                    <a:pt x="776" y="836"/>
                  </a:lnTo>
                  <a:lnTo>
                    <a:pt x="776" y="838"/>
                  </a:lnTo>
                  <a:lnTo>
                    <a:pt x="776" y="838"/>
                  </a:lnTo>
                  <a:lnTo>
                    <a:pt x="776" y="836"/>
                  </a:lnTo>
                  <a:lnTo>
                    <a:pt x="776" y="836"/>
                  </a:lnTo>
                  <a:lnTo>
                    <a:pt x="776" y="836"/>
                  </a:lnTo>
                  <a:close/>
                  <a:moveTo>
                    <a:pt x="766" y="838"/>
                  </a:moveTo>
                  <a:lnTo>
                    <a:pt x="764" y="838"/>
                  </a:lnTo>
                  <a:lnTo>
                    <a:pt x="764" y="840"/>
                  </a:lnTo>
                  <a:lnTo>
                    <a:pt x="762" y="840"/>
                  </a:lnTo>
                  <a:lnTo>
                    <a:pt x="762" y="840"/>
                  </a:lnTo>
                  <a:lnTo>
                    <a:pt x="760" y="842"/>
                  </a:lnTo>
                  <a:lnTo>
                    <a:pt x="760" y="842"/>
                  </a:lnTo>
                  <a:lnTo>
                    <a:pt x="760" y="842"/>
                  </a:lnTo>
                  <a:lnTo>
                    <a:pt x="762" y="844"/>
                  </a:lnTo>
                  <a:lnTo>
                    <a:pt x="762" y="846"/>
                  </a:lnTo>
                  <a:lnTo>
                    <a:pt x="762" y="846"/>
                  </a:lnTo>
                  <a:lnTo>
                    <a:pt x="764" y="846"/>
                  </a:lnTo>
                  <a:lnTo>
                    <a:pt x="764" y="846"/>
                  </a:lnTo>
                  <a:lnTo>
                    <a:pt x="766" y="844"/>
                  </a:lnTo>
                  <a:lnTo>
                    <a:pt x="766" y="842"/>
                  </a:lnTo>
                  <a:lnTo>
                    <a:pt x="766" y="842"/>
                  </a:lnTo>
                  <a:lnTo>
                    <a:pt x="766" y="842"/>
                  </a:lnTo>
                  <a:lnTo>
                    <a:pt x="766" y="840"/>
                  </a:lnTo>
                  <a:lnTo>
                    <a:pt x="766" y="840"/>
                  </a:lnTo>
                  <a:lnTo>
                    <a:pt x="766" y="838"/>
                  </a:lnTo>
                  <a:close/>
                  <a:moveTo>
                    <a:pt x="27" y="738"/>
                  </a:moveTo>
                  <a:lnTo>
                    <a:pt x="23" y="738"/>
                  </a:lnTo>
                  <a:lnTo>
                    <a:pt x="23" y="738"/>
                  </a:lnTo>
                  <a:lnTo>
                    <a:pt x="23" y="738"/>
                  </a:lnTo>
                  <a:lnTo>
                    <a:pt x="23" y="738"/>
                  </a:lnTo>
                  <a:lnTo>
                    <a:pt x="21" y="738"/>
                  </a:lnTo>
                  <a:lnTo>
                    <a:pt x="21" y="738"/>
                  </a:lnTo>
                  <a:lnTo>
                    <a:pt x="21" y="738"/>
                  </a:lnTo>
                  <a:lnTo>
                    <a:pt x="21" y="738"/>
                  </a:lnTo>
                  <a:lnTo>
                    <a:pt x="21" y="738"/>
                  </a:lnTo>
                  <a:lnTo>
                    <a:pt x="18" y="738"/>
                  </a:lnTo>
                  <a:lnTo>
                    <a:pt x="18" y="738"/>
                  </a:lnTo>
                  <a:lnTo>
                    <a:pt x="18" y="738"/>
                  </a:lnTo>
                  <a:lnTo>
                    <a:pt x="16" y="738"/>
                  </a:lnTo>
                  <a:lnTo>
                    <a:pt x="16" y="738"/>
                  </a:lnTo>
                  <a:lnTo>
                    <a:pt x="16" y="738"/>
                  </a:lnTo>
                  <a:lnTo>
                    <a:pt x="16" y="738"/>
                  </a:lnTo>
                  <a:lnTo>
                    <a:pt x="14" y="738"/>
                  </a:lnTo>
                  <a:lnTo>
                    <a:pt x="14" y="738"/>
                  </a:lnTo>
                  <a:lnTo>
                    <a:pt x="14" y="738"/>
                  </a:lnTo>
                  <a:lnTo>
                    <a:pt x="14" y="738"/>
                  </a:lnTo>
                  <a:lnTo>
                    <a:pt x="16" y="740"/>
                  </a:lnTo>
                  <a:lnTo>
                    <a:pt x="18" y="742"/>
                  </a:lnTo>
                  <a:lnTo>
                    <a:pt x="21" y="742"/>
                  </a:lnTo>
                  <a:lnTo>
                    <a:pt x="21" y="742"/>
                  </a:lnTo>
                  <a:lnTo>
                    <a:pt x="21" y="744"/>
                  </a:lnTo>
                  <a:lnTo>
                    <a:pt x="21" y="744"/>
                  </a:lnTo>
                  <a:lnTo>
                    <a:pt x="21" y="744"/>
                  </a:lnTo>
                  <a:lnTo>
                    <a:pt x="21" y="744"/>
                  </a:lnTo>
                  <a:lnTo>
                    <a:pt x="21" y="744"/>
                  </a:lnTo>
                  <a:lnTo>
                    <a:pt x="21" y="744"/>
                  </a:lnTo>
                  <a:lnTo>
                    <a:pt x="21" y="744"/>
                  </a:lnTo>
                  <a:lnTo>
                    <a:pt x="21" y="744"/>
                  </a:lnTo>
                  <a:lnTo>
                    <a:pt x="21" y="744"/>
                  </a:lnTo>
                  <a:lnTo>
                    <a:pt x="23" y="746"/>
                  </a:lnTo>
                  <a:lnTo>
                    <a:pt x="23" y="744"/>
                  </a:lnTo>
                  <a:lnTo>
                    <a:pt x="23" y="744"/>
                  </a:lnTo>
                  <a:lnTo>
                    <a:pt x="23" y="742"/>
                  </a:lnTo>
                  <a:lnTo>
                    <a:pt x="23" y="742"/>
                  </a:lnTo>
                  <a:lnTo>
                    <a:pt x="25" y="740"/>
                  </a:lnTo>
                  <a:lnTo>
                    <a:pt x="25" y="740"/>
                  </a:lnTo>
                  <a:lnTo>
                    <a:pt x="27" y="740"/>
                  </a:lnTo>
                  <a:lnTo>
                    <a:pt x="27" y="740"/>
                  </a:lnTo>
                  <a:lnTo>
                    <a:pt x="27" y="738"/>
                  </a:lnTo>
                  <a:close/>
                  <a:moveTo>
                    <a:pt x="231" y="883"/>
                  </a:moveTo>
                  <a:lnTo>
                    <a:pt x="231" y="883"/>
                  </a:lnTo>
                  <a:lnTo>
                    <a:pt x="231" y="883"/>
                  </a:lnTo>
                  <a:lnTo>
                    <a:pt x="229" y="883"/>
                  </a:lnTo>
                  <a:lnTo>
                    <a:pt x="229" y="883"/>
                  </a:lnTo>
                  <a:lnTo>
                    <a:pt x="231" y="883"/>
                  </a:lnTo>
                  <a:lnTo>
                    <a:pt x="231" y="883"/>
                  </a:lnTo>
                  <a:lnTo>
                    <a:pt x="231" y="885"/>
                  </a:lnTo>
                  <a:lnTo>
                    <a:pt x="231" y="885"/>
                  </a:lnTo>
                  <a:lnTo>
                    <a:pt x="231" y="883"/>
                  </a:lnTo>
                  <a:lnTo>
                    <a:pt x="231" y="883"/>
                  </a:lnTo>
                  <a:lnTo>
                    <a:pt x="231" y="883"/>
                  </a:lnTo>
                  <a:close/>
                  <a:moveTo>
                    <a:pt x="315" y="898"/>
                  </a:moveTo>
                  <a:lnTo>
                    <a:pt x="315" y="898"/>
                  </a:lnTo>
                  <a:lnTo>
                    <a:pt x="315" y="900"/>
                  </a:lnTo>
                  <a:lnTo>
                    <a:pt x="313" y="898"/>
                  </a:lnTo>
                  <a:lnTo>
                    <a:pt x="313" y="898"/>
                  </a:lnTo>
                  <a:lnTo>
                    <a:pt x="315" y="898"/>
                  </a:lnTo>
                  <a:lnTo>
                    <a:pt x="315" y="898"/>
                  </a:lnTo>
                  <a:lnTo>
                    <a:pt x="315" y="898"/>
                  </a:lnTo>
                  <a:lnTo>
                    <a:pt x="315" y="898"/>
                  </a:lnTo>
                  <a:lnTo>
                    <a:pt x="315" y="898"/>
                  </a:lnTo>
                  <a:lnTo>
                    <a:pt x="313" y="898"/>
                  </a:lnTo>
                  <a:lnTo>
                    <a:pt x="313" y="898"/>
                  </a:lnTo>
                  <a:lnTo>
                    <a:pt x="311" y="898"/>
                  </a:lnTo>
                  <a:lnTo>
                    <a:pt x="311" y="898"/>
                  </a:lnTo>
                  <a:lnTo>
                    <a:pt x="315" y="900"/>
                  </a:lnTo>
                  <a:lnTo>
                    <a:pt x="315" y="900"/>
                  </a:lnTo>
                  <a:lnTo>
                    <a:pt x="315" y="900"/>
                  </a:lnTo>
                  <a:lnTo>
                    <a:pt x="315" y="900"/>
                  </a:lnTo>
                  <a:lnTo>
                    <a:pt x="315" y="900"/>
                  </a:lnTo>
                  <a:lnTo>
                    <a:pt x="315" y="898"/>
                  </a:lnTo>
                  <a:lnTo>
                    <a:pt x="315" y="898"/>
                  </a:lnTo>
                  <a:close/>
                  <a:moveTo>
                    <a:pt x="238" y="894"/>
                  </a:moveTo>
                  <a:lnTo>
                    <a:pt x="238" y="894"/>
                  </a:lnTo>
                  <a:lnTo>
                    <a:pt x="238" y="894"/>
                  </a:lnTo>
                  <a:lnTo>
                    <a:pt x="238" y="894"/>
                  </a:lnTo>
                  <a:lnTo>
                    <a:pt x="238" y="894"/>
                  </a:lnTo>
                  <a:lnTo>
                    <a:pt x="238" y="894"/>
                  </a:lnTo>
                  <a:close/>
                  <a:moveTo>
                    <a:pt x="225" y="883"/>
                  </a:moveTo>
                  <a:lnTo>
                    <a:pt x="223" y="883"/>
                  </a:lnTo>
                  <a:lnTo>
                    <a:pt x="223" y="883"/>
                  </a:lnTo>
                  <a:lnTo>
                    <a:pt x="223" y="883"/>
                  </a:lnTo>
                  <a:lnTo>
                    <a:pt x="223" y="881"/>
                  </a:lnTo>
                  <a:lnTo>
                    <a:pt x="223" y="881"/>
                  </a:lnTo>
                  <a:lnTo>
                    <a:pt x="223" y="881"/>
                  </a:lnTo>
                  <a:lnTo>
                    <a:pt x="223" y="881"/>
                  </a:lnTo>
                  <a:lnTo>
                    <a:pt x="223" y="881"/>
                  </a:lnTo>
                  <a:lnTo>
                    <a:pt x="223" y="883"/>
                  </a:lnTo>
                  <a:lnTo>
                    <a:pt x="223" y="883"/>
                  </a:lnTo>
                  <a:lnTo>
                    <a:pt x="223" y="883"/>
                  </a:lnTo>
                  <a:lnTo>
                    <a:pt x="223" y="883"/>
                  </a:lnTo>
                  <a:lnTo>
                    <a:pt x="223" y="883"/>
                  </a:lnTo>
                  <a:lnTo>
                    <a:pt x="225" y="883"/>
                  </a:lnTo>
                  <a:lnTo>
                    <a:pt x="225" y="885"/>
                  </a:lnTo>
                  <a:lnTo>
                    <a:pt x="225" y="883"/>
                  </a:lnTo>
                  <a:lnTo>
                    <a:pt x="225" y="883"/>
                  </a:lnTo>
                  <a:lnTo>
                    <a:pt x="225" y="883"/>
                  </a:lnTo>
                  <a:close/>
                  <a:moveTo>
                    <a:pt x="229" y="883"/>
                  </a:moveTo>
                  <a:lnTo>
                    <a:pt x="229" y="883"/>
                  </a:lnTo>
                  <a:lnTo>
                    <a:pt x="229" y="881"/>
                  </a:lnTo>
                  <a:lnTo>
                    <a:pt x="229" y="881"/>
                  </a:lnTo>
                  <a:lnTo>
                    <a:pt x="227" y="881"/>
                  </a:lnTo>
                  <a:lnTo>
                    <a:pt x="227" y="881"/>
                  </a:lnTo>
                  <a:lnTo>
                    <a:pt x="227" y="883"/>
                  </a:lnTo>
                  <a:lnTo>
                    <a:pt x="227" y="883"/>
                  </a:lnTo>
                  <a:lnTo>
                    <a:pt x="227" y="883"/>
                  </a:lnTo>
                  <a:lnTo>
                    <a:pt x="227" y="883"/>
                  </a:lnTo>
                  <a:lnTo>
                    <a:pt x="229" y="883"/>
                  </a:lnTo>
                  <a:lnTo>
                    <a:pt x="229" y="883"/>
                  </a:lnTo>
                  <a:lnTo>
                    <a:pt x="229" y="883"/>
                  </a:lnTo>
                  <a:lnTo>
                    <a:pt x="229" y="883"/>
                  </a:lnTo>
                  <a:lnTo>
                    <a:pt x="229" y="883"/>
                  </a:lnTo>
                  <a:lnTo>
                    <a:pt x="229" y="883"/>
                  </a:lnTo>
                  <a:lnTo>
                    <a:pt x="229" y="883"/>
                  </a:lnTo>
                  <a:close/>
                  <a:moveTo>
                    <a:pt x="260" y="883"/>
                  </a:moveTo>
                  <a:lnTo>
                    <a:pt x="260" y="883"/>
                  </a:lnTo>
                  <a:lnTo>
                    <a:pt x="262" y="883"/>
                  </a:lnTo>
                  <a:lnTo>
                    <a:pt x="262" y="883"/>
                  </a:lnTo>
                  <a:lnTo>
                    <a:pt x="264" y="883"/>
                  </a:lnTo>
                  <a:lnTo>
                    <a:pt x="264" y="883"/>
                  </a:lnTo>
                  <a:lnTo>
                    <a:pt x="264" y="883"/>
                  </a:lnTo>
                  <a:lnTo>
                    <a:pt x="264" y="883"/>
                  </a:lnTo>
                  <a:lnTo>
                    <a:pt x="262" y="881"/>
                  </a:lnTo>
                  <a:lnTo>
                    <a:pt x="258" y="881"/>
                  </a:lnTo>
                  <a:lnTo>
                    <a:pt x="258" y="879"/>
                  </a:lnTo>
                  <a:lnTo>
                    <a:pt x="256" y="879"/>
                  </a:lnTo>
                  <a:lnTo>
                    <a:pt x="258" y="879"/>
                  </a:lnTo>
                  <a:lnTo>
                    <a:pt x="258" y="877"/>
                  </a:lnTo>
                  <a:lnTo>
                    <a:pt x="258" y="877"/>
                  </a:lnTo>
                  <a:lnTo>
                    <a:pt x="256" y="877"/>
                  </a:lnTo>
                  <a:lnTo>
                    <a:pt x="256" y="875"/>
                  </a:lnTo>
                  <a:lnTo>
                    <a:pt x="256" y="875"/>
                  </a:lnTo>
                  <a:lnTo>
                    <a:pt x="250" y="873"/>
                  </a:lnTo>
                  <a:lnTo>
                    <a:pt x="250" y="873"/>
                  </a:lnTo>
                  <a:lnTo>
                    <a:pt x="248" y="875"/>
                  </a:lnTo>
                  <a:lnTo>
                    <a:pt x="248" y="875"/>
                  </a:lnTo>
                  <a:lnTo>
                    <a:pt x="250" y="879"/>
                  </a:lnTo>
                  <a:lnTo>
                    <a:pt x="250" y="879"/>
                  </a:lnTo>
                  <a:lnTo>
                    <a:pt x="250" y="881"/>
                  </a:lnTo>
                  <a:lnTo>
                    <a:pt x="252" y="881"/>
                  </a:lnTo>
                  <a:lnTo>
                    <a:pt x="252" y="881"/>
                  </a:lnTo>
                  <a:lnTo>
                    <a:pt x="254" y="883"/>
                  </a:lnTo>
                  <a:lnTo>
                    <a:pt x="252" y="883"/>
                  </a:lnTo>
                  <a:lnTo>
                    <a:pt x="252" y="885"/>
                  </a:lnTo>
                  <a:lnTo>
                    <a:pt x="252" y="885"/>
                  </a:lnTo>
                  <a:lnTo>
                    <a:pt x="252" y="885"/>
                  </a:lnTo>
                  <a:lnTo>
                    <a:pt x="250" y="885"/>
                  </a:lnTo>
                  <a:lnTo>
                    <a:pt x="250" y="885"/>
                  </a:lnTo>
                  <a:lnTo>
                    <a:pt x="250" y="885"/>
                  </a:lnTo>
                  <a:lnTo>
                    <a:pt x="248" y="885"/>
                  </a:lnTo>
                  <a:lnTo>
                    <a:pt x="248" y="885"/>
                  </a:lnTo>
                  <a:lnTo>
                    <a:pt x="248" y="885"/>
                  </a:lnTo>
                  <a:lnTo>
                    <a:pt x="248" y="887"/>
                  </a:lnTo>
                  <a:lnTo>
                    <a:pt x="248" y="887"/>
                  </a:lnTo>
                  <a:lnTo>
                    <a:pt x="248" y="887"/>
                  </a:lnTo>
                  <a:lnTo>
                    <a:pt x="250" y="887"/>
                  </a:lnTo>
                  <a:lnTo>
                    <a:pt x="250" y="889"/>
                  </a:lnTo>
                  <a:lnTo>
                    <a:pt x="250" y="889"/>
                  </a:lnTo>
                  <a:lnTo>
                    <a:pt x="250" y="889"/>
                  </a:lnTo>
                  <a:lnTo>
                    <a:pt x="250" y="891"/>
                  </a:lnTo>
                  <a:lnTo>
                    <a:pt x="250" y="891"/>
                  </a:lnTo>
                  <a:lnTo>
                    <a:pt x="250" y="891"/>
                  </a:lnTo>
                  <a:lnTo>
                    <a:pt x="252" y="891"/>
                  </a:lnTo>
                  <a:lnTo>
                    <a:pt x="252" y="891"/>
                  </a:lnTo>
                  <a:lnTo>
                    <a:pt x="252" y="891"/>
                  </a:lnTo>
                  <a:lnTo>
                    <a:pt x="252" y="889"/>
                  </a:lnTo>
                  <a:lnTo>
                    <a:pt x="252" y="889"/>
                  </a:lnTo>
                  <a:lnTo>
                    <a:pt x="252" y="889"/>
                  </a:lnTo>
                  <a:lnTo>
                    <a:pt x="252" y="887"/>
                  </a:lnTo>
                  <a:lnTo>
                    <a:pt x="252" y="887"/>
                  </a:lnTo>
                  <a:lnTo>
                    <a:pt x="254" y="887"/>
                  </a:lnTo>
                  <a:lnTo>
                    <a:pt x="254" y="887"/>
                  </a:lnTo>
                  <a:lnTo>
                    <a:pt x="254" y="887"/>
                  </a:lnTo>
                  <a:lnTo>
                    <a:pt x="254" y="887"/>
                  </a:lnTo>
                  <a:lnTo>
                    <a:pt x="254" y="889"/>
                  </a:lnTo>
                  <a:lnTo>
                    <a:pt x="256" y="889"/>
                  </a:lnTo>
                  <a:lnTo>
                    <a:pt x="256" y="887"/>
                  </a:lnTo>
                  <a:lnTo>
                    <a:pt x="256" y="887"/>
                  </a:lnTo>
                  <a:lnTo>
                    <a:pt x="256" y="887"/>
                  </a:lnTo>
                  <a:lnTo>
                    <a:pt x="258" y="885"/>
                  </a:lnTo>
                  <a:lnTo>
                    <a:pt x="258" y="885"/>
                  </a:lnTo>
                  <a:lnTo>
                    <a:pt x="258" y="885"/>
                  </a:lnTo>
                  <a:lnTo>
                    <a:pt x="258" y="885"/>
                  </a:lnTo>
                  <a:lnTo>
                    <a:pt x="258" y="883"/>
                  </a:lnTo>
                  <a:lnTo>
                    <a:pt x="258" y="883"/>
                  </a:lnTo>
                  <a:lnTo>
                    <a:pt x="258" y="883"/>
                  </a:lnTo>
                  <a:lnTo>
                    <a:pt x="260" y="883"/>
                  </a:lnTo>
                  <a:close/>
                  <a:moveTo>
                    <a:pt x="270" y="883"/>
                  </a:moveTo>
                  <a:lnTo>
                    <a:pt x="270" y="883"/>
                  </a:lnTo>
                  <a:lnTo>
                    <a:pt x="272" y="883"/>
                  </a:lnTo>
                  <a:lnTo>
                    <a:pt x="272" y="883"/>
                  </a:lnTo>
                  <a:lnTo>
                    <a:pt x="272" y="881"/>
                  </a:lnTo>
                  <a:lnTo>
                    <a:pt x="272" y="881"/>
                  </a:lnTo>
                  <a:lnTo>
                    <a:pt x="272" y="881"/>
                  </a:lnTo>
                  <a:lnTo>
                    <a:pt x="270" y="881"/>
                  </a:lnTo>
                  <a:lnTo>
                    <a:pt x="270" y="881"/>
                  </a:lnTo>
                  <a:lnTo>
                    <a:pt x="270" y="881"/>
                  </a:lnTo>
                  <a:lnTo>
                    <a:pt x="270" y="881"/>
                  </a:lnTo>
                  <a:lnTo>
                    <a:pt x="270" y="883"/>
                  </a:lnTo>
                  <a:lnTo>
                    <a:pt x="270" y="883"/>
                  </a:lnTo>
                  <a:close/>
                  <a:moveTo>
                    <a:pt x="303" y="898"/>
                  </a:moveTo>
                  <a:lnTo>
                    <a:pt x="305" y="898"/>
                  </a:lnTo>
                  <a:lnTo>
                    <a:pt x="305" y="898"/>
                  </a:lnTo>
                  <a:lnTo>
                    <a:pt x="305" y="898"/>
                  </a:lnTo>
                  <a:lnTo>
                    <a:pt x="305" y="896"/>
                  </a:lnTo>
                  <a:lnTo>
                    <a:pt x="303" y="896"/>
                  </a:lnTo>
                  <a:lnTo>
                    <a:pt x="303" y="896"/>
                  </a:lnTo>
                  <a:lnTo>
                    <a:pt x="301" y="896"/>
                  </a:lnTo>
                  <a:lnTo>
                    <a:pt x="301" y="898"/>
                  </a:lnTo>
                  <a:lnTo>
                    <a:pt x="301" y="898"/>
                  </a:lnTo>
                  <a:lnTo>
                    <a:pt x="301" y="898"/>
                  </a:lnTo>
                  <a:lnTo>
                    <a:pt x="301" y="898"/>
                  </a:lnTo>
                  <a:lnTo>
                    <a:pt x="301" y="898"/>
                  </a:lnTo>
                  <a:lnTo>
                    <a:pt x="301" y="900"/>
                  </a:lnTo>
                  <a:lnTo>
                    <a:pt x="301" y="902"/>
                  </a:lnTo>
                  <a:lnTo>
                    <a:pt x="301" y="902"/>
                  </a:lnTo>
                  <a:lnTo>
                    <a:pt x="301" y="902"/>
                  </a:lnTo>
                  <a:lnTo>
                    <a:pt x="301" y="902"/>
                  </a:lnTo>
                  <a:lnTo>
                    <a:pt x="301" y="902"/>
                  </a:lnTo>
                  <a:lnTo>
                    <a:pt x="301" y="902"/>
                  </a:lnTo>
                  <a:lnTo>
                    <a:pt x="301" y="902"/>
                  </a:lnTo>
                  <a:lnTo>
                    <a:pt x="303" y="902"/>
                  </a:lnTo>
                  <a:lnTo>
                    <a:pt x="303" y="902"/>
                  </a:lnTo>
                  <a:lnTo>
                    <a:pt x="303" y="902"/>
                  </a:lnTo>
                  <a:lnTo>
                    <a:pt x="303" y="902"/>
                  </a:lnTo>
                  <a:lnTo>
                    <a:pt x="303" y="902"/>
                  </a:lnTo>
                  <a:lnTo>
                    <a:pt x="303" y="902"/>
                  </a:lnTo>
                  <a:lnTo>
                    <a:pt x="305" y="902"/>
                  </a:lnTo>
                  <a:lnTo>
                    <a:pt x="305" y="902"/>
                  </a:lnTo>
                  <a:lnTo>
                    <a:pt x="305" y="902"/>
                  </a:lnTo>
                  <a:lnTo>
                    <a:pt x="305" y="902"/>
                  </a:lnTo>
                  <a:lnTo>
                    <a:pt x="305" y="900"/>
                  </a:lnTo>
                  <a:lnTo>
                    <a:pt x="305" y="900"/>
                  </a:lnTo>
                  <a:lnTo>
                    <a:pt x="305" y="900"/>
                  </a:lnTo>
                  <a:lnTo>
                    <a:pt x="305" y="900"/>
                  </a:lnTo>
                  <a:lnTo>
                    <a:pt x="305" y="900"/>
                  </a:lnTo>
                  <a:lnTo>
                    <a:pt x="305" y="900"/>
                  </a:lnTo>
                  <a:lnTo>
                    <a:pt x="305" y="898"/>
                  </a:lnTo>
                  <a:lnTo>
                    <a:pt x="305" y="898"/>
                  </a:lnTo>
                  <a:lnTo>
                    <a:pt x="303" y="900"/>
                  </a:lnTo>
                  <a:lnTo>
                    <a:pt x="303" y="898"/>
                  </a:lnTo>
                  <a:lnTo>
                    <a:pt x="303" y="898"/>
                  </a:lnTo>
                  <a:lnTo>
                    <a:pt x="303" y="898"/>
                  </a:lnTo>
                  <a:lnTo>
                    <a:pt x="303" y="898"/>
                  </a:lnTo>
                  <a:lnTo>
                    <a:pt x="303" y="898"/>
                  </a:lnTo>
                  <a:lnTo>
                    <a:pt x="303" y="898"/>
                  </a:lnTo>
                  <a:lnTo>
                    <a:pt x="303" y="898"/>
                  </a:lnTo>
                  <a:close/>
                  <a:moveTo>
                    <a:pt x="313" y="902"/>
                  </a:moveTo>
                  <a:lnTo>
                    <a:pt x="313" y="902"/>
                  </a:lnTo>
                  <a:lnTo>
                    <a:pt x="313" y="900"/>
                  </a:lnTo>
                  <a:lnTo>
                    <a:pt x="311" y="900"/>
                  </a:lnTo>
                  <a:lnTo>
                    <a:pt x="311" y="900"/>
                  </a:lnTo>
                  <a:lnTo>
                    <a:pt x="311" y="900"/>
                  </a:lnTo>
                  <a:lnTo>
                    <a:pt x="311" y="900"/>
                  </a:lnTo>
                  <a:lnTo>
                    <a:pt x="311" y="900"/>
                  </a:lnTo>
                  <a:lnTo>
                    <a:pt x="311" y="898"/>
                  </a:lnTo>
                  <a:lnTo>
                    <a:pt x="311" y="898"/>
                  </a:lnTo>
                  <a:lnTo>
                    <a:pt x="309" y="898"/>
                  </a:lnTo>
                  <a:lnTo>
                    <a:pt x="309" y="898"/>
                  </a:lnTo>
                  <a:lnTo>
                    <a:pt x="309" y="898"/>
                  </a:lnTo>
                  <a:lnTo>
                    <a:pt x="309" y="896"/>
                  </a:lnTo>
                  <a:lnTo>
                    <a:pt x="309" y="898"/>
                  </a:lnTo>
                  <a:lnTo>
                    <a:pt x="307" y="898"/>
                  </a:lnTo>
                  <a:lnTo>
                    <a:pt x="307" y="898"/>
                  </a:lnTo>
                  <a:lnTo>
                    <a:pt x="307" y="898"/>
                  </a:lnTo>
                  <a:lnTo>
                    <a:pt x="307" y="898"/>
                  </a:lnTo>
                  <a:lnTo>
                    <a:pt x="307" y="900"/>
                  </a:lnTo>
                  <a:lnTo>
                    <a:pt x="307" y="900"/>
                  </a:lnTo>
                  <a:lnTo>
                    <a:pt x="307" y="900"/>
                  </a:lnTo>
                  <a:lnTo>
                    <a:pt x="307" y="900"/>
                  </a:lnTo>
                  <a:lnTo>
                    <a:pt x="309" y="900"/>
                  </a:lnTo>
                  <a:lnTo>
                    <a:pt x="309" y="900"/>
                  </a:lnTo>
                  <a:lnTo>
                    <a:pt x="309" y="900"/>
                  </a:lnTo>
                  <a:lnTo>
                    <a:pt x="309" y="902"/>
                  </a:lnTo>
                  <a:lnTo>
                    <a:pt x="307" y="902"/>
                  </a:lnTo>
                  <a:lnTo>
                    <a:pt x="309" y="902"/>
                  </a:lnTo>
                  <a:lnTo>
                    <a:pt x="309" y="902"/>
                  </a:lnTo>
                  <a:lnTo>
                    <a:pt x="309" y="902"/>
                  </a:lnTo>
                  <a:lnTo>
                    <a:pt x="309" y="902"/>
                  </a:lnTo>
                  <a:lnTo>
                    <a:pt x="309" y="902"/>
                  </a:lnTo>
                  <a:lnTo>
                    <a:pt x="309" y="902"/>
                  </a:lnTo>
                  <a:lnTo>
                    <a:pt x="309" y="900"/>
                  </a:lnTo>
                  <a:lnTo>
                    <a:pt x="309" y="900"/>
                  </a:lnTo>
                  <a:lnTo>
                    <a:pt x="309" y="900"/>
                  </a:lnTo>
                  <a:lnTo>
                    <a:pt x="309" y="902"/>
                  </a:lnTo>
                  <a:lnTo>
                    <a:pt x="309" y="902"/>
                  </a:lnTo>
                  <a:lnTo>
                    <a:pt x="311" y="902"/>
                  </a:lnTo>
                  <a:lnTo>
                    <a:pt x="311" y="902"/>
                  </a:lnTo>
                  <a:lnTo>
                    <a:pt x="311" y="900"/>
                  </a:lnTo>
                  <a:lnTo>
                    <a:pt x="311" y="900"/>
                  </a:lnTo>
                  <a:lnTo>
                    <a:pt x="311" y="902"/>
                  </a:lnTo>
                  <a:lnTo>
                    <a:pt x="311" y="902"/>
                  </a:lnTo>
                  <a:lnTo>
                    <a:pt x="313" y="902"/>
                  </a:lnTo>
                  <a:lnTo>
                    <a:pt x="313" y="902"/>
                  </a:lnTo>
                  <a:lnTo>
                    <a:pt x="313" y="902"/>
                  </a:lnTo>
                  <a:lnTo>
                    <a:pt x="313" y="902"/>
                  </a:lnTo>
                  <a:lnTo>
                    <a:pt x="313" y="902"/>
                  </a:lnTo>
                  <a:lnTo>
                    <a:pt x="313" y="902"/>
                  </a:lnTo>
                  <a:close/>
                  <a:moveTo>
                    <a:pt x="283" y="887"/>
                  </a:moveTo>
                  <a:lnTo>
                    <a:pt x="283" y="887"/>
                  </a:lnTo>
                  <a:lnTo>
                    <a:pt x="283" y="887"/>
                  </a:lnTo>
                  <a:lnTo>
                    <a:pt x="283" y="887"/>
                  </a:lnTo>
                  <a:lnTo>
                    <a:pt x="283" y="887"/>
                  </a:lnTo>
                  <a:lnTo>
                    <a:pt x="283" y="885"/>
                  </a:lnTo>
                  <a:lnTo>
                    <a:pt x="283" y="885"/>
                  </a:lnTo>
                  <a:lnTo>
                    <a:pt x="283" y="885"/>
                  </a:lnTo>
                  <a:lnTo>
                    <a:pt x="281" y="883"/>
                  </a:lnTo>
                  <a:lnTo>
                    <a:pt x="281" y="883"/>
                  </a:lnTo>
                  <a:lnTo>
                    <a:pt x="279" y="883"/>
                  </a:lnTo>
                  <a:lnTo>
                    <a:pt x="279" y="885"/>
                  </a:lnTo>
                  <a:lnTo>
                    <a:pt x="279" y="885"/>
                  </a:lnTo>
                  <a:lnTo>
                    <a:pt x="279" y="885"/>
                  </a:lnTo>
                  <a:lnTo>
                    <a:pt x="279" y="885"/>
                  </a:lnTo>
                  <a:lnTo>
                    <a:pt x="277" y="889"/>
                  </a:lnTo>
                  <a:lnTo>
                    <a:pt x="274" y="889"/>
                  </a:lnTo>
                  <a:lnTo>
                    <a:pt x="270" y="889"/>
                  </a:lnTo>
                  <a:lnTo>
                    <a:pt x="268" y="889"/>
                  </a:lnTo>
                  <a:lnTo>
                    <a:pt x="268" y="889"/>
                  </a:lnTo>
                  <a:lnTo>
                    <a:pt x="268" y="889"/>
                  </a:lnTo>
                  <a:lnTo>
                    <a:pt x="268" y="889"/>
                  </a:lnTo>
                  <a:lnTo>
                    <a:pt x="266" y="889"/>
                  </a:lnTo>
                  <a:lnTo>
                    <a:pt x="266" y="889"/>
                  </a:lnTo>
                  <a:lnTo>
                    <a:pt x="266" y="889"/>
                  </a:lnTo>
                  <a:lnTo>
                    <a:pt x="266" y="889"/>
                  </a:lnTo>
                  <a:lnTo>
                    <a:pt x="266" y="889"/>
                  </a:lnTo>
                  <a:lnTo>
                    <a:pt x="266" y="889"/>
                  </a:lnTo>
                  <a:lnTo>
                    <a:pt x="264" y="889"/>
                  </a:lnTo>
                  <a:lnTo>
                    <a:pt x="264" y="889"/>
                  </a:lnTo>
                  <a:lnTo>
                    <a:pt x="262" y="887"/>
                  </a:lnTo>
                  <a:lnTo>
                    <a:pt x="262" y="887"/>
                  </a:lnTo>
                  <a:lnTo>
                    <a:pt x="262" y="887"/>
                  </a:lnTo>
                  <a:lnTo>
                    <a:pt x="260" y="889"/>
                  </a:lnTo>
                  <a:lnTo>
                    <a:pt x="260" y="889"/>
                  </a:lnTo>
                  <a:lnTo>
                    <a:pt x="260" y="889"/>
                  </a:lnTo>
                  <a:lnTo>
                    <a:pt x="260" y="889"/>
                  </a:lnTo>
                  <a:lnTo>
                    <a:pt x="260" y="889"/>
                  </a:lnTo>
                  <a:lnTo>
                    <a:pt x="260" y="889"/>
                  </a:lnTo>
                  <a:lnTo>
                    <a:pt x="260" y="891"/>
                  </a:lnTo>
                  <a:lnTo>
                    <a:pt x="260" y="891"/>
                  </a:lnTo>
                  <a:lnTo>
                    <a:pt x="260" y="891"/>
                  </a:lnTo>
                  <a:lnTo>
                    <a:pt x="260" y="891"/>
                  </a:lnTo>
                  <a:lnTo>
                    <a:pt x="260" y="891"/>
                  </a:lnTo>
                  <a:lnTo>
                    <a:pt x="262" y="889"/>
                  </a:lnTo>
                  <a:lnTo>
                    <a:pt x="262" y="889"/>
                  </a:lnTo>
                  <a:lnTo>
                    <a:pt x="264" y="891"/>
                  </a:lnTo>
                  <a:lnTo>
                    <a:pt x="266" y="891"/>
                  </a:lnTo>
                  <a:lnTo>
                    <a:pt x="266" y="891"/>
                  </a:lnTo>
                  <a:lnTo>
                    <a:pt x="266" y="891"/>
                  </a:lnTo>
                  <a:lnTo>
                    <a:pt x="268" y="891"/>
                  </a:lnTo>
                  <a:lnTo>
                    <a:pt x="268" y="891"/>
                  </a:lnTo>
                  <a:lnTo>
                    <a:pt x="270" y="891"/>
                  </a:lnTo>
                  <a:lnTo>
                    <a:pt x="270" y="891"/>
                  </a:lnTo>
                  <a:lnTo>
                    <a:pt x="270" y="891"/>
                  </a:lnTo>
                  <a:lnTo>
                    <a:pt x="270" y="894"/>
                  </a:lnTo>
                  <a:lnTo>
                    <a:pt x="270" y="894"/>
                  </a:lnTo>
                  <a:lnTo>
                    <a:pt x="270" y="894"/>
                  </a:lnTo>
                  <a:lnTo>
                    <a:pt x="270" y="894"/>
                  </a:lnTo>
                  <a:lnTo>
                    <a:pt x="270" y="894"/>
                  </a:lnTo>
                  <a:lnTo>
                    <a:pt x="272" y="894"/>
                  </a:lnTo>
                  <a:lnTo>
                    <a:pt x="272" y="896"/>
                  </a:lnTo>
                  <a:lnTo>
                    <a:pt x="272" y="896"/>
                  </a:lnTo>
                  <a:lnTo>
                    <a:pt x="274" y="894"/>
                  </a:lnTo>
                  <a:lnTo>
                    <a:pt x="274" y="896"/>
                  </a:lnTo>
                  <a:lnTo>
                    <a:pt x="274" y="896"/>
                  </a:lnTo>
                  <a:lnTo>
                    <a:pt x="274" y="894"/>
                  </a:lnTo>
                  <a:lnTo>
                    <a:pt x="274" y="894"/>
                  </a:lnTo>
                  <a:lnTo>
                    <a:pt x="274" y="894"/>
                  </a:lnTo>
                  <a:lnTo>
                    <a:pt x="274" y="894"/>
                  </a:lnTo>
                  <a:lnTo>
                    <a:pt x="277" y="896"/>
                  </a:lnTo>
                  <a:lnTo>
                    <a:pt x="277" y="894"/>
                  </a:lnTo>
                  <a:lnTo>
                    <a:pt x="279" y="894"/>
                  </a:lnTo>
                  <a:lnTo>
                    <a:pt x="279" y="891"/>
                  </a:lnTo>
                  <a:lnTo>
                    <a:pt x="279" y="891"/>
                  </a:lnTo>
                  <a:lnTo>
                    <a:pt x="279" y="889"/>
                  </a:lnTo>
                  <a:lnTo>
                    <a:pt x="281" y="889"/>
                  </a:lnTo>
                  <a:lnTo>
                    <a:pt x="281" y="887"/>
                  </a:lnTo>
                  <a:lnTo>
                    <a:pt x="283" y="887"/>
                  </a:lnTo>
                  <a:close/>
                  <a:moveTo>
                    <a:pt x="217" y="879"/>
                  </a:moveTo>
                  <a:lnTo>
                    <a:pt x="217" y="879"/>
                  </a:lnTo>
                  <a:lnTo>
                    <a:pt x="217" y="879"/>
                  </a:lnTo>
                  <a:lnTo>
                    <a:pt x="217" y="879"/>
                  </a:lnTo>
                  <a:lnTo>
                    <a:pt x="217" y="879"/>
                  </a:lnTo>
                  <a:lnTo>
                    <a:pt x="217" y="879"/>
                  </a:lnTo>
                  <a:lnTo>
                    <a:pt x="217" y="879"/>
                  </a:lnTo>
                  <a:lnTo>
                    <a:pt x="217" y="879"/>
                  </a:lnTo>
                  <a:lnTo>
                    <a:pt x="217" y="879"/>
                  </a:lnTo>
                  <a:lnTo>
                    <a:pt x="217" y="879"/>
                  </a:lnTo>
                  <a:close/>
                  <a:moveTo>
                    <a:pt x="299" y="900"/>
                  </a:moveTo>
                  <a:lnTo>
                    <a:pt x="299" y="900"/>
                  </a:lnTo>
                  <a:lnTo>
                    <a:pt x="299" y="898"/>
                  </a:lnTo>
                  <a:lnTo>
                    <a:pt x="301" y="898"/>
                  </a:lnTo>
                  <a:lnTo>
                    <a:pt x="301" y="898"/>
                  </a:lnTo>
                  <a:lnTo>
                    <a:pt x="301" y="898"/>
                  </a:lnTo>
                  <a:lnTo>
                    <a:pt x="301" y="898"/>
                  </a:lnTo>
                  <a:lnTo>
                    <a:pt x="301" y="896"/>
                  </a:lnTo>
                  <a:lnTo>
                    <a:pt x="301" y="896"/>
                  </a:lnTo>
                  <a:lnTo>
                    <a:pt x="299" y="896"/>
                  </a:lnTo>
                  <a:lnTo>
                    <a:pt x="299" y="896"/>
                  </a:lnTo>
                  <a:lnTo>
                    <a:pt x="299" y="896"/>
                  </a:lnTo>
                  <a:lnTo>
                    <a:pt x="299" y="896"/>
                  </a:lnTo>
                  <a:lnTo>
                    <a:pt x="299" y="896"/>
                  </a:lnTo>
                  <a:lnTo>
                    <a:pt x="299" y="896"/>
                  </a:lnTo>
                  <a:lnTo>
                    <a:pt x="297" y="896"/>
                  </a:lnTo>
                  <a:lnTo>
                    <a:pt x="297" y="896"/>
                  </a:lnTo>
                  <a:lnTo>
                    <a:pt x="297" y="896"/>
                  </a:lnTo>
                  <a:lnTo>
                    <a:pt x="295" y="896"/>
                  </a:lnTo>
                  <a:lnTo>
                    <a:pt x="295" y="894"/>
                  </a:lnTo>
                  <a:lnTo>
                    <a:pt x="295" y="894"/>
                  </a:lnTo>
                  <a:lnTo>
                    <a:pt x="295" y="894"/>
                  </a:lnTo>
                  <a:lnTo>
                    <a:pt x="297" y="894"/>
                  </a:lnTo>
                  <a:lnTo>
                    <a:pt x="295" y="894"/>
                  </a:lnTo>
                  <a:lnTo>
                    <a:pt x="295" y="894"/>
                  </a:lnTo>
                  <a:lnTo>
                    <a:pt x="295" y="894"/>
                  </a:lnTo>
                  <a:lnTo>
                    <a:pt x="295" y="891"/>
                  </a:lnTo>
                  <a:lnTo>
                    <a:pt x="297" y="891"/>
                  </a:lnTo>
                  <a:lnTo>
                    <a:pt x="297" y="891"/>
                  </a:lnTo>
                  <a:lnTo>
                    <a:pt x="297" y="891"/>
                  </a:lnTo>
                  <a:lnTo>
                    <a:pt x="297" y="891"/>
                  </a:lnTo>
                  <a:lnTo>
                    <a:pt x="299" y="891"/>
                  </a:lnTo>
                  <a:lnTo>
                    <a:pt x="299" y="891"/>
                  </a:lnTo>
                  <a:lnTo>
                    <a:pt x="299" y="889"/>
                  </a:lnTo>
                  <a:lnTo>
                    <a:pt x="299" y="889"/>
                  </a:lnTo>
                  <a:lnTo>
                    <a:pt x="299" y="889"/>
                  </a:lnTo>
                  <a:lnTo>
                    <a:pt x="299" y="887"/>
                  </a:lnTo>
                  <a:lnTo>
                    <a:pt x="299" y="887"/>
                  </a:lnTo>
                  <a:lnTo>
                    <a:pt x="299" y="887"/>
                  </a:lnTo>
                  <a:lnTo>
                    <a:pt x="299" y="887"/>
                  </a:lnTo>
                  <a:lnTo>
                    <a:pt x="299" y="887"/>
                  </a:lnTo>
                  <a:lnTo>
                    <a:pt x="297" y="887"/>
                  </a:lnTo>
                  <a:lnTo>
                    <a:pt x="297" y="887"/>
                  </a:lnTo>
                  <a:lnTo>
                    <a:pt x="297" y="887"/>
                  </a:lnTo>
                  <a:lnTo>
                    <a:pt x="297" y="889"/>
                  </a:lnTo>
                  <a:lnTo>
                    <a:pt x="295" y="887"/>
                  </a:lnTo>
                  <a:lnTo>
                    <a:pt x="295" y="887"/>
                  </a:lnTo>
                  <a:lnTo>
                    <a:pt x="295" y="887"/>
                  </a:lnTo>
                  <a:lnTo>
                    <a:pt x="293" y="887"/>
                  </a:lnTo>
                  <a:lnTo>
                    <a:pt x="293" y="887"/>
                  </a:lnTo>
                  <a:lnTo>
                    <a:pt x="293" y="887"/>
                  </a:lnTo>
                  <a:lnTo>
                    <a:pt x="291" y="887"/>
                  </a:lnTo>
                  <a:lnTo>
                    <a:pt x="291" y="889"/>
                  </a:lnTo>
                  <a:lnTo>
                    <a:pt x="291" y="891"/>
                  </a:lnTo>
                  <a:lnTo>
                    <a:pt x="293" y="891"/>
                  </a:lnTo>
                  <a:lnTo>
                    <a:pt x="291" y="891"/>
                  </a:lnTo>
                  <a:lnTo>
                    <a:pt x="291" y="891"/>
                  </a:lnTo>
                  <a:lnTo>
                    <a:pt x="291" y="891"/>
                  </a:lnTo>
                  <a:lnTo>
                    <a:pt x="291" y="894"/>
                  </a:lnTo>
                  <a:lnTo>
                    <a:pt x="291" y="894"/>
                  </a:lnTo>
                  <a:lnTo>
                    <a:pt x="291" y="894"/>
                  </a:lnTo>
                  <a:lnTo>
                    <a:pt x="291" y="896"/>
                  </a:lnTo>
                  <a:lnTo>
                    <a:pt x="291" y="896"/>
                  </a:lnTo>
                  <a:lnTo>
                    <a:pt x="291" y="896"/>
                  </a:lnTo>
                  <a:lnTo>
                    <a:pt x="289" y="896"/>
                  </a:lnTo>
                  <a:lnTo>
                    <a:pt x="287" y="894"/>
                  </a:lnTo>
                  <a:lnTo>
                    <a:pt x="287" y="894"/>
                  </a:lnTo>
                  <a:lnTo>
                    <a:pt x="287" y="894"/>
                  </a:lnTo>
                  <a:lnTo>
                    <a:pt x="287" y="891"/>
                  </a:lnTo>
                  <a:lnTo>
                    <a:pt x="287" y="891"/>
                  </a:lnTo>
                  <a:lnTo>
                    <a:pt x="287" y="894"/>
                  </a:lnTo>
                  <a:lnTo>
                    <a:pt x="285" y="894"/>
                  </a:lnTo>
                  <a:lnTo>
                    <a:pt x="285" y="894"/>
                  </a:lnTo>
                  <a:lnTo>
                    <a:pt x="285" y="896"/>
                  </a:lnTo>
                  <a:lnTo>
                    <a:pt x="287" y="896"/>
                  </a:lnTo>
                  <a:lnTo>
                    <a:pt x="287" y="896"/>
                  </a:lnTo>
                  <a:lnTo>
                    <a:pt x="289" y="896"/>
                  </a:lnTo>
                  <a:lnTo>
                    <a:pt x="287" y="896"/>
                  </a:lnTo>
                  <a:lnTo>
                    <a:pt x="287" y="896"/>
                  </a:lnTo>
                  <a:lnTo>
                    <a:pt x="287" y="896"/>
                  </a:lnTo>
                  <a:lnTo>
                    <a:pt x="287" y="896"/>
                  </a:lnTo>
                  <a:lnTo>
                    <a:pt x="287" y="896"/>
                  </a:lnTo>
                  <a:lnTo>
                    <a:pt x="285" y="896"/>
                  </a:lnTo>
                  <a:lnTo>
                    <a:pt x="285" y="896"/>
                  </a:lnTo>
                  <a:lnTo>
                    <a:pt x="285" y="898"/>
                  </a:lnTo>
                  <a:lnTo>
                    <a:pt x="285" y="898"/>
                  </a:lnTo>
                  <a:lnTo>
                    <a:pt x="285" y="898"/>
                  </a:lnTo>
                  <a:lnTo>
                    <a:pt x="281" y="900"/>
                  </a:lnTo>
                  <a:lnTo>
                    <a:pt x="281" y="900"/>
                  </a:lnTo>
                  <a:lnTo>
                    <a:pt x="281" y="902"/>
                  </a:lnTo>
                  <a:lnTo>
                    <a:pt x="281" y="902"/>
                  </a:lnTo>
                  <a:lnTo>
                    <a:pt x="281" y="902"/>
                  </a:lnTo>
                  <a:lnTo>
                    <a:pt x="281" y="902"/>
                  </a:lnTo>
                  <a:lnTo>
                    <a:pt x="283" y="902"/>
                  </a:lnTo>
                  <a:lnTo>
                    <a:pt x="283" y="902"/>
                  </a:lnTo>
                  <a:lnTo>
                    <a:pt x="283" y="902"/>
                  </a:lnTo>
                  <a:lnTo>
                    <a:pt x="283" y="902"/>
                  </a:lnTo>
                  <a:lnTo>
                    <a:pt x="287" y="898"/>
                  </a:lnTo>
                  <a:lnTo>
                    <a:pt x="287" y="898"/>
                  </a:lnTo>
                  <a:lnTo>
                    <a:pt x="287" y="900"/>
                  </a:lnTo>
                  <a:lnTo>
                    <a:pt x="287" y="900"/>
                  </a:lnTo>
                  <a:lnTo>
                    <a:pt x="287" y="902"/>
                  </a:lnTo>
                  <a:lnTo>
                    <a:pt x="287" y="902"/>
                  </a:lnTo>
                  <a:lnTo>
                    <a:pt x="287" y="902"/>
                  </a:lnTo>
                  <a:lnTo>
                    <a:pt x="285" y="902"/>
                  </a:lnTo>
                  <a:lnTo>
                    <a:pt x="285" y="902"/>
                  </a:lnTo>
                  <a:lnTo>
                    <a:pt x="285" y="904"/>
                  </a:lnTo>
                  <a:lnTo>
                    <a:pt x="285" y="904"/>
                  </a:lnTo>
                  <a:lnTo>
                    <a:pt x="287" y="904"/>
                  </a:lnTo>
                  <a:lnTo>
                    <a:pt x="287" y="904"/>
                  </a:lnTo>
                  <a:lnTo>
                    <a:pt x="287" y="902"/>
                  </a:lnTo>
                  <a:lnTo>
                    <a:pt x="289" y="904"/>
                  </a:lnTo>
                  <a:lnTo>
                    <a:pt x="289" y="904"/>
                  </a:lnTo>
                  <a:lnTo>
                    <a:pt x="289" y="904"/>
                  </a:lnTo>
                  <a:lnTo>
                    <a:pt x="289" y="902"/>
                  </a:lnTo>
                  <a:lnTo>
                    <a:pt x="289" y="902"/>
                  </a:lnTo>
                  <a:lnTo>
                    <a:pt x="289" y="902"/>
                  </a:lnTo>
                  <a:lnTo>
                    <a:pt x="289" y="902"/>
                  </a:lnTo>
                  <a:lnTo>
                    <a:pt x="289" y="900"/>
                  </a:lnTo>
                  <a:lnTo>
                    <a:pt x="291" y="902"/>
                  </a:lnTo>
                  <a:lnTo>
                    <a:pt x="291" y="902"/>
                  </a:lnTo>
                  <a:lnTo>
                    <a:pt x="291" y="902"/>
                  </a:lnTo>
                  <a:lnTo>
                    <a:pt x="291" y="902"/>
                  </a:lnTo>
                  <a:lnTo>
                    <a:pt x="291" y="902"/>
                  </a:lnTo>
                  <a:lnTo>
                    <a:pt x="291" y="902"/>
                  </a:lnTo>
                  <a:lnTo>
                    <a:pt x="293" y="902"/>
                  </a:lnTo>
                  <a:lnTo>
                    <a:pt x="293" y="902"/>
                  </a:lnTo>
                  <a:lnTo>
                    <a:pt x="293" y="902"/>
                  </a:lnTo>
                  <a:lnTo>
                    <a:pt x="293" y="902"/>
                  </a:lnTo>
                  <a:lnTo>
                    <a:pt x="293" y="902"/>
                  </a:lnTo>
                  <a:lnTo>
                    <a:pt x="293" y="902"/>
                  </a:lnTo>
                  <a:lnTo>
                    <a:pt x="293" y="902"/>
                  </a:lnTo>
                  <a:lnTo>
                    <a:pt x="297" y="900"/>
                  </a:lnTo>
                  <a:lnTo>
                    <a:pt x="297" y="900"/>
                  </a:lnTo>
                  <a:lnTo>
                    <a:pt x="297" y="902"/>
                  </a:lnTo>
                  <a:lnTo>
                    <a:pt x="299" y="902"/>
                  </a:lnTo>
                  <a:lnTo>
                    <a:pt x="299" y="902"/>
                  </a:lnTo>
                  <a:lnTo>
                    <a:pt x="299" y="900"/>
                  </a:lnTo>
                  <a:lnTo>
                    <a:pt x="299" y="900"/>
                  </a:lnTo>
                  <a:lnTo>
                    <a:pt x="299" y="900"/>
                  </a:lnTo>
                  <a:close/>
                  <a:moveTo>
                    <a:pt x="229" y="869"/>
                  </a:moveTo>
                  <a:lnTo>
                    <a:pt x="227" y="869"/>
                  </a:lnTo>
                  <a:lnTo>
                    <a:pt x="227" y="871"/>
                  </a:lnTo>
                  <a:lnTo>
                    <a:pt x="227" y="871"/>
                  </a:lnTo>
                  <a:lnTo>
                    <a:pt x="225" y="871"/>
                  </a:lnTo>
                  <a:lnTo>
                    <a:pt x="227" y="873"/>
                  </a:lnTo>
                  <a:lnTo>
                    <a:pt x="227" y="873"/>
                  </a:lnTo>
                  <a:lnTo>
                    <a:pt x="227" y="873"/>
                  </a:lnTo>
                  <a:lnTo>
                    <a:pt x="229" y="875"/>
                  </a:lnTo>
                  <a:lnTo>
                    <a:pt x="229" y="873"/>
                  </a:lnTo>
                  <a:lnTo>
                    <a:pt x="229" y="871"/>
                  </a:lnTo>
                  <a:lnTo>
                    <a:pt x="229" y="871"/>
                  </a:lnTo>
                  <a:lnTo>
                    <a:pt x="229" y="869"/>
                  </a:lnTo>
                  <a:close/>
                  <a:moveTo>
                    <a:pt x="86" y="777"/>
                  </a:moveTo>
                  <a:lnTo>
                    <a:pt x="84" y="777"/>
                  </a:lnTo>
                  <a:lnTo>
                    <a:pt x="84" y="775"/>
                  </a:lnTo>
                  <a:lnTo>
                    <a:pt x="84" y="777"/>
                  </a:lnTo>
                  <a:lnTo>
                    <a:pt x="84" y="779"/>
                  </a:lnTo>
                  <a:lnTo>
                    <a:pt x="86" y="779"/>
                  </a:lnTo>
                  <a:lnTo>
                    <a:pt x="86" y="779"/>
                  </a:lnTo>
                  <a:lnTo>
                    <a:pt x="86" y="777"/>
                  </a:lnTo>
                  <a:lnTo>
                    <a:pt x="86" y="777"/>
                  </a:lnTo>
                  <a:close/>
                  <a:moveTo>
                    <a:pt x="43" y="734"/>
                  </a:moveTo>
                  <a:lnTo>
                    <a:pt x="41" y="734"/>
                  </a:lnTo>
                  <a:lnTo>
                    <a:pt x="41" y="734"/>
                  </a:lnTo>
                  <a:lnTo>
                    <a:pt x="41" y="734"/>
                  </a:lnTo>
                  <a:lnTo>
                    <a:pt x="41" y="734"/>
                  </a:lnTo>
                  <a:lnTo>
                    <a:pt x="43" y="736"/>
                  </a:lnTo>
                  <a:lnTo>
                    <a:pt x="43" y="736"/>
                  </a:lnTo>
                  <a:lnTo>
                    <a:pt x="43" y="734"/>
                  </a:lnTo>
                  <a:close/>
                  <a:moveTo>
                    <a:pt x="215" y="889"/>
                  </a:moveTo>
                  <a:lnTo>
                    <a:pt x="215" y="889"/>
                  </a:lnTo>
                  <a:lnTo>
                    <a:pt x="215" y="889"/>
                  </a:lnTo>
                  <a:lnTo>
                    <a:pt x="215" y="889"/>
                  </a:lnTo>
                  <a:lnTo>
                    <a:pt x="215" y="891"/>
                  </a:lnTo>
                  <a:lnTo>
                    <a:pt x="213" y="891"/>
                  </a:lnTo>
                  <a:lnTo>
                    <a:pt x="213" y="891"/>
                  </a:lnTo>
                  <a:lnTo>
                    <a:pt x="213" y="894"/>
                  </a:lnTo>
                  <a:lnTo>
                    <a:pt x="213" y="894"/>
                  </a:lnTo>
                  <a:lnTo>
                    <a:pt x="215" y="891"/>
                  </a:lnTo>
                  <a:lnTo>
                    <a:pt x="215" y="891"/>
                  </a:lnTo>
                  <a:lnTo>
                    <a:pt x="217" y="891"/>
                  </a:lnTo>
                  <a:lnTo>
                    <a:pt x="217" y="891"/>
                  </a:lnTo>
                  <a:lnTo>
                    <a:pt x="217" y="889"/>
                  </a:lnTo>
                  <a:lnTo>
                    <a:pt x="215" y="889"/>
                  </a:lnTo>
                  <a:lnTo>
                    <a:pt x="215" y="889"/>
                  </a:lnTo>
                  <a:close/>
                  <a:moveTo>
                    <a:pt x="903" y="781"/>
                  </a:moveTo>
                  <a:lnTo>
                    <a:pt x="903" y="781"/>
                  </a:lnTo>
                  <a:lnTo>
                    <a:pt x="903" y="781"/>
                  </a:lnTo>
                  <a:lnTo>
                    <a:pt x="903" y="781"/>
                  </a:lnTo>
                  <a:lnTo>
                    <a:pt x="903" y="779"/>
                  </a:lnTo>
                  <a:lnTo>
                    <a:pt x="901" y="779"/>
                  </a:lnTo>
                  <a:lnTo>
                    <a:pt x="899" y="781"/>
                  </a:lnTo>
                  <a:lnTo>
                    <a:pt x="899" y="781"/>
                  </a:lnTo>
                  <a:lnTo>
                    <a:pt x="901" y="781"/>
                  </a:lnTo>
                  <a:lnTo>
                    <a:pt x="901" y="781"/>
                  </a:lnTo>
                  <a:lnTo>
                    <a:pt x="901" y="783"/>
                  </a:lnTo>
                  <a:lnTo>
                    <a:pt x="901" y="783"/>
                  </a:lnTo>
                  <a:lnTo>
                    <a:pt x="903" y="783"/>
                  </a:lnTo>
                  <a:lnTo>
                    <a:pt x="903" y="781"/>
                  </a:lnTo>
                  <a:lnTo>
                    <a:pt x="903" y="781"/>
                  </a:lnTo>
                  <a:lnTo>
                    <a:pt x="903" y="781"/>
                  </a:lnTo>
                  <a:lnTo>
                    <a:pt x="903" y="781"/>
                  </a:lnTo>
                  <a:close/>
                  <a:moveTo>
                    <a:pt x="150" y="834"/>
                  </a:moveTo>
                  <a:lnTo>
                    <a:pt x="150" y="834"/>
                  </a:lnTo>
                  <a:lnTo>
                    <a:pt x="152" y="834"/>
                  </a:lnTo>
                  <a:lnTo>
                    <a:pt x="152" y="834"/>
                  </a:lnTo>
                  <a:lnTo>
                    <a:pt x="152" y="834"/>
                  </a:lnTo>
                  <a:lnTo>
                    <a:pt x="152" y="834"/>
                  </a:lnTo>
                  <a:lnTo>
                    <a:pt x="152" y="834"/>
                  </a:lnTo>
                  <a:lnTo>
                    <a:pt x="154" y="832"/>
                  </a:lnTo>
                  <a:lnTo>
                    <a:pt x="154" y="832"/>
                  </a:lnTo>
                  <a:lnTo>
                    <a:pt x="154" y="832"/>
                  </a:lnTo>
                  <a:lnTo>
                    <a:pt x="154" y="832"/>
                  </a:lnTo>
                  <a:lnTo>
                    <a:pt x="154" y="830"/>
                  </a:lnTo>
                  <a:lnTo>
                    <a:pt x="152" y="830"/>
                  </a:lnTo>
                  <a:lnTo>
                    <a:pt x="152" y="830"/>
                  </a:lnTo>
                  <a:lnTo>
                    <a:pt x="152" y="830"/>
                  </a:lnTo>
                  <a:lnTo>
                    <a:pt x="152" y="828"/>
                  </a:lnTo>
                  <a:lnTo>
                    <a:pt x="152" y="830"/>
                  </a:lnTo>
                  <a:lnTo>
                    <a:pt x="152" y="828"/>
                  </a:lnTo>
                  <a:lnTo>
                    <a:pt x="152" y="828"/>
                  </a:lnTo>
                  <a:lnTo>
                    <a:pt x="150" y="830"/>
                  </a:lnTo>
                  <a:lnTo>
                    <a:pt x="150" y="830"/>
                  </a:lnTo>
                  <a:lnTo>
                    <a:pt x="150" y="830"/>
                  </a:lnTo>
                  <a:lnTo>
                    <a:pt x="150" y="830"/>
                  </a:lnTo>
                  <a:lnTo>
                    <a:pt x="150" y="832"/>
                  </a:lnTo>
                  <a:lnTo>
                    <a:pt x="150" y="832"/>
                  </a:lnTo>
                  <a:lnTo>
                    <a:pt x="150" y="834"/>
                  </a:lnTo>
                  <a:close/>
                  <a:moveTo>
                    <a:pt x="14" y="713"/>
                  </a:moveTo>
                  <a:lnTo>
                    <a:pt x="14" y="713"/>
                  </a:lnTo>
                  <a:lnTo>
                    <a:pt x="16" y="713"/>
                  </a:lnTo>
                  <a:lnTo>
                    <a:pt x="16" y="715"/>
                  </a:lnTo>
                  <a:lnTo>
                    <a:pt x="16" y="715"/>
                  </a:lnTo>
                  <a:lnTo>
                    <a:pt x="16" y="717"/>
                  </a:lnTo>
                  <a:lnTo>
                    <a:pt x="16" y="717"/>
                  </a:lnTo>
                  <a:lnTo>
                    <a:pt x="16" y="717"/>
                  </a:lnTo>
                  <a:lnTo>
                    <a:pt x="18" y="717"/>
                  </a:lnTo>
                  <a:lnTo>
                    <a:pt x="18" y="717"/>
                  </a:lnTo>
                  <a:lnTo>
                    <a:pt x="18" y="715"/>
                  </a:lnTo>
                  <a:lnTo>
                    <a:pt x="18" y="715"/>
                  </a:lnTo>
                  <a:lnTo>
                    <a:pt x="18" y="715"/>
                  </a:lnTo>
                  <a:lnTo>
                    <a:pt x="18" y="715"/>
                  </a:lnTo>
                  <a:lnTo>
                    <a:pt x="18" y="715"/>
                  </a:lnTo>
                  <a:lnTo>
                    <a:pt x="18" y="715"/>
                  </a:lnTo>
                  <a:lnTo>
                    <a:pt x="21" y="715"/>
                  </a:lnTo>
                  <a:lnTo>
                    <a:pt x="21" y="715"/>
                  </a:lnTo>
                  <a:lnTo>
                    <a:pt x="21" y="715"/>
                  </a:lnTo>
                  <a:lnTo>
                    <a:pt x="21" y="717"/>
                  </a:lnTo>
                  <a:lnTo>
                    <a:pt x="21" y="717"/>
                  </a:lnTo>
                  <a:lnTo>
                    <a:pt x="23" y="719"/>
                  </a:lnTo>
                  <a:lnTo>
                    <a:pt x="23" y="717"/>
                  </a:lnTo>
                  <a:lnTo>
                    <a:pt x="23" y="717"/>
                  </a:lnTo>
                  <a:lnTo>
                    <a:pt x="25" y="719"/>
                  </a:lnTo>
                  <a:lnTo>
                    <a:pt x="25" y="719"/>
                  </a:lnTo>
                  <a:lnTo>
                    <a:pt x="25" y="719"/>
                  </a:lnTo>
                  <a:lnTo>
                    <a:pt x="27" y="717"/>
                  </a:lnTo>
                  <a:lnTo>
                    <a:pt x="25" y="717"/>
                  </a:lnTo>
                  <a:lnTo>
                    <a:pt x="23" y="717"/>
                  </a:lnTo>
                  <a:lnTo>
                    <a:pt x="23" y="715"/>
                  </a:lnTo>
                  <a:lnTo>
                    <a:pt x="21" y="715"/>
                  </a:lnTo>
                  <a:lnTo>
                    <a:pt x="23" y="715"/>
                  </a:lnTo>
                  <a:lnTo>
                    <a:pt x="23" y="715"/>
                  </a:lnTo>
                  <a:lnTo>
                    <a:pt x="25" y="715"/>
                  </a:lnTo>
                  <a:lnTo>
                    <a:pt x="25" y="713"/>
                  </a:lnTo>
                  <a:lnTo>
                    <a:pt x="25" y="713"/>
                  </a:lnTo>
                  <a:lnTo>
                    <a:pt x="23" y="711"/>
                  </a:lnTo>
                  <a:lnTo>
                    <a:pt x="23" y="711"/>
                  </a:lnTo>
                  <a:lnTo>
                    <a:pt x="23" y="711"/>
                  </a:lnTo>
                  <a:lnTo>
                    <a:pt x="21" y="711"/>
                  </a:lnTo>
                  <a:lnTo>
                    <a:pt x="21" y="711"/>
                  </a:lnTo>
                  <a:lnTo>
                    <a:pt x="21" y="711"/>
                  </a:lnTo>
                  <a:lnTo>
                    <a:pt x="21" y="711"/>
                  </a:lnTo>
                  <a:lnTo>
                    <a:pt x="18" y="711"/>
                  </a:lnTo>
                  <a:lnTo>
                    <a:pt x="21" y="709"/>
                  </a:lnTo>
                  <a:lnTo>
                    <a:pt x="21" y="709"/>
                  </a:lnTo>
                  <a:lnTo>
                    <a:pt x="23" y="709"/>
                  </a:lnTo>
                  <a:lnTo>
                    <a:pt x="21" y="709"/>
                  </a:lnTo>
                  <a:lnTo>
                    <a:pt x="21" y="707"/>
                  </a:lnTo>
                  <a:lnTo>
                    <a:pt x="21" y="707"/>
                  </a:lnTo>
                  <a:lnTo>
                    <a:pt x="18" y="705"/>
                  </a:lnTo>
                  <a:lnTo>
                    <a:pt x="16" y="705"/>
                  </a:lnTo>
                  <a:lnTo>
                    <a:pt x="16" y="705"/>
                  </a:lnTo>
                  <a:lnTo>
                    <a:pt x="16" y="705"/>
                  </a:lnTo>
                  <a:lnTo>
                    <a:pt x="14" y="705"/>
                  </a:lnTo>
                  <a:lnTo>
                    <a:pt x="14" y="705"/>
                  </a:lnTo>
                  <a:lnTo>
                    <a:pt x="14" y="705"/>
                  </a:lnTo>
                  <a:lnTo>
                    <a:pt x="14" y="705"/>
                  </a:lnTo>
                  <a:lnTo>
                    <a:pt x="14" y="703"/>
                  </a:lnTo>
                  <a:lnTo>
                    <a:pt x="14" y="703"/>
                  </a:lnTo>
                  <a:lnTo>
                    <a:pt x="12" y="701"/>
                  </a:lnTo>
                  <a:lnTo>
                    <a:pt x="10" y="701"/>
                  </a:lnTo>
                  <a:lnTo>
                    <a:pt x="10" y="701"/>
                  </a:lnTo>
                  <a:lnTo>
                    <a:pt x="10" y="701"/>
                  </a:lnTo>
                  <a:lnTo>
                    <a:pt x="8" y="699"/>
                  </a:lnTo>
                  <a:lnTo>
                    <a:pt x="4" y="699"/>
                  </a:lnTo>
                  <a:lnTo>
                    <a:pt x="4" y="701"/>
                  </a:lnTo>
                  <a:lnTo>
                    <a:pt x="4" y="699"/>
                  </a:lnTo>
                  <a:lnTo>
                    <a:pt x="0" y="701"/>
                  </a:lnTo>
                  <a:lnTo>
                    <a:pt x="2" y="701"/>
                  </a:lnTo>
                  <a:lnTo>
                    <a:pt x="2" y="701"/>
                  </a:lnTo>
                  <a:lnTo>
                    <a:pt x="2" y="701"/>
                  </a:lnTo>
                  <a:lnTo>
                    <a:pt x="2" y="703"/>
                  </a:lnTo>
                  <a:lnTo>
                    <a:pt x="4" y="703"/>
                  </a:lnTo>
                  <a:lnTo>
                    <a:pt x="6" y="703"/>
                  </a:lnTo>
                  <a:lnTo>
                    <a:pt x="6" y="703"/>
                  </a:lnTo>
                  <a:lnTo>
                    <a:pt x="6" y="703"/>
                  </a:lnTo>
                  <a:lnTo>
                    <a:pt x="4" y="705"/>
                  </a:lnTo>
                  <a:lnTo>
                    <a:pt x="4" y="705"/>
                  </a:lnTo>
                  <a:lnTo>
                    <a:pt x="4" y="705"/>
                  </a:lnTo>
                  <a:lnTo>
                    <a:pt x="6" y="707"/>
                  </a:lnTo>
                  <a:lnTo>
                    <a:pt x="8" y="707"/>
                  </a:lnTo>
                  <a:lnTo>
                    <a:pt x="8" y="707"/>
                  </a:lnTo>
                  <a:lnTo>
                    <a:pt x="8" y="707"/>
                  </a:lnTo>
                  <a:lnTo>
                    <a:pt x="8" y="707"/>
                  </a:lnTo>
                  <a:lnTo>
                    <a:pt x="10" y="707"/>
                  </a:lnTo>
                  <a:lnTo>
                    <a:pt x="8" y="707"/>
                  </a:lnTo>
                  <a:lnTo>
                    <a:pt x="8" y="709"/>
                  </a:lnTo>
                  <a:lnTo>
                    <a:pt x="6" y="709"/>
                  </a:lnTo>
                  <a:lnTo>
                    <a:pt x="6" y="711"/>
                  </a:lnTo>
                  <a:lnTo>
                    <a:pt x="6" y="711"/>
                  </a:lnTo>
                  <a:lnTo>
                    <a:pt x="6" y="711"/>
                  </a:lnTo>
                  <a:lnTo>
                    <a:pt x="6" y="711"/>
                  </a:lnTo>
                  <a:lnTo>
                    <a:pt x="6" y="711"/>
                  </a:lnTo>
                  <a:lnTo>
                    <a:pt x="6" y="711"/>
                  </a:lnTo>
                  <a:lnTo>
                    <a:pt x="6" y="711"/>
                  </a:lnTo>
                  <a:lnTo>
                    <a:pt x="8" y="711"/>
                  </a:lnTo>
                  <a:lnTo>
                    <a:pt x="8" y="711"/>
                  </a:lnTo>
                  <a:lnTo>
                    <a:pt x="8" y="711"/>
                  </a:lnTo>
                  <a:lnTo>
                    <a:pt x="8" y="713"/>
                  </a:lnTo>
                  <a:lnTo>
                    <a:pt x="8" y="713"/>
                  </a:lnTo>
                  <a:lnTo>
                    <a:pt x="8" y="713"/>
                  </a:lnTo>
                  <a:lnTo>
                    <a:pt x="10" y="713"/>
                  </a:lnTo>
                  <a:lnTo>
                    <a:pt x="10" y="713"/>
                  </a:lnTo>
                  <a:lnTo>
                    <a:pt x="10" y="713"/>
                  </a:lnTo>
                  <a:lnTo>
                    <a:pt x="8" y="713"/>
                  </a:lnTo>
                  <a:lnTo>
                    <a:pt x="8" y="715"/>
                  </a:lnTo>
                  <a:lnTo>
                    <a:pt x="8" y="715"/>
                  </a:lnTo>
                  <a:lnTo>
                    <a:pt x="10" y="715"/>
                  </a:lnTo>
                  <a:lnTo>
                    <a:pt x="10" y="715"/>
                  </a:lnTo>
                  <a:lnTo>
                    <a:pt x="12" y="715"/>
                  </a:lnTo>
                  <a:lnTo>
                    <a:pt x="14" y="713"/>
                  </a:lnTo>
                  <a:lnTo>
                    <a:pt x="14" y="713"/>
                  </a:lnTo>
                  <a:close/>
                  <a:moveTo>
                    <a:pt x="188" y="844"/>
                  </a:moveTo>
                  <a:lnTo>
                    <a:pt x="188" y="844"/>
                  </a:lnTo>
                  <a:lnTo>
                    <a:pt x="186" y="842"/>
                  </a:lnTo>
                  <a:lnTo>
                    <a:pt x="186" y="842"/>
                  </a:lnTo>
                  <a:lnTo>
                    <a:pt x="186" y="842"/>
                  </a:lnTo>
                  <a:lnTo>
                    <a:pt x="186" y="842"/>
                  </a:lnTo>
                  <a:lnTo>
                    <a:pt x="186" y="842"/>
                  </a:lnTo>
                  <a:lnTo>
                    <a:pt x="186" y="842"/>
                  </a:lnTo>
                  <a:lnTo>
                    <a:pt x="186" y="842"/>
                  </a:lnTo>
                  <a:lnTo>
                    <a:pt x="186" y="840"/>
                  </a:lnTo>
                  <a:lnTo>
                    <a:pt x="184" y="842"/>
                  </a:lnTo>
                  <a:lnTo>
                    <a:pt x="184" y="842"/>
                  </a:lnTo>
                  <a:lnTo>
                    <a:pt x="184" y="842"/>
                  </a:lnTo>
                  <a:lnTo>
                    <a:pt x="182" y="842"/>
                  </a:lnTo>
                  <a:lnTo>
                    <a:pt x="182" y="842"/>
                  </a:lnTo>
                  <a:lnTo>
                    <a:pt x="182" y="842"/>
                  </a:lnTo>
                  <a:lnTo>
                    <a:pt x="180" y="842"/>
                  </a:lnTo>
                  <a:lnTo>
                    <a:pt x="180" y="842"/>
                  </a:lnTo>
                  <a:lnTo>
                    <a:pt x="180" y="842"/>
                  </a:lnTo>
                  <a:lnTo>
                    <a:pt x="180" y="842"/>
                  </a:lnTo>
                  <a:lnTo>
                    <a:pt x="180" y="844"/>
                  </a:lnTo>
                  <a:lnTo>
                    <a:pt x="180" y="844"/>
                  </a:lnTo>
                  <a:lnTo>
                    <a:pt x="180" y="844"/>
                  </a:lnTo>
                  <a:lnTo>
                    <a:pt x="180" y="844"/>
                  </a:lnTo>
                  <a:lnTo>
                    <a:pt x="180" y="844"/>
                  </a:lnTo>
                  <a:lnTo>
                    <a:pt x="180" y="846"/>
                  </a:lnTo>
                  <a:lnTo>
                    <a:pt x="180" y="846"/>
                  </a:lnTo>
                  <a:lnTo>
                    <a:pt x="180" y="846"/>
                  </a:lnTo>
                  <a:lnTo>
                    <a:pt x="180" y="848"/>
                  </a:lnTo>
                  <a:lnTo>
                    <a:pt x="182" y="848"/>
                  </a:lnTo>
                  <a:lnTo>
                    <a:pt x="184" y="848"/>
                  </a:lnTo>
                  <a:lnTo>
                    <a:pt x="184" y="848"/>
                  </a:lnTo>
                  <a:lnTo>
                    <a:pt x="186" y="848"/>
                  </a:lnTo>
                  <a:lnTo>
                    <a:pt x="186" y="848"/>
                  </a:lnTo>
                  <a:lnTo>
                    <a:pt x="186" y="848"/>
                  </a:lnTo>
                  <a:lnTo>
                    <a:pt x="188" y="846"/>
                  </a:lnTo>
                  <a:lnTo>
                    <a:pt x="188" y="846"/>
                  </a:lnTo>
                  <a:lnTo>
                    <a:pt x="188" y="846"/>
                  </a:lnTo>
                  <a:lnTo>
                    <a:pt x="188" y="846"/>
                  </a:lnTo>
                  <a:lnTo>
                    <a:pt x="188" y="846"/>
                  </a:lnTo>
                  <a:lnTo>
                    <a:pt x="188" y="846"/>
                  </a:lnTo>
                  <a:lnTo>
                    <a:pt x="188" y="844"/>
                  </a:lnTo>
                  <a:close/>
                  <a:moveTo>
                    <a:pt x="211" y="891"/>
                  </a:moveTo>
                  <a:lnTo>
                    <a:pt x="209" y="891"/>
                  </a:lnTo>
                  <a:lnTo>
                    <a:pt x="209" y="891"/>
                  </a:lnTo>
                  <a:lnTo>
                    <a:pt x="207" y="894"/>
                  </a:lnTo>
                  <a:lnTo>
                    <a:pt x="207" y="894"/>
                  </a:lnTo>
                  <a:lnTo>
                    <a:pt x="207" y="894"/>
                  </a:lnTo>
                  <a:lnTo>
                    <a:pt x="207" y="894"/>
                  </a:lnTo>
                  <a:lnTo>
                    <a:pt x="207" y="896"/>
                  </a:lnTo>
                  <a:lnTo>
                    <a:pt x="207" y="896"/>
                  </a:lnTo>
                  <a:lnTo>
                    <a:pt x="209" y="896"/>
                  </a:lnTo>
                  <a:lnTo>
                    <a:pt x="209" y="896"/>
                  </a:lnTo>
                  <a:lnTo>
                    <a:pt x="209" y="896"/>
                  </a:lnTo>
                  <a:lnTo>
                    <a:pt x="211" y="894"/>
                  </a:lnTo>
                  <a:lnTo>
                    <a:pt x="209" y="894"/>
                  </a:lnTo>
                  <a:lnTo>
                    <a:pt x="211" y="894"/>
                  </a:lnTo>
                  <a:lnTo>
                    <a:pt x="211" y="891"/>
                  </a:lnTo>
                  <a:close/>
                  <a:moveTo>
                    <a:pt x="143" y="834"/>
                  </a:moveTo>
                  <a:lnTo>
                    <a:pt x="143" y="834"/>
                  </a:lnTo>
                  <a:lnTo>
                    <a:pt x="141" y="834"/>
                  </a:lnTo>
                  <a:lnTo>
                    <a:pt x="141" y="834"/>
                  </a:lnTo>
                  <a:lnTo>
                    <a:pt x="141" y="834"/>
                  </a:lnTo>
                  <a:lnTo>
                    <a:pt x="141" y="832"/>
                  </a:lnTo>
                  <a:lnTo>
                    <a:pt x="139" y="832"/>
                  </a:lnTo>
                  <a:lnTo>
                    <a:pt x="139" y="832"/>
                  </a:lnTo>
                  <a:lnTo>
                    <a:pt x="139" y="834"/>
                  </a:lnTo>
                  <a:lnTo>
                    <a:pt x="141" y="834"/>
                  </a:lnTo>
                  <a:lnTo>
                    <a:pt x="141" y="834"/>
                  </a:lnTo>
                  <a:lnTo>
                    <a:pt x="141" y="836"/>
                  </a:lnTo>
                  <a:lnTo>
                    <a:pt x="141" y="836"/>
                  </a:lnTo>
                  <a:lnTo>
                    <a:pt x="141" y="836"/>
                  </a:lnTo>
                  <a:lnTo>
                    <a:pt x="141" y="838"/>
                  </a:lnTo>
                  <a:lnTo>
                    <a:pt x="143" y="838"/>
                  </a:lnTo>
                  <a:lnTo>
                    <a:pt x="143" y="838"/>
                  </a:lnTo>
                  <a:lnTo>
                    <a:pt x="143" y="838"/>
                  </a:lnTo>
                  <a:lnTo>
                    <a:pt x="143" y="836"/>
                  </a:lnTo>
                  <a:lnTo>
                    <a:pt x="143" y="834"/>
                  </a:lnTo>
                  <a:close/>
                  <a:moveTo>
                    <a:pt x="166" y="869"/>
                  </a:moveTo>
                  <a:lnTo>
                    <a:pt x="166" y="869"/>
                  </a:lnTo>
                  <a:lnTo>
                    <a:pt x="162" y="867"/>
                  </a:lnTo>
                  <a:lnTo>
                    <a:pt x="162" y="867"/>
                  </a:lnTo>
                  <a:lnTo>
                    <a:pt x="164" y="867"/>
                  </a:lnTo>
                  <a:lnTo>
                    <a:pt x="164" y="867"/>
                  </a:lnTo>
                  <a:lnTo>
                    <a:pt x="164" y="867"/>
                  </a:lnTo>
                  <a:lnTo>
                    <a:pt x="164" y="867"/>
                  </a:lnTo>
                  <a:lnTo>
                    <a:pt x="162" y="867"/>
                  </a:lnTo>
                  <a:lnTo>
                    <a:pt x="162" y="865"/>
                  </a:lnTo>
                  <a:lnTo>
                    <a:pt x="162" y="865"/>
                  </a:lnTo>
                  <a:lnTo>
                    <a:pt x="162" y="863"/>
                  </a:lnTo>
                  <a:lnTo>
                    <a:pt x="162" y="863"/>
                  </a:lnTo>
                  <a:lnTo>
                    <a:pt x="162" y="863"/>
                  </a:lnTo>
                  <a:lnTo>
                    <a:pt x="160" y="861"/>
                  </a:lnTo>
                  <a:lnTo>
                    <a:pt x="160" y="861"/>
                  </a:lnTo>
                  <a:lnTo>
                    <a:pt x="158" y="859"/>
                  </a:lnTo>
                  <a:lnTo>
                    <a:pt x="158" y="857"/>
                  </a:lnTo>
                  <a:lnTo>
                    <a:pt x="158" y="857"/>
                  </a:lnTo>
                  <a:lnTo>
                    <a:pt x="158" y="857"/>
                  </a:lnTo>
                  <a:lnTo>
                    <a:pt x="158" y="855"/>
                  </a:lnTo>
                  <a:lnTo>
                    <a:pt x="158" y="855"/>
                  </a:lnTo>
                  <a:lnTo>
                    <a:pt x="158" y="855"/>
                  </a:lnTo>
                  <a:lnTo>
                    <a:pt x="158" y="855"/>
                  </a:lnTo>
                  <a:lnTo>
                    <a:pt x="158" y="855"/>
                  </a:lnTo>
                  <a:lnTo>
                    <a:pt x="156" y="855"/>
                  </a:lnTo>
                  <a:lnTo>
                    <a:pt x="156" y="855"/>
                  </a:lnTo>
                  <a:lnTo>
                    <a:pt x="156" y="853"/>
                  </a:lnTo>
                  <a:lnTo>
                    <a:pt x="156" y="853"/>
                  </a:lnTo>
                  <a:lnTo>
                    <a:pt x="156" y="853"/>
                  </a:lnTo>
                  <a:lnTo>
                    <a:pt x="156" y="853"/>
                  </a:lnTo>
                  <a:lnTo>
                    <a:pt x="156" y="850"/>
                  </a:lnTo>
                  <a:lnTo>
                    <a:pt x="156" y="850"/>
                  </a:lnTo>
                  <a:lnTo>
                    <a:pt x="154" y="850"/>
                  </a:lnTo>
                  <a:lnTo>
                    <a:pt x="154" y="850"/>
                  </a:lnTo>
                  <a:lnTo>
                    <a:pt x="154" y="850"/>
                  </a:lnTo>
                  <a:lnTo>
                    <a:pt x="154" y="850"/>
                  </a:lnTo>
                  <a:lnTo>
                    <a:pt x="154" y="850"/>
                  </a:lnTo>
                  <a:lnTo>
                    <a:pt x="152" y="850"/>
                  </a:lnTo>
                  <a:lnTo>
                    <a:pt x="152" y="848"/>
                  </a:lnTo>
                  <a:lnTo>
                    <a:pt x="152" y="848"/>
                  </a:lnTo>
                  <a:lnTo>
                    <a:pt x="150" y="846"/>
                  </a:lnTo>
                  <a:lnTo>
                    <a:pt x="150" y="846"/>
                  </a:lnTo>
                  <a:lnTo>
                    <a:pt x="148" y="846"/>
                  </a:lnTo>
                  <a:lnTo>
                    <a:pt x="150" y="848"/>
                  </a:lnTo>
                  <a:lnTo>
                    <a:pt x="150" y="850"/>
                  </a:lnTo>
                  <a:lnTo>
                    <a:pt x="150" y="850"/>
                  </a:lnTo>
                  <a:lnTo>
                    <a:pt x="150" y="850"/>
                  </a:lnTo>
                  <a:lnTo>
                    <a:pt x="152" y="850"/>
                  </a:lnTo>
                  <a:lnTo>
                    <a:pt x="152" y="853"/>
                  </a:lnTo>
                  <a:lnTo>
                    <a:pt x="152" y="853"/>
                  </a:lnTo>
                  <a:lnTo>
                    <a:pt x="152" y="853"/>
                  </a:lnTo>
                  <a:lnTo>
                    <a:pt x="154" y="853"/>
                  </a:lnTo>
                  <a:lnTo>
                    <a:pt x="154" y="853"/>
                  </a:lnTo>
                  <a:lnTo>
                    <a:pt x="156" y="855"/>
                  </a:lnTo>
                  <a:lnTo>
                    <a:pt x="156" y="857"/>
                  </a:lnTo>
                  <a:lnTo>
                    <a:pt x="156" y="857"/>
                  </a:lnTo>
                  <a:lnTo>
                    <a:pt x="158" y="859"/>
                  </a:lnTo>
                  <a:lnTo>
                    <a:pt x="158" y="859"/>
                  </a:lnTo>
                  <a:lnTo>
                    <a:pt x="158" y="859"/>
                  </a:lnTo>
                  <a:lnTo>
                    <a:pt x="158" y="861"/>
                  </a:lnTo>
                  <a:lnTo>
                    <a:pt x="158" y="861"/>
                  </a:lnTo>
                  <a:lnTo>
                    <a:pt x="158" y="861"/>
                  </a:lnTo>
                  <a:lnTo>
                    <a:pt x="158" y="863"/>
                  </a:lnTo>
                  <a:lnTo>
                    <a:pt x="162" y="867"/>
                  </a:lnTo>
                  <a:lnTo>
                    <a:pt x="162" y="867"/>
                  </a:lnTo>
                  <a:lnTo>
                    <a:pt x="160" y="867"/>
                  </a:lnTo>
                  <a:lnTo>
                    <a:pt x="160" y="869"/>
                  </a:lnTo>
                  <a:lnTo>
                    <a:pt x="160" y="869"/>
                  </a:lnTo>
                  <a:lnTo>
                    <a:pt x="162" y="869"/>
                  </a:lnTo>
                  <a:lnTo>
                    <a:pt x="162" y="869"/>
                  </a:lnTo>
                  <a:lnTo>
                    <a:pt x="162" y="869"/>
                  </a:lnTo>
                  <a:lnTo>
                    <a:pt x="162" y="869"/>
                  </a:lnTo>
                  <a:lnTo>
                    <a:pt x="162" y="869"/>
                  </a:lnTo>
                  <a:lnTo>
                    <a:pt x="164" y="869"/>
                  </a:lnTo>
                  <a:lnTo>
                    <a:pt x="164" y="869"/>
                  </a:lnTo>
                  <a:lnTo>
                    <a:pt x="164" y="869"/>
                  </a:lnTo>
                  <a:lnTo>
                    <a:pt x="164" y="869"/>
                  </a:lnTo>
                  <a:lnTo>
                    <a:pt x="164" y="869"/>
                  </a:lnTo>
                  <a:lnTo>
                    <a:pt x="166" y="869"/>
                  </a:lnTo>
                  <a:lnTo>
                    <a:pt x="166" y="869"/>
                  </a:lnTo>
                  <a:lnTo>
                    <a:pt x="166" y="871"/>
                  </a:lnTo>
                  <a:lnTo>
                    <a:pt x="166" y="871"/>
                  </a:lnTo>
                  <a:lnTo>
                    <a:pt x="166" y="871"/>
                  </a:lnTo>
                  <a:lnTo>
                    <a:pt x="166" y="871"/>
                  </a:lnTo>
                  <a:lnTo>
                    <a:pt x="166" y="871"/>
                  </a:lnTo>
                  <a:lnTo>
                    <a:pt x="168" y="871"/>
                  </a:lnTo>
                  <a:lnTo>
                    <a:pt x="168" y="871"/>
                  </a:lnTo>
                  <a:lnTo>
                    <a:pt x="168" y="871"/>
                  </a:lnTo>
                  <a:lnTo>
                    <a:pt x="166" y="869"/>
                  </a:lnTo>
                  <a:close/>
                  <a:moveTo>
                    <a:pt x="129" y="812"/>
                  </a:moveTo>
                  <a:lnTo>
                    <a:pt x="129" y="812"/>
                  </a:lnTo>
                  <a:lnTo>
                    <a:pt x="127" y="812"/>
                  </a:lnTo>
                  <a:lnTo>
                    <a:pt x="127" y="812"/>
                  </a:lnTo>
                  <a:lnTo>
                    <a:pt x="125" y="812"/>
                  </a:lnTo>
                  <a:lnTo>
                    <a:pt x="123" y="814"/>
                  </a:lnTo>
                  <a:lnTo>
                    <a:pt x="123" y="816"/>
                  </a:lnTo>
                  <a:lnTo>
                    <a:pt x="123" y="816"/>
                  </a:lnTo>
                  <a:lnTo>
                    <a:pt x="121" y="816"/>
                  </a:lnTo>
                  <a:lnTo>
                    <a:pt x="121" y="816"/>
                  </a:lnTo>
                  <a:lnTo>
                    <a:pt x="121" y="816"/>
                  </a:lnTo>
                  <a:lnTo>
                    <a:pt x="121" y="816"/>
                  </a:lnTo>
                  <a:lnTo>
                    <a:pt x="119" y="816"/>
                  </a:lnTo>
                  <a:lnTo>
                    <a:pt x="119" y="816"/>
                  </a:lnTo>
                  <a:lnTo>
                    <a:pt x="119" y="816"/>
                  </a:lnTo>
                  <a:lnTo>
                    <a:pt x="117" y="816"/>
                  </a:lnTo>
                  <a:lnTo>
                    <a:pt x="117" y="816"/>
                  </a:lnTo>
                  <a:lnTo>
                    <a:pt x="117" y="816"/>
                  </a:lnTo>
                  <a:lnTo>
                    <a:pt x="115" y="816"/>
                  </a:lnTo>
                  <a:lnTo>
                    <a:pt x="115" y="816"/>
                  </a:lnTo>
                  <a:lnTo>
                    <a:pt x="113" y="816"/>
                  </a:lnTo>
                  <a:lnTo>
                    <a:pt x="113" y="818"/>
                  </a:lnTo>
                  <a:lnTo>
                    <a:pt x="113" y="820"/>
                  </a:lnTo>
                  <a:lnTo>
                    <a:pt x="113" y="820"/>
                  </a:lnTo>
                  <a:lnTo>
                    <a:pt x="113" y="820"/>
                  </a:lnTo>
                  <a:lnTo>
                    <a:pt x="113" y="820"/>
                  </a:lnTo>
                  <a:lnTo>
                    <a:pt x="113" y="822"/>
                  </a:lnTo>
                  <a:lnTo>
                    <a:pt x="113" y="822"/>
                  </a:lnTo>
                  <a:lnTo>
                    <a:pt x="115" y="820"/>
                  </a:lnTo>
                  <a:lnTo>
                    <a:pt x="115" y="820"/>
                  </a:lnTo>
                  <a:lnTo>
                    <a:pt x="117" y="818"/>
                  </a:lnTo>
                  <a:lnTo>
                    <a:pt x="117" y="818"/>
                  </a:lnTo>
                  <a:lnTo>
                    <a:pt x="117" y="818"/>
                  </a:lnTo>
                  <a:lnTo>
                    <a:pt x="119" y="818"/>
                  </a:lnTo>
                  <a:lnTo>
                    <a:pt x="121" y="818"/>
                  </a:lnTo>
                  <a:lnTo>
                    <a:pt x="119" y="818"/>
                  </a:lnTo>
                  <a:lnTo>
                    <a:pt x="119" y="820"/>
                  </a:lnTo>
                  <a:lnTo>
                    <a:pt x="121" y="820"/>
                  </a:lnTo>
                  <a:lnTo>
                    <a:pt x="121" y="818"/>
                  </a:lnTo>
                  <a:lnTo>
                    <a:pt x="121" y="818"/>
                  </a:lnTo>
                  <a:lnTo>
                    <a:pt x="121" y="818"/>
                  </a:lnTo>
                  <a:lnTo>
                    <a:pt x="123" y="820"/>
                  </a:lnTo>
                  <a:lnTo>
                    <a:pt x="123" y="820"/>
                  </a:lnTo>
                  <a:lnTo>
                    <a:pt x="123" y="820"/>
                  </a:lnTo>
                  <a:lnTo>
                    <a:pt x="123" y="820"/>
                  </a:lnTo>
                  <a:lnTo>
                    <a:pt x="123" y="820"/>
                  </a:lnTo>
                  <a:lnTo>
                    <a:pt x="123" y="820"/>
                  </a:lnTo>
                  <a:lnTo>
                    <a:pt x="123" y="820"/>
                  </a:lnTo>
                  <a:lnTo>
                    <a:pt x="125" y="820"/>
                  </a:lnTo>
                  <a:lnTo>
                    <a:pt x="125" y="820"/>
                  </a:lnTo>
                  <a:lnTo>
                    <a:pt x="125" y="820"/>
                  </a:lnTo>
                  <a:lnTo>
                    <a:pt x="125" y="820"/>
                  </a:lnTo>
                  <a:lnTo>
                    <a:pt x="123" y="818"/>
                  </a:lnTo>
                  <a:lnTo>
                    <a:pt x="123" y="818"/>
                  </a:lnTo>
                  <a:lnTo>
                    <a:pt x="123" y="818"/>
                  </a:lnTo>
                  <a:lnTo>
                    <a:pt x="125" y="818"/>
                  </a:lnTo>
                  <a:lnTo>
                    <a:pt x="125" y="816"/>
                  </a:lnTo>
                  <a:lnTo>
                    <a:pt x="127" y="816"/>
                  </a:lnTo>
                  <a:lnTo>
                    <a:pt x="127" y="816"/>
                  </a:lnTo>
                  <a:lnTo>
                    <a:pt x="127" y="816"/>
                  </a:lnTo>
                  <a:lnTo>
                    <a:pt x="127" y="814"/>
                  </a:lnTo>
                  <a:lnTo>
                    <a:pt x="129" y="814"/>
                  </a:lnTo>
                  <a:lnTo>
                    <a:pt x="129" y="814"/>
                  </a:lnTo>
                  <a:lnTo>
                    <a:pt x="129" y="814"/>
                  </a:lnTo>
                  <a:lnTo>
                    <a:pt x="129" y="814"/>
                  </a:lnTo>
                  <a:lnTo>
                    <a:pt x="129" y="814"/>
                  </a:lnTo>
                  <a:lnTo>
                    <a:pt x="129" y="812"/>
                  </a:lnTo>
                  <a:lnTo>
                    <a:pt x="129" y="812"/>
                  </a:lnTo>
                  <a:close/>
                  <a:moveTo>
                    <a:pt x="535" y="492"/>
                  </a:moveTo>
                  <a:lnTo>
                    <a:pt x="535" y="492"/>
                  </a:lnTo>
                  <a:lnTo>
                    <a:pt x="535" y="492"/>
                  </a:lnTo>
                  <a:lnTo>
                    <a:pt x="535" y="492"/>
                  </a:lnTo>
                  <a:lnTo>
                    <a:pt x="535" y="490"/>
                  </a:lnTo>
                  <a:lnTo>
                    <a:pt x="535" y="490"/>
                  </a:lnTo>
                  <a:lnTo>
                    <a:pt x="535" y="490"/>
                  </a:lnTo>
                  <a:lnTo>
                    <a:pt x="535" y="490"/>
                  </a:lnTo>
                  <a:lnTo>
                    <a:pt x="535" y="488"/>
                  </a:lnTo>
                  <a:lnTo>
                    <a:pt x="535" y="488"/>
                  </a:lnTo>
                  <a:lnTo>
                    <a:pt x="535" y="488"/>
                  </a:lnTo>
                  <a:lnTo>
                    <a:pt x="533" y="490"/>
                  </a:lnTo>
                  <a:lnTo>
                    <a:pt x="533" y="490"/>
                  </a:lnTo>
                  <a:lnTo>
                    <a:pt x="533" y="490"/>
                  </a:lnTo>
                  <a:lnTo>
                    <a:pt x="535" y="492"/>
                  </a:lnTo>
                  <a:close/>
                  <a:moveTo>
                    <a:pt x="522" y="906"/>
                  </a:moveTo>
                  <a:lnTo>
                    <a:pt x="522" y="906"/>
                  </a:lnTo>
                  <a:lnTo>
                    <a:pt x="522" y="906"/>
                  </a:lnTo>
                  <a:lnTo>
                    <a:pt x="522" y="906"/>
                  </a:lnTo>
                  <a:lnTo>
                    <a:pt x="522" y="906"/>
                  </a:lnTo>
                  <a:lnTo>
                    <a:pt x="522" y="906"/>
                  </a:lnTo>
                  <a:lnTo>
                    <a:pt x="520" y="906"/>
                  </a:lnTo>
                  <a:lnTo>
                    <a:pt x="520" y="906"/>
                  </a:lnTo>
                  <a:lnTo>
                    <a:pt x="520" y="906"/>
                  </a:lnTo>
                  <a:lnTo>
                    <a:pt x="520" y="904"/>
                  </a:lnTo>
                  <a:lnTo>
                    <a:pt x="520" y="904"/>
                  </a:lnTo>
                  <a:lnTo>
                    <a:pt x="518" y="904"/>
                  </a:lnTo>
                  <a:lnTo>
                    <a:pt x="518" y="904"/>
                  </a:lnTo>
                  <a:lnTo>
                    <a:pt x="516" y="904"/>
                  </a:lnTo>
                  <a:lnTo>
                    <a:pt x="516" y="906"/>
                  </a:lnTo>
                  <a:lnTo>
                    <a:pt x="516" y="906"/>
                  </a:lnTo>
                  <a:lnTo>
                    <a:pt x="514" y="906"/>
                  </a:lnTo>
                  <a:lnTo>
                    <a:pt x="514" y="904"/>
                  </a:lnTo>
                  <a:lnTo>
                    <a:pt x="514" y="904"/>
                  </a:lnTo>
                  <a:lnTo>
                    <a:pt x="512" y="906"/>
                  </a:lnTo>
                  <a:lnTo>
                    <a:pt x="512" y="906"/>
                  </a:lnTo>
                  <a:lnTo>
                    <a:pt x="512" y="906"/>
                  </a:lnTo>
                  <a:lnTo>
                    <a:pt x="512" y="908"/>
                  </a:lnTo>
                  <a:lnTo>
                    <a:pt x="512" y="908"/>
                  </a:lnTo>
                  <a:lnTo>
                    <a:pt x="512" y="908"/>
                  </a:lnTo>
                  <a:lnTo>
                    <a:pt x="512" y="908"/>
                  </a:lnTo>
                  <a:lnTo>
                    <a:pt x="514" y="908"/>
                  </a:lnTo>
                  <a:lnTo>
                    <a:pt x="514" y="908"/>
                  </a:lnTo>
                  <a:lnTo>
                    <a:pt x="514" y="908"/>
                  </a:lnTo>
                  <a:lnTo>
                    <a:pt x="516" y="908"/>
                  </a:lnTo>
                  <a:lnTo>
                    <a:pt x="516" y="908"/>
                  </a:lnTo>
                  <a:lnTo>
                    <a:pt x="518" y="908"/>
                  </a:lnTo>
                  <a:lnTo>
                    <a:pt x="518" y="910"/>
                  </a:lnTo>
                  <a:lnTo>
                    <a:pt x="520" y="910"/>
                  </a:lnTo>
                  <a:lnTo>
                    <a:pt x="520" y="910"/>
                  </a:lnTo>
                  <a:lnTo>
                    <a:pt x="520" y="910"/>
                  </a:lnTo>
                  <a:lnTo>
                    <a:pt x="520" y="910"/>
                  </a:lnTo>
                  <a:lnTo>
                    <a:pt x="520" y="910"/>
                  </a:lnTo>
                  <a:lnTo>
                    <a:pt x="522" y="908"/>
                  </a:lnTo>
                  <a:lnTo>
                    <a:pt x="522" y="908"/>
                  </a:lnTo>
                  <a:lnTo>
                    <a:pt x="522" y="908"/>
                  </a:lnTo>
                  <a:lnTo>
                    <a:pt x="522" y="908"/>
                  </a:lnTo>
                  <a:lnTo>
                    <a:pt x="522" y="906"/>
                  </a:lnTo>
                  <a:lnTo>
                    <a:pt x="522" y="906"/>
                  </a:lnTo>
                  <a:lnTo>
                    <a:pt x="522" y="906"/>
                  </a:lnTo>
                  <a:close/>
                  <a:moveTo>
                    <a:pt x="524" y="898"/>
                  </a:moveTo>
                  <a:lnTo>
                    <a:pt x="524" y="898"/>
                  </a:lnTo>
                  <a:lnTo>
                    <a:pt x="522" y="898"/>
                  </a:lnTo>
                  <a:lnTo>
                    <a:pt x="522" y="898"/>
                  </a:lnTo>
                  <a:lnTo>
                    <a:pt x="522" y="900"/>
                  </a:lnTo>
                  <a:lnTo>
                    <a:pt x="522" y="900"/>
                  </a:lnTo>
                  <a:lnTo>
                    <a:pt x="522" y="900"/>
                  </a:lnTo>
                  <a:lnTo>
                    <a:pt x="522" y="902"/>
                  </a:lnTo>
                  <a:lnTo>
                    <a:pt x="522" y="902"/>
                  </a:lnTo>
                  <a:lnTo>
                    <a:pt x="522" y="902"/>
                  </a:lnTo>
                  <a:lnTo>
                    <a:pt x="522" y="902"/>
                  </a:lnTo>
                  <a:lnTo>
                    <a:pt x="524" y="900"/>
                  </a:lnTo>
                  <a:lnTo>
                    <a:pt x="524" y="900"/>
                  </a:lnTo>
                  <a:lnTo>
                    <a:pt x="524" y="900"/>
                  </a:lnTo>
                  <a:lnTo>
                    <a:pt x="524" y="898"/>
                  </a:lnTo>
                  <a:lnTo>
                    <a:pt x="524" y="898"/>
                  </a:lnTo>
                  <a:lnTo>
                    <a:pt x="524" y="898"/>
                  </a:lnTo>
                  <a:close/>
                  <a:moveTo>
                    <a:pt x="567" y="719"/>
                  </a:moveTo>
                  <a:lnTo>
                    <a:pt x="567" y="719"/>
                  </a:lnTo>
                  <a:lnTo>
                    <a:pt x="567" y="719"/>
                  </a:lnTo>
                  <a:lnTo>
                    <a:pt x="569" y="721"/>
                  </a:lnTo>
                  <a:lnTo>
                    <a:pt x="569" y="721"/>
                  </a:lnTo>
                  <a:lnTo>
                    <a:pt x="571" y="721"/>
                  </a:lnTo>
                  <a:lnTo>
                    <a:pt x="571" y="719"/>
                  </a:lnTo>
                  <a:lnTo>
                    <a:pt x="573" y="719"/>
                  </a:lnTo>
                  <a:lnTo>
                    <a:pt x="573" y="719"/>
                  </a:lnTo>
                  <a:lnTo>
                    <a:pt x="571" y="717"/>
                  </a:lnTo>
                  <a:lnTo>
                    <a:pt x="571" y="717"/>
                  </a:lnTo>
                  <a:lnTo>
                    <a:pt x="571" y="717"/>
                  </a:lnTo>
                  <a:lnTo>
                    <a:pt x="569" y="717"/>
                  </a:lnTo>
                  <a:lnTo>
                    <a:pt x="567" y="715"/>
                  </a:lnTo>
                  <a:lnTo>
                    <a:pt x="565" y="715"/>
                  </a:lnTo>
                  <a:lnTo>
                    <a:pt x="565" y="717"/>
                  </a:lnTo>
                  <a:lnTo>
                    <a:pt x="567" y="719"/>
                  </a:lnTo>
                  <a:close/>
                  <a:moveTo>
                    <a:pt x="514" y="902"/>
                  </a:moveTo>
                  <a:lnTo>
                    <a:pt x="512" y="902"/>
                  </a:lnTo>
                  <a:lnTo>
                    <a:pt x="512" y="902"/>
                  </a:lnTo>
                  <a:lnTo>
                    <a:pt x="510" y="900"/>
                  </a:lnTo>
                  <a:lnTo>
                    <a:pt x="510" y="900"/>
                  </a:lnTo>
                  <a:lnTo>
                    <a:pt x="510" y="902"/>
                  </a:lnTo>
                  <a:lnTo>
                    <a:pt x="510" y="902"/>
                  </a:lnTo>
                  <a:lnTo>
                    <a:pt x="510" y="902"/>
                  </a:lnTo>
                  <a:lnTo>
                    <a:pt x="510" y="902"/>
                  </a:lnTo>
                  <a:lnTo>
                    <a:pt x="510" y="904"/>
                  </a:lnTo>
                  <a:lnTo>
                    <a:pt x="510" y="904"/>
                  </a:lnTo>
                  <a:lnTo>
                    <a:pt x="510" y="904"/>
                  </a:lnTo>
                  <a:lnTo>
                    <a:pt x="512" y="904"/>
                  </a:lnTo>
                  <a:lnTo>
                    <a:pt x="512" y="904"/>
                  </a:lnTo>
                  <a:lnTo>
                    <a:pt x="514" y="902"/>
                  </a:lnTo>
                  <a:close/>
                  <a:moveTo>
                    <a:pt x="510" y="908"/>
                  </a:moveTo>
                  <a:lnTo>
                    <a:pt x="508" y="908"/>
                  </a:lnTo>
                  <a:lnTo>
                    <a:pt x="508" y="908"/>
                  </a:lnTo>
                  <a:lnTo>
                    <a:pt x="508" y="908"/>
                  </a:lnTo>
                  <a:lnTo>
                    <a:pt x="508" y="906"/>
                  </a:lnTo>
                  <a:lnTo>
                    <a:pt x="506" y="906"/>
                  </a:lnTo>
                  <a:lnTo>
                    <a:pt x="506" y="906"/>
                  </a:lnTo>
                  <a:lnTo>
                    <a:pt x="506" y="908"/>
                  </a:lnTo>
                  <a:lnTo>
                    <a:pt x="506" y="908"/>
                  </a:lnTo>
                  <a:lnTo>
                    <a:pt x="506" y="908"/>
                  </a:lnTo>
                  <a:lnTo>
                    <a:pt x="506" y="908"/>
                  </a:lnTo>
                  <a:lnTo>
                    <a:pt x="506" y="910"/>
                  </a:lnTo>
                  <a:lnTo>
                    <a:pt x="508" y="910"/>
                  </a:lnTo>
                  <a:lnTo>
                    <a:pt x="510" y="910"/>
                  </a:lnTo>
                  <a:lnTo>
                    <a:pt x="510" y="910"/>
                  </a:lnTo>
                  <a:lnTo>
                    <a:pt x="510" y="910"/>
                  </a:lnTo>
                  <a:lnTo>
                    <a:pt x="510" y="910"/>
                  </a:lnTo>
                  <a:lnTo>
                    <a:pt x="510" y="908"/>
                  </a:lnTo>
                  <a:lnTo>
                    <a:pt x="510" y="908"/>
                  </a:lnTo>
                  <a:close/>
                  <a:moveTo>
                    <a:pt x="555" y="684"/>
                  </a:moveTo>
                  <a:lnTo>
                    <a:pt x="555" y="684"/>
                  </a:lnTo>
                  <a:lnTo>
                    <a:pt x="557" y="684"/>
                  </a:lnTo>
                  <a:lnTo>
                    <a:pt x="557" y="684"/>
                  </a:lnTo>
                  <a:lnTo>
                    <a:pt x="557" y="687"/>
                  </a:lnTo>
                  <a:lnTo>
                    <a:pt x="559" y="687"/>
                  </a:lnTo>
                  <a:lnTo>
                    <a:pt x="559" y="687"/>
                  </a:lnTo>
                  <a:lnTo>
                    <a:pt x="557" y="687"/>
                  </a:lnTo>
                  <a:lnTo>
                    <a:pt x="557" y="689"/>
                  </a:lnTo>
                  <a:lnTo>
                    <a:pt x="557" y="689"/>
                  </a:lnTo>
                  <a:lnTo>
                    <a:pt x="559" y="687"/>
                  </a:lnTo>
                  <a:lnTo>
                    <a:pt x="559" y="687"/>
                  </a:lnTo>
                  <a:lnTo>
                    <a:pt x="559" y="687"/>
                  </a:lnTo>
                  <a:lnTo>
                    <a:pt x="561" y="687"/>
                  </a:lnTo>
                  <a:lnTo>
                    <a:pt x="561" y="687"/>
                  </a:lnTo>
                  <a:lnTo>
                    <a:pt x="561" y="684"/>
                  </a:lnTo>
                  <a:lnTo>
                    <a:pt x="561" y="684"/>
                  </a:lnTo>
                  <a:lnTo>
                    <a:pt x="561" y="684"/>
                  </a:lnTo>
                  <a:lnTo>
                    <a:pt x="563" y="684"/>
                  </a:lnTo>
                  <a:lnTo>
                    <a:pt x="563" y="684"/>
                  </a:lnTo>
                  <a:lnTo>
                    <a:pt x="563" y="682"/>
                  </a:lnTo>
                  <a:lnTo>
                    <a:pt x="563" y="682"/>
                  </a:lnTo>
                  <a:lnTo>
                    <a:pt x="563" y="682"/>
                  </a:lnTo>
                  <a:lnTo>
                    <a:pt x="563" y="682"/>
                  </a:lnTo>
                  <a:lnTo>
                    <a:pt x="563" y="682"/>
                  </a:lnTo>
                  <a:lnTo>
                    <a:pt x="563" y="682"/>
                  </a:lnTo>
                  <a:lnTo>
                    <a:pt x="559" y="682"/>
                  </a:lnTo>
                  <a:lnTo>
                    <a:pt x="559" y="682"/>
                  </a:lnTo>
                  <a:lnTo>
                    <a:pt x="557" y="682"/>
                  </a:lnTo>
                  <a:lnTo>
                    <a:pt x="557" y="682"/>
                  </a:lnTo>
                  <a:lnTo>
                    <a:pt x="557" y="682"/>
                  </a:lnTo>
                  <a:lnTo>
                    <a:pt x="557" y="682"/>
                  </a:lnTo>
                  <a:lnTo>
                    <a:pt x="555" y="682"/>
                  </a:lnTo>
                  <a:lnTo>
                    <a:pt x="555" y="682"/>
                  </a:lnTo>
                  <a:lnTo>
                    <a:pt x="555" y="682"/>
                  </a:lnTo>
                  <a:lnTo>
                    <a:pt x="555" y="684"/>
                  </a:lnTo>
                  <a:lnTo>
                    <a:pt x="555" y="684"/>
                  </a:lnTo>
                  <a:lnTo>
                    <a:pt x="555" y="684"/>
                  </a:lnTo>
                  <a:close/>
                  <a:moveTo>
                    <a:pt x="492" y="908"/>
                  </a:moveTo>
                  <a:lnTo>
                    <a:pt x="492" y="908"/>
                  </a:lnTo>
                  <a:lnTo>
                    <a:pt x="492" y="908"/>
                  </a:lnTo>
                  <a:lnTo>
                    <a:pt x="492" y="908"/>
                  </a:lnTo>
                  <a:lnTo>
                    <a:pt x="492" y="908"/>
                  </a:lnTo>
                  <a:lnTo>
                    <a:pt x="490" y="908"/>
                  </a:lnTo>
                  <a:lnTo>
                    <a:pt x="490" y="908"/>
                  </a:lnTo>
                  <a:lnTo>
                    <a:pt x="490" y="908"/>
                  </a:lnTo>
                  <a:lnTo>
                    <a:pt x="490" y="908"/>
                  </a:lnTo>
                  <a:lnTo>
                    <a:pt x="487" y="908"/>
                  </a:lnTo>
                  <a:lnTo>
                    <a:pt x="487" y="908"/>
                  </a:lnTo>
                  <a:lnTo>
                    <a:pt x="487" y="908"/>
                  </a:lnTo>
                  <a:lnTo>
                    <a:pt x="487" y="908"/>
                  </a:lnTo>
                  <a:lnTo>
                    <a:pt x="487" y="908"/>
                  </a:lnTo>
                  <a:lnTo>
                    <a:pt x="487" y="908"/>
                  </a:lnTo>
                  <a:lnTo>
                    <a:pt x="483" y="910"/>
                  </a:lnTo>
                  <a:lnTo>
                    <a:pt x="483" y="912"/>
                  </a:lnTo>
                  <a:lnTo>
                    <a:pt x="483" y="914"/>
                  </a:lnTo>
                  <a:lnTo>
                    <a:pt x="483" y="914"/>
                  </a:lnTo>
                  <a:lnTo>
                    <a:pt x="483" y="914"/>
                  </a:lnTo>
                  <a:lnTo>
                    <a:pt x="483" y="914"/>
                  </a:lnTo>
                  <a:lnTo>
                    <a:pt x="485" y="914"/>
                  </a:lnTo>
                  <a:lnTo>
                    <a:pt x="485" y="914"/>
                  </a:lnTo>
                  <a:lnTo>
                    <a:pt x="485" y="912"/>
                  </a:lnTo>
                  <a:lnTo>
                    <a:pt x="487" y="912"/>
                  </a:lnTo>
                  <a:lnTo>
                    <a:pt x="490" y="912"/>
                  </a:lnTo>
                  <a:lnTo>
                    <a:pt x="490" y="914"/>
                  </a:lnTo>
                  <a:lnTo>
                    <a:pt x="490" y="912"/>
                  </a:lnTo>
                  <a:lnTo>
                    <a:pt x="492" y="912"/>
                  </a:lnTo>
                  <a:lnTo>
                    <a:pt x="492" y="910"/>
                  </a:lnTo>
                  <a:lnTo>
                    <a:pt x="494" y="910"/>
                  </a:lnTo>
                  <a:lnTo>
                    <a:pt x="494" y="910"/>
                  </a:lnTo>
                  <a:lnTo>
                    <a:pt x="494" y="910"/>
                  </a:lnTo>
                  <a:lnTo>
                    <a:pt x="494" y="910"/>
                  </a:lnTo>
                  <a:lnTo>
                    <a:pt x="492" y="908"/>
                  </a:lnTo>
                  <a:close/>
                  <a:moveTo>
                    <a:pt x="584" y="891"/>
                  </a:moveTo>
                  <a:lnTo>
                    <a:pt x="584" y="891"/>
                  </a:lnTo>
                  <a:lnTo>
                    <a:pt x="584" y="891"/>
                  </a:lnTo>
                  <a:lnTo>
                    <a:pt x="584" y="891"/>
                  </a:lnTo>
                  <a:lnTo>
                    <a:pt x="584" y="891"/>
                  </a:lnTo>
                  <a:lnTo>
                    <a:pt x="586" y="889"/>
                  </a:lnTo>
                  <a:lnTo>
                    <a:pt x="586" y="887"/>
                  </a:lnTo>
                  <a:lnTo>
                    <a:pt x="588" y="887"/>
                  </a:lnTo>
                  <a:lnTo>
                    <a:pt x="588" y="885"/>
                  </a:lnTo>
                  <a:lnTo>
                    <a:pt x="586" y="885"/>
                  </a:lnTo>
                  <a:lnTo>
                    <a:pt x="584" y="885"/>
                  </a:lnTo>
                  <a:lnTo>
                    <a:pt x="584" y="885"/>
                  </a:lnTo>
                  <a:lnTo>
                    <a:pt x="582" y="885"/>
                  </a:lnTo>
                  <a:lnTo>
                    <a:pt x="582" y="883"/>
                  </a:lnTo>
                  <a:lnTo>
                    <a:pt x="582" y="883"/>
                  </a:lnTo>
                  <a:lnTo>
                    <a:pt x="580" y="883"/>
                  </a:lnTo>
                  <a:lnTo>
                    <a:pt x="580" y="883"/>
                  </a:lnTo>
                  <a:lnTo>
                    <a:pt x="578" y="883"/>
                  </a:lnTo>
                  <a:lnTo>
                    <a:pt x="578" y="883"/>
                  </a:lnTo>
                  <a:lnTo>
                    <a:pt x="576" y="883"/>
                  </a:lnTo>
                  <a:lnTo>
                    <a:pt x="573" y="883"/>
                  </a:lnTo>
                  <a:lnTo>
                    <a:pt x="573" y="883"/>
                  </a:lnTo>
                  <a:lnTo>
                    <a:pt x="571" y="885"/>
                  </a:lnTo>
                  <a:lnTo>
                    <a:pt x="569" y="885"/>
                  </a:lnTo>
                  <a:lnTo>
                    <a:pt x="569" y="885"/>
                  </a:lnTo>
                  <a:lnTo>
                    <a:pt x="569" y="885"/>
                  </a:lnTo>
                  <a:lnTo>
                    <a:pt x="567" y="887"/>
                  </a:lnTo>
                  <a:lnTo>
                    <a:pt x="567" y="887"/>
                  </a:lnTo>
                  <a:lnTo>
                    <a:pt x="567" y="887"/>
                  </a:lnTo>
                  <a:lnTo>
                    <a:pt x="567" y="889"/>
                  </a:lnTo>
                  <a:lnTo>
                    <a:pt x="567" y="889"/>
                  </a:lnTo>
                  <a:lnTo>
                    <a:pt x="567" y="889"/>
                  </a:lnTo>
                  <a:lnTo>
                    <a:pt x="567" y="891"/>
                  </a:lnTo>
                  <a:lnTo>
                    <a:pt x="567" y="891"/>
                  </a:lnTo>
                  <a:lnTo>
                    <a:pt x="565" y="891"/>
                  </a:lnTo>
                  <a:lnTo>
                    <a:pt x="565" y="891"/>
                  </a:lnTo>
                  <a:lnTo>
                    <a:pt x="567" y="891"/>
                  </a:lnTo>
                  <a:lnTo>
                    <a:pt x="567" y="891"/>
                  </a:lnTo>
                  <a:lnTo>
                    <a:pt x="567" y="894"/>
                  </a:lnTo>
                  <a:lnTo>
                    <a:pt x="567" y="894"/>
                  </a:lnTo>
                  <a:lnTo>
                    <a:pt x="567" y="894"/>
                  </a:lnTo>
                  <a:lnTo>
                    <a:pt x="567" y="894"/>
                  </a:lnTo>
                  <a:lnTo>
                    <a:pt x="567" y="894"/>
                  </a:lnTo>
                  <a:lnTo>
                    <a:pt x="567" y="896"/>
                  </a:lnTo>
                  <a:lnTo>
                    <a:pt x="567" y="896"/>
                  </a:lnTo>
                  <a:lnTo>
                    <a:pt x="565" y="896"/>
                  </a:lnTo>
                  <a:lnTo>
                    <a:pt x="565" y="896"/>
                  </a:lnTo>
                  <a:lnTo>
                    <a:pt x="565" y="896"/>
                  </a:lnTo>
                  <a:lnTo>
                    <a:pt x="565" y="896"/>
                  </a:lnTo>
                  <a:lnTo>
                    <a:pt x="565" y="894"/>
                  </a:lnTo>
                  <a:lnTo>
                    <a:pt x="565" y="894"/>
                  </a:lnTo>
                  <a:lnTo>
                    <a:pt x="563" y="894"/>
                  </a:lnTo>
                  <a:lnTo>
                    <a:pt x="563" y="894"/>
                  </a:lnTo>
                  <a:lnTo>
                    <a:pt x="563" y="894"/>
                  </a:lnTo>
                  <a:lnTo>
                    <a:pt x="563" y="896"/>
                  </a:lnTo>
                  <a:lnTo>
                    <a:pt x="561" y="896"/>
                  </a:lnTo>
                  <a:lnTo>
                    <a:pt x="561" y="896"/>
                  </a:lnTo>
                  <a:lnTo>
                    <a:pt x="561" y="896"/>
                  </a:lnTo>
                  <a:lnTo>
                    <a:pt x="561" y="894"/>
                  </a:lnTo>
                  <a:lnTo>
                    <a:pt x="559" y="894"/>
                  </a:lnTo>
                  <a:lnTo>
                    <a:pt x="559" y="894"/>
                  </a:lnTo>
                  <a:lnTo>
                    <a:pt x="559" y="894"/>
                  </a:lnTo>
                  <a:lnTo>
                    <a:pt x="559" y="894"/>
                  </a:lnTo>
                  <a:lnTo>
                    <a:pt x="557" y="896"/>
                  </a:lnTo>
                  <a:lnTo>
                    <a:pt x="557" y="896"/>
                  </a:lnTo>
                  <a:lnTo>
                    <a:pt x="555" y="896"/>
                  </a:lnTo>
                  <a:lnTo>
                    <a:pt x="555" y="898"/>
                  </a:lnTo>
                  <a:lnTo>
                    <a:pt x="553" y="898"/>
                  </a:lnTo>
                  <a:lnTo>
                    <a:pt x="553" y="898"/>
                  </a:lnTo>
                  <a:lnTo>
                    <a:pt x="553" y="900"/>
                  </a:lnTo>
                  <a:lnTo>
                    <a:pt x="553" y="900"/>
                  </a:lnTo>
                  <a:lnTo>
                    <a:pt x="553" y="902"/>
                  </a:lnTo>
                  <a:lnTo>
                    <a:pt x="553" y="902"/>
                  </a:lnTo>
                  <a:lnTo>
                    <a:pt x="551" y="904"/>
                  </a:lnTo>
                  <a:lnTo>
                    <a:pt x="551" y="906"/>
                  </a:lnTo>
                  <a:lnTo>
                    <a:pt x="549" y="904"/>
                  </a:lnTo>
                  <a:lnTo>
                    <a:pt x="549" y="906"/>
                  </a:lnTo>
                  <a:lnTo>
                    <a:pt x="549" y="908"/>
                  </a:lnTo>
                  <a:lnTo>
                    <a:pt x="549" y="908"/>
                  </a:lnTo>
                  <a:lnTo>
                    <a:pt x="547" y="908"/>
                  </a:lnTo>
                  <a:lnTo>
                    <a:pt x="547" y="908"/>
                  </a:lnTo>
                  <a:lnTo>
                    <a:pt x="547" y="908"/>
                  </a:lnTo>
                  <a:lnTo>
                    <a:pt x="545" y="908"/>
                  </a:lnTo>
                  <a:lnTo>
                    <a:pt x="545" y="908"/>
                  </a:lnTo>
                  <a:lnTo>
                    <a:pt x="545" y="910"/>
                  </a:lnTo>
                  <a:lnTo>
                    <a:pt x="545" y="910"/>
                  </a:lnTo>
                  <a:lnTo>
                    <a:pt x="543" y="912"/>
                  </a:lnTo>
                  <a:lnTo>
                    <a:pt x="541" y="910"/>
                  </a:lnTo>
                  <a:lnTo>
                    <a:pt x="541" y="912"/>
                  </a:lnTo>
                  <a:lnTo>
                    <a:pt x="541" y="912"/>
                  </a:lnTo>
                  <a:lnTo>
                    <a:pt x="541" y="912"/>
                  </a:lnTo>
                  <a:lnTo>
                    <a:pt x="541" y="912"/>
                  </a:lnTo>
                  <a:lnTo>
                    <a:pt x="541" y="912"/>
                  </a:lnTo>
                  <a:lnTo>
                    <a:pt x="541" y="912"/>
                  </a:lnTo>
                  <a:lnTo>
                    <a:pt x="541" y="912"/>
                  </a:lnTo>
                  <a:lnTo>
                    <a:pt x="539" y="912"/>
                  </a:lnTo>
                  <a:lnTo>
                    <a:pt x="543" y="912"/>
                  </a:lnTo>
                  <a:lnTo>
                    <a:pt x="543" y="912"/>
                  </a:lnTo>
                  <a:lnTo>
                    <a:pt x="543" y="912"/>
                  </a:lnTo>
                  <a:lnTo>
                    <a:pt x="543" y="912"/>
                  </a:lnTo>
                  <a:lnTo>
                    <a:pt x="543" y="912"/>
                  </a:lnTo>
                  <a:lnTo>
                    <a:pt x="545" y="910"/>
                  </a:lnTo>
                  <a:lnTo>
                    <a:pt x="547" y="910"/>
                  </a:lnTo>
                  <a:lnTo>
                    <a:pt x="547" y="910"/>
                  </a:lnTo>
                  <a:lnTo>
                    <a:pt x="549" y="910"/>
                  </a:lnTo>
                  <a:lnTo>
                    <a:pt x="549" y="910"/>
                  </a:lnTo>
                  <a:lnTo>
                    <a:pt x="549" y="910"/>
                  </a:lnTo>
                  <a:lnTo>
                    <a:pt x="549" y="910"/>
                  </a:lnTo>
                  <a:lnTo>
                    <a:pt x="551" y="910"/>
                  </a:lnTo>
                  <a:lnTo>
                    <a:pt x="551" y="910"/>
                  </a:lnTo>
                  <a:lnTo>
                    <a:pt x="551" y="910"/>
                  </a:lnTo>
                  <a:lnTo>
                    <a:pt x="551" y="910"/>
                  </a:lnTo>
                  <a:lnTo>
                    <a:pt x="551" y="910"/>
                  </a:lnTo>
                  <a:lnTo>
                    <a:pt x="551" y="910"/>
                  </a:lnTo>
                  <a:lnTo>
                    <a:pt x="551" y="908"/>
                  </a:lnTo>
                  <a:lnTo>
                    <a:pt x="551" y="908"/>
                  </a:lnTo>
                  <a:lnTo>
                    <a:pt x="553" y="908"/>
                  </a:lnTo>
                  <a:lnTo>
                    <a:pt x="555" y="908"/>
                  </a:lnTo>
                  <a:lnTo>
                    <a:pt x="555" y="908"/>
                  </a:lnTo>
                  <a:lnTo>
                    <a:pt x="555" y="908"/>
                  </a:lnTo>
                  <a:lnTo>
                    <a:pt x="555" y="908"/>
                  </a:lnTo>
                  <a:lnTo>
                    <a:pt x="557" y="908"/>
                  </a:lnTo>
                  <a:lnTo>
                    <a:pt x="557" y="906"/>
                  </a:lnTo>
                  <a:lnTo>
                    <a:pt x="557" y="906"/>
                  </a:lnTo>
                  <a:lnTo>
                    <a:pt x="559" y="906"/>
                  </a:lnTo>
                  <a:lnTo>
                    <a:pt x="561" y="906"/>
                  </a:lnTo>
                  <a:lnTo>
                    <a:pt x="561" y="906"/>
                  </a:lnTo>
                  <a:lnTo>
                    <a:pt x="561" y="906"/>
                  </a:lnTo>
                  <a:lnTo>
                    <a:pt x="563" y="904"/>
                  </a:lnTo>
                  <a:lnTo>
                    <a:pt x="563" y="904"/>
                  </a:lnTo>
                  <a:lnTo>
                    <a:pt x="565" y="902"/>
                  </a:lnTo>
                  <a:lnTo>
                    <a:pt x="565" y="902"/>
                  </a:lnTo>
                  <a:lnTo>
                    <a:pt x="565" y="900"/>
                  </a:lnTo>
                  <a:lnTo>
                    <a:pt x="567" y="902"/>
                  </a:lnTo>
                  <a:lnTo>
                    <a:pt x="567" y="900"/>
                  </a:lnTo>
                  <a:lnTo>
                    <a:pt x="567" y="900"/>
                  </a:lnTo>
                  <a:lnTo>
                    <a:pt x="567" y="900"/>
                  </a:lnTo>
                  <a:lnTo>
                    <a:pt x="567" y="900"/>
                  </a:lnTo>
                  <a:lnTo>
                    <a:pt x="567" y="898"/>
                  </a:lnTo>
                  <a:lnTo>
                    <a:pt x="569" y="898"/>
                  </a:lnTo>
                  <a:lnTo>
                    <a:pt x="569" y="898"/>
                  </a:lnTo>
                  <a:lnTo>
                    <a:pt x="569" y="898"/>
                  </a:lnTo>
                  <a:lnTo>
                    <a:pt x="571" y="898"/>
                  </a:lnTo>
                  <a:lnTo>
                    <a:pt x="571" y="898"/>
                  </a:lnTo>
                  <a:lnTo>
                    <a:pt x="573" y="898"/>
                  </a:lnTo>
                  <a:lnTo>
                    <a:pt x="573" y="896"/>
                  </a:lnTo>
                  <a:lnTo>
                    <a:pt x="580" y="894"/>
                  </a:lnTo>
                  <a:lnTo>
                    <a:pt x="580" y="894"/>
                  </a:lnTo>
                  <a:lnTo>
                    <a:pt x="582" y="894"/>
                  </a:lnTo>
                  <a:lnTo>
                    <a:pt x="584" y="894"/>
                  </a:lnTo>
                  <a:lnTo>
                    <a:pt x="584" y="894"/>
                  </a:lnTo>
                  <a:lnTo>
                    <a:pt x="584" y="891"/>
                  </a:lnTo>
                  <a:close/>
                  <a:moveTo>
                    <a:pt x="561" y="908"/>
                  </a:moveTo>
                  <a:lnTo>
                    <a:pt x="561" y="908"/>
                  </a:lnTo>
                  <a:lnTo>
                    <a:pt x="561" y="908"/>
                  </a:lnTo>
                  <a:lnTo>
                    <a:pt x="561" y="910"/>
                  </a:lnTo>
                  <a:lnTo>
                    <a:pt x="561" y="910"/>
                  </a:lnTo>
                  <a:lnTo>
                    <a:pt x="561" y="910"/>
                  </a:lnTo>
                  <a:lnTo>
                    <a:pt x="561" y="910"/>
                  </a:lnTo>
                  <a:lnTo>
                    <a:pt x="561" y="910"/>
                  </a:lnTo>
                  <a:lnTo>
                    <a:pt x="561" y="910"/>
                  </a:lnTo>
                  <a:lnTo>
                    <a:pt x="561" y="910"/>
                  </a:lnTo>
                  <a:lnTo>
                    <a:pt x="561" y="908"/>
                  </a:lnTo>
                  <a:lnTo>
                    <a:pt x="561" y="908"/>
                  </a:lnTo>
                  <a:close/>
                  <a:moveTo>
                    <a:pt x="541" y="510"/>
                  </a:moveTo>
                  <a:lnTo>
                    <a:pt x="541" y="510"/>
                  </a:lnTo>
                  <a:lnTo>
                    <a:pt x="543" y="510"/>
                  </a:lnTo>
                  <a:lnTo>
                    <a:pt x="543" y="510"/>
                  </a:lnTo>
                  <a:lnTo>
                    <a:pt x="545" y="508"/>
                  </a:lnTo>
                  <a:lnTo>
                    <a:pt x="545" y="510"/>
                  </a:lnTo>
                  <a:lnTo>
                    <a:pt x="547" y="510"/>
                  </a:lnTo>
                  <a:lnTo>
                    <a:pt x="547" y="510"/>
                  </a:lnTo>
                  <a:lnTo>
                    <a:pt x="549" y="512"/>
                  </a:lnTo>
                  <a:lnTo>
                    <a:pt x="549" y="512"/>
                  </a:lnTo>
                  <a:lnTo>
                    <a:pt x="549" y="512"/>
                  </a:lnTo>
                  <a:lnTo>
                    <a:pt x="549" y="512"/>
                  </a:lnTo>
                  <a:lnTo>
                    <a:pt x="551" y="512"/>
                  </a:lnTo>
                  <a:lnTo>
                    <a:pt x="551" y="512"/>
                  </a:lnTo>
                  <a:lnTo>
                    <a:pt x="549" y="510"/>
                  </a:lnTo>
                  <a:lnTo>
                    <a:pt x="549" y="510"/>
                  </a:lnTo>
                  <a:lnTo>
                    <a:pt x="547" y="508"/>
                  </a:lnTo>
                  <a:lnTo>
                    <a:pt x="547" y="506"/>
                  </a:lnTo>
                  <a:lnTo>
                    <a:pt x="545" y="506"/>
                  </a:lnTo>
                  <a:lnTo>
                    <a:pt x="543" y="506"/>
                  </a:lnTo>
                  <a:lnTo>
                    <a:pt x="539" y="500"/>
                  </a:lnTo>
                  <a:lnTo>
                    <a:pt x="537" y="498"/>
                  </a:lnTo>
                  <a:lnTo>
                    <a:pt x="537" y="498"/>
                  </a:lnTo>
                  <a:lnTo>
                    <a:pt x="537" y="498"/>
                  </a:lnTo>
                  <a:lnTo>
                    <a:pt x="537" y="496"/>
                  </a:lnTo>
                  <a:lnTo>
                    <a:pt x="537" y="494"/>
                  </a:lnTo>
                  <a:lnTo>
                    <a:pt x="537" y="494"/>
                  </a:lnTo>
                  <a:lnTo>
                    <a:pt x="537" y="494"/>
                  </a:lnTo>
                  <a:lnTo>
                    <a:pt x="537" y="494"/>
                  </a:lnTo>
                  <a:lnTo>
                    <a:pt x="535" y="494"/>
                  </a:lnTo>
                  <a:lnTo>
                    <a:pt x="535" y="494"/>
                  </a:lnTo>
                  <a:lnTo>
                    <a:pt x="535" y="494"/>
                  </a:lnTo>
                  <a:lnTo>
                    <a:pt x="535" y="494"/>
                  </a:lnTo>
                  <a:lnTo>
                    <a:pt x="533" y="494"/>
                  </a:lnTo>
                  <a:lnTo>
                    <a:pt x="533" y="494"/>
                  </a:lnTo>
                  <a:lnTo>
                    <a:pt x="533" y="496"/>
                  </a:lnTo>
                  <a:lnTo>
                    <a:pt x="533" y="496"/>
                  </a:lnTo>
                  <a:lnTo>
                    <a:pt x="533" y="496"/>
                  </a:lnTo>
                  <a:lnTo>
                    <a:pt x="533" y="496"/>
                  </a:lnTo>
                  <a:lnTo>
                    <a:pt x="533" y="496"/>
                  </a:lnTo>
                  <a:lnTo>
                    <a:pt x="533" y="498"/>
                  </a:lnTo>
                  <a:lnTo>
                    <a:pt x="533" y="498"/>
                  </a:lnTo>
                  <a:lnTo>
                    <a:pt x="533" y="498"/>
                  </a:lnTo>
                  <a:lnTo>
                    <a:pt x="533" y="498"/>
                  </a:lnTo>
                  <a:lnTo>
                    <a:pt x="537" y="504"/>
                  </a:lnTo>
                  <a:lnTo>
                    <a:pt x="539" y="504"/>
                  </a:lnTo>
                  <a:lnTo>
                    <a:pt x="539" y="504"/>
                  </a:lnTo>
                  <a:lnTo>
                    <a:pt x="539" y="506"/>
                  </a:lnTo>
                  <a:lnTo>
                    <a:pt x="539" y="506"/>
                  </a:lnTo>
                  <a:lnTo>
                    <a:pt x="539" y="506"/>
                  </a:lnTo>
                  <a:lnTo>
                    <a:pt x="539" y="506"/>
                  </a:lnTo>
                  <a:lnTo>
                    <a:pt x="539" y="508"/>
                  </a:lnTo>
                  <a:lnTo>
                    <a:pt x="541" y="508"/>
                  </a:lnTo>
                  <a:lnTo>
                    <a:pt x="541" y="510"/>
                  </a:lnTo>
                  <a:close/>
                  <a:moveTo>
                    <a:pt x="537" y="914"/>
                  </a:moveTo>
                  <a:lnTo>
                    <a:pt x="535" y="914"/>
                  </a:lnTo>
                  <a:lnTo>
                    <a:pt x="535" y="914"/>
                  </a:lnTo>
                  <a:lnTo>
                    <a:pt x="535" y="914"/>
                  </a:lnTo>
                  <a:lnTo>
                    <a:pt x="535" y="914"/>
                  </a:lnTo>
                  <a:lnTo>
                    <a:pt x="535" y="914"/>
                  </a:lnTo>
                  <a:lnTo>
                    <a:pt x="537" y="914"/>
                  </a:lnTo>
                  <a:lnTo>
                    <a:pt x="537" y="914"/>
                  </a:lnTo>
                  <a:lnTo>
                    <a:pt x="537" y="914"/>
                  </a:lnTo>
                  <a:lnTo>
                    <a:pt x="537" y="914"/>
                  </a:lnTo>
                  <a:lnTo>
                    <a:pt x="537" y="914"/>
                  </a:lnTo>
                  <a:lnTo>
                    <a:pt x="537" y="914"/>
                  </a:lnTo>
                  <a:lnTo>
                    <a:pt x="537" y="914"/>
                  </a:lnTo>
                  <a:close/>
                  <a:moveTo>
                    <a:pt x="322" y="900"/>
                  </a:moveTo>
                  <a:lnTo>
                    <a:pt x="322" y="898"/>
                  </a:lnTo>
                  <a:lnTo>
                    <a:pt x="322" y="898"/>
                  </a:lnTo>
                  <a:lnTo>
                    <a:pt x="322" y="898"/>
                  </a:lnTo>
                  <a:lnTo>
                    <a:pt x="322" y="898"/>
                  </a:lnTo>
                  <a:lnTo>
                    <a:pt x="322" y="898"/>
                  </a:lnTo>
                  <a:lnTo>
                    <a:pt x="320" y="898"/>
                  </a:lnTo>
                  <a:lnTo>
                    <a:pt x="320" y="898"/>
                  </a:lnTo>
                  <a:lnTo>
                    <a:pt x="320" y="898"/>
                  </a:lnTo>
                  <a:lnTo>
                    <a:pt x="320" y="898"/>
                  </a:lnTo>
                  <a:lnTo>
                    <a:pt x="320" y="898"/>
                  </a:lnTo>
                  <a:lnTo>
                    <a:pt x="322" y="898"/>
                  </a:lnTo>
                  <a:lnTo>
                    <a:pt x="322" y="898"/>
                  </a:lnTo>
                  <a:lnTo>
                    <a:pt x="322" y="898"/>
                  </a:lnTo>
                  <a:lnTo>
                    <a:pt x="322" y="900"/>
                  </a:lnTo>
                  <a:lnTo>
                    <a:pt x="322" y="900"/>
                  </a:lnTo>
                  <a:lnTo>
                    <a:pt x="322" y="900"/>
                  </a:lnTo>
                  <a:lnTo>
                    <a:pt x="322" y="900"/>
                  </a:lnTo>
                  <a:lnTo>
                    <a:pt x="322" y="900"/>
                  </a:lnTo>
                  <a:lnTo>
                    <a:pt x="322" y="900"/>
                  </a:lnTo>
                  <a:close/>
                  <a:moveTo>
                    <a:pt x="313" y="894"/>
                  </a:moveTo>
                  <a:lnTo>
                    <a:pt x="313" y="894"/>
                  </a:lnTo>
                  <a:lnTo>
                    <a:pt x="313" y="894"/>
                  </a:lnTo>
                  <a:lnTo>
                    <a:pt x="311" y="894"/>
                  </a:lnTo>
                  <a:lnTo>
                    <a:pt x="311" y="894"/>
                  </a:lnTo>
                  <a:lnTo>
                    <a:pt x="311" y="894"/>
                  </a:lnTo>
                  <a:lnTo>
                    <a:pt x="311" y="894"/>
                  </a:lnTo>
                  <a:lnTo>
                    <a:pt x="311" y="894"/>
                  </a:lnTo>
                  <a:lnTo>
                    <a:pt x="313" y="894"/>
                  </a:lnTo>
                  <a:close/>
                  <a:moveTo>
                    <a:pt x="326" y="898"/>
                  </a:moveTo>
                  <a:lnTo>
                    <a:pt x="324" y="898"/>
                  </a:lnTo>
                  <a:lnTo>
                    <a:pt x="324" y="898"/>
                  </a:lnTo>
                  <a:lnTo>
                    <a:pt x="324" y="898"/>
                  </a:lnTo>
                  <a:lnTo>
                    <a:pt x="324" y="900"/>
                  </a:lnTo>
                  <a:lnTo>
                    <a:pt x="324" y="900"/>
                  </a:lnTo>
                  <a:lnTo>
                    <a:pt x="324" y="900"/>
                  </a:lnTo>
                  <a:lnTo>
                    <a:pt x="324" y="898"/>
                  </a:lnTo>
                  <a:lnTo>
                    <a:pt x="326" y="898"/>
                  </a:lnTo>
                  <a:lnTo>
                    <a:pt x="326" y="898"/>
                  </a:lnTo>
                  <a:lnTo>
                    <a:pt x="326" y="898"/>
                  </a:lnTo>
                  <a:lnTo>
                    <a:pt x="326" y="898"/>
                  </a:lnTo>
                  <a:lnTo>
                    <a:pt x="326" y="898"/>
                  </a:lnTo>
                  <a:close/>
                  <a:moveTo>
                    <a:pt x="334" y="900"/>
                  </a:moveTo>
                  <a:lnTo>
                    <a:pt x="334" y="900"/>
                  </a:lnTo>
                  <a:lnTo>
                    <a:pt x="332" y="900"/>
                  </a:lnTo>
                  <a:lnTo>
                    <a:pt x="334" y="900"/>
                  </a:lnTo>
                  <a:lnTo>
                    <a:pt x="334" y="900"/>
                  </a:lnTo>
                  <a:lnTo>
                    <a:pt x="334" y="900"/>
                  </a:lnTo>
                  <a:lnTo>
                    <a:pt x="334" y="900"/>
                  </a:lnTo>
                  <a:close/>
                  <a:moveTo>
                    <a:pt x="317" y="891"/>
                  </a:moveTo>
                  <a:lnTo>
                    <a:pt x="317" y="891"/>
                  </a:lnTo>
                  <a:lnTo>
                    <a:pt x="317" y="891"/>
                  </a:lnTo>
                  <a:lnTo>
                    <a:pt x="317" y="891"/>
                  </a:lnTo>
                  <a:lnTo>
                    <a:pt x="317" y="889"/>
                  </a:lnTo>
                  <a:lnTo>
                    <a:pt x="317" y="889"/>
                  </a:lnTo>
                  <a:lnTo>
                    <a:pt x="317" y="887"/>
                  </a:lnTo>
                  <a:lnTo>
                    <a:pt x="315" y="887"/>
                  </a:lnTo>
                  <a:lnTo>
                    <a:pt x="315" y="887"/>
                  </a:lnTo>
                  <a:lnTo>
                    <a:pt x="313" y="885"/>
                  </a:lnTo>
                  <a:lnTo>
                    <a:pt x="313" y="887"/>
                  </a:lnTo>
                  <a:lnTo>
                    <a:pt x="313" y="887"/>
                  </a:lnTo>
                  <a:lnTo>
                    <a:pt x="311" y="887"/>
                  </a:lnTo>
                  <a:lnTo>
                    <a:pt x="311" y="887"/>
                  </a:lnTo>
                  <a:lnTo>
                    <a:pt x="311" y="889"/>
                  </a:lnTo>
                  <a:lnTo>
                    <a:pt x="311" y="889"/>
                  </a:lnTo>
                  <a:lnTo>
                    <a:pt x="311" y="891"/>
                  </a:lnTo>
                  <a:lnTo>
                    <a:pt x="311" y="891"/>
                  </a:lnTo>
                  <a:lnTo>
                    <a:pt x="311" y="891"/>
                  </a:lnTo>
                  <a:lnTo>
                    <a:pt x="311" y="891"/>
                  </a:lnTo>
                  <a:lnTo>
                    <a:pt x="313" y="891"/>
                  </a:lnTo>
                  <a:lnTo>
                    <a:pt x="313" y="894"/>
                  </a:lnTo>
                  <a:lnTo>
                    <a:pt x="313" y="894"/>
                  </a:lnTo>
                  <a:lnTo>
                    <a:pt x="315" y="894"/>
                  </a:lnTo>
                  <a:lnTo>
                    <a:pt x="315" y="894"/>
                  </a:lnTo>
                  <a:lnTo>
                    <a:pt x="315" y="894"/>
                  </a:lnTo>
                  <a:lnTo>
                    <a:pt x="315" y="894"/>
                  </a:lnTo>
                  <a:lnTo>
                    <a:pt x="315" y="894"/>
                  </a:lnTo>
                  <a:lnTo>
                    <a:pt x="315" y="894"/>
                  </a:lnTo>
                  <a:lnTo>
                    <a:pt x="315" y="891"/>
                  </a:lnTo>
                  <a:lnTo>
                    <a:pt x="317" y="891"/>
                  </a:lnTo>
                  <a:lnTo>
                    <a:pt x="317" y="891"/>
                  </a:lnTo>
                  <a:close/>
                  <a:moveTo>
                    <a:pt x="322" y="896"/>
                  </a:moveTo>
                  <a:lnTo>
                    <a:pt x="322" y="896"/>
                  </a:lnTo>
                  <a:lnTo>
                    <a:pt x="322" y="896"/>
                  </a:lnTo>
                  <a:lnTo>
                    <a:pt x="322" y="896"/>
                  </a:lnTo>
                  <a:lnTo>
                    <a:pt x="320" y="896"/>
                  </a:lnTo>
                  <a:lnTo>
                    <a:pt x="320" y="894"/>
                  </a:lnTo>
                  <a:lnTo>
                    <a:pt x="320" y="896"/>
                  </a:lnTo>
                  <a:lnTo>
                    <a:pt x="320" y="896"/>
                  </a:lnTo>
                  <a:lnTo>
                    <a:pt x="320" y="896"/>
                  </a:lnTo>
                  <a:lnTo>
                    <a:pt x="320" y="896"/>
                  </a:lnTo>
                  <a:lnTo>
                    <a:pt x="320" y="896"/>
                  </a:lnTo>
                  <a:lnTo>
                    <a:pt x="320" y="894"/>
                  </a:lnTo>
                  <a:lnTo>
                    <a:pt x="317" y="894"/>
                  </a:lnTo>
                  <a:lnTo>
                    <a:pt x="317" y="896"/>
                  </a:lnTo>
                  <a:lnTo>
                    <a:pt x="320" y="896"/>
                  </a:lnTo>
                  <a:lnTo>
                    <a:pt x="320" y="896"/>
                  </a:lnTo>
                  <a:lnTo>
                    <a:pt x="322" y="896"/>
                  </a:lnTo>
                  <a:close/>
                  <a:moveTo>
                    <a:pt x="432" y="910"/>
                  </a:moveTo>
                  <a:lnTo>
                    <a:pt x="432" y="908"/>
                  </a:lnTo>
                  <a:lnTo>
                    <a:pt x="432" y="908"/>
                  </a:lnTo>
                  <a:lnTo>
                    <a:pt x="432" y="908"/>
                  </a:lnTo>
                  <a:lnTo>
                    <a:pt x="432" y="908"/>
                  </a:lnTo>
                  <a:lnTo>
                    <a:pt x="430" y="908"/>
                  </a:lnTo>
                  <a:lnTo>
                    <a:pt x="428" y="908"/>
                  </a:lnTo>
                  <a:lnTo>
                    <a:pt x="426" y="910"/>
                  </a:lnTo>
                  <a:lnTo>
                    <a:pt x="426" y="910"/>
                  </a:lnTo>
                  <a:lnTo>
                    <a:pt x="424" y="912"/>
                  </a:lnTo>
                  <a:lnTo>
                    <a:pt x="426" y="914"/>
                  </a:lnTo>
                  <a:lnTo>
                    <a:pt x="426" y="914"/>
                  </a:lnTo>
                  <a:lnTo>
                    <a:pt x="428" y="914"/>
                  </a:lnTo>
                  <a:lnTo>
                    <a:pt x="430" y="912"/>
                  </a:lnTo>
                  <a:lnTo>
                    <a:pt x="430" y="914"/>
                  </a:lnTo>
                  <a:lnTo>
                    <a:pt x="430" y="914"/>
                  </a:lnTo>
                  <a:lnTo>
                    <a:pt x="432" y="914"/>
                  </a:lnTo>
                  <a:lnTo>
                    <a:pt x="434" y="912"/>
                  </a:lnTo>
                  <a:lnTo>
                    <a:pt x="434" y="912"/>
                  </a:lnTo>
                  <a:lnTo>
                    <a:pt x="434" y="912"/>
                  </a:lnTo>
                  <a:lnTo>
                    <a:pt x="434" y="910"/>
                  </a:lnTo>
                  <a:lnTo>
                    <a:pt x="432" y="910"/>
                  </a:lnTo>
                  <a:close/>
                  <a:moveTo>
                    <a:pt x="469" y="912"/>
                  </a:moveTo>
                  <a:lnTo>
                    <a:pt x="469" y="912"/>
                  </a:lnTo>
                  <a:lnTo>
                    <a:pt x="467" y="912"/>
                  </a:lnTo>
                  <a:lnTo>
                    <a:pt x="467" y="914"/>
                  </a:lnTo>
                  <a:lnTo>
                    <a:pt x="469" y="914"/>
                  </a:lnTo>
                  <a:lnTo>
                    <a:pt x="469" y="914"/>
                  </a:lnTo>
                  <a:lnTo>
                    <a:pt x="471" y="914"/>
                  </a:lnTo>
                  <a:lnTo>
                    <a:pt x="471" y="914"/>
                  </a:lnTo>
                  <a:lnTo>
                    <a:pt x="471" y="914"/>
                  </a:lnTo>
                  <a:lnTo>
                    <a:pt x="471" y="912"/>
                  </a:lnTo>
                  <a:lnTo>
                    <a:pt x="471" y="912"/>
                  </a:lnTo>
                  <a:lnTo>
                    <a:pt x="469" y="912"/>
                  </a:lnTo>
                  <a:close/>
                  <a:moveTo>
                    <a:pt x="473" y="910"/>
                  </a:moveTo>
                  <a:lnTo>
                    <a:pt x="473" y="910"/>
                  </a:lnTo>
                  <a:lnTo>
                    <a:pt x="473" y="910"/>
                  </a:lnTo>
                  <a:lnTo>
                    <a:pt x="473" y="910"/>
                  </a:lnTo>
                  <a:lnTo>
                    <a:pt x="473" y="910"/>
                  </a:lnTo>
                  <a:lnTo>
                    <a:pt x="473" y="910"/>
                  </a:lnTo>
                  <a:lnTo>
                    <a:pt x="475" y="910"/>
                  </a:lnTo>
                  <a:lnTo>
                    <a:pt x="475" y="910"/>
                  </a:lnTo>
                  <a:lnTo>
                    <a:pt x="475" y="910"/>
                  </a:lnTo>
                  <a:lnTo>
                    <a:pt x="475" y="910"/>
                  </a:lnTo>
                  <a:lnTo>
                    <a:pt x="473" y="910"/>
                  </a:lnTo>
                  <a:lnTo>
                    <a:pt x="473" y="910"/>
                  </a:lnTo>
                  <a:close/>
                  <a:moveTo>
                    <a:pt x="334" y="889"/>
                  </a:moveTo>
                  <a:lnTo>
                    <a:pt x="334" y="889"/>
                  </a:lnTo>
                  <a:lnTo>
                    <a:pt x="334" y="889"/>
                  </a:lnTo>
                  <a:lnTo>
                    <a:pt x="334" y="889"/>
                  </a:lnTo>
                  <a:lnTo>
                    <a:pt x="334" y="889"/>
                  </a:lnTo>
                  <a:lnTo>
                    <a:pt x="334" y="889"/>
                  </a:lnTo>
                  <a:lnTo>
                    <a:pt x="334" y="889"/>
                  </a:lnTo>
                  <a:lnTo>
                    <a:pt x="334" y="889"/>
                  </a:lnTo>
                  <a:lnTo>
                    <a:pt x="334" y="889"/>
                  </a:lnTo>
                  <a:lnTo>
                    <a:pt x="336" y="889"/>
                  </a:lnTo>
                  <a:lnTo>
                    <a:pt x="334" y="889"/>
                  </a:lnTo>
                  <a:lnTo>
                    <a:pt x="334" y="889"/>
                  </a:lnTo>
                  <a:close/>
                  <a:moveTo>
                    <a:pt x="408" y="916"/>
                  </a:moveTo>
                  <a:lnTo>
                    <a:pt x="406" y="916"/>
                  </a:lnTo>
                  <a:lnTo>
                    <a:pt x="406" y="916"/>
                  </a:lnTo>
                  <a:lnTo>
                    <a:pt x="406" y="916"/>
                  </a:lnTo>
                  <a:lnTo>
                    <a:pt x="406" y="916"/>
                  </a:lnTo>
                  <a:lnTo>
                    <a:pt x="404" y="916"/>
                  </a:lnTo>
                  <a:lnTo>
                    <a:pt x="404" y="916"/>
                  </a:lnTo>
                  <a:lnTo>
                    <a:pt x="404" y="916"/>
                  </a:lnTo>
                  <a:lnTo>
                    <a:pt x="404" y="916"/>
                  </a:lnTo>
                  <a:lnTo>
                    <a:pt x="404" y="916"/>
                  </a:lnTo>
                  <a:lnTo>
                    <a:pt x="404" y="914"/>
                  </a:lnTo>
                  <a:lnTo>
                    <a:pt x="404" y="914"/>
                  </a:lnTo>
                  <a:lnTo>
                    <a:pt x="404" y="914"/>
                  </a:lnTo>
                  <a:lnTo>
                    <a:pt x="401" y="914"/>
                  </a:lnTo>
                  <a:lnTo>
                    <a:pt x="401" y="914"/>
                  </a:lnTo>
                  <a:lnTo>
                    <a:pt x="399" y="914"/>
                  </a:lnTo>
                  <a:lnTo>
                    <a:pt x="399" y="914"/>
                  </a:lnTo>
                  <a:lnTo>
                    <a:pt x="399" y="914"/>
                  </a:lnTo>
                  <a:lnTo>
                    <a:pt x="399" y="914"/>
                  </a:lnTo>
                  <a:lnTo>
                    <a:pt x="397" y="914"/>
                  </a:lnTo>
                  <a:lnTo>
                    <a:pt x="397" y="914"/>
                  </a:lnTo>
                  <a:lnTo>
                    <a:pt x="397" y="914"/>
                  </a:lnTo>
                  <a:lnTo>
                    <a:pt x="397" y="912"/>
                  </a:lnTo>
                  <a:lnTo>
                    <a:pt x="397" y="912"/>
                  </a:lnTo>
                  <a:lnTo>
                    <a:pt x="397" y="912"/>
                  </a:lnTo>
                  <a:lnTo>
                    <a:pt x="397" y="912"/>
                  </a:lnTo>
                  <a:lnTo>
                    <a:pt x="395" y="912"/>
                  </a:lnTo>
                  <a:lnTo>
                    <a:pt x="395" y="912"/>
                  </a:lnTo>
                  <a:lnTo>
                    <a:pt x="393" y="912"/>
                  </a:lnTo>
                  <a:lnTo>
                    <a:pt x="393" y="912"/>
                  </a:lnTo>
                  <a:lnTo>
                    <a:pt x="395" y="910"/>
                  </a:lnTo>
                  <a:lnTo>
                    <a:pt x="393" y="910"/>
                  </a:lnTo>
                  <a:lnTo>
                    <a:pt x="393" y="910"/>
                  </a:lnTo>
                  <a:lnTo>
                    <a:pt x="393" y="910"/>
                  </a:lnTo>
                  <a:lnTo>
                    <a:pt x="391" y="910"/>
                  </a:lnTo>
                  <a:lnTo>
                    <a:pt x="391" y="910"/>
                  </a:lnTo>
                  <a:lnTo>
                    <a:pt x="391" y="910"/>
                  </a:lnTo>
                  <a:lnTo>
                    <a:pt x="391" y="908"/>
                  </a:lnTo>
                  <a:lnTo>
                    <a:pt x="391" y="908"/>
                  </a:lnTo>
                  <a:lnTo>
                    <a:pt x="389" y="910"/>
                  </a:lnTo>
                  <a:lnTo>
                    <a:pt x="389" y="910"/>
                  </a:lnTo>
                  <a:lnTo>
                    <a:pt x="387" y="910"/>
                  </a:lnTo>
                  <a:lnTo>
                    <a:pt x="387" y="910"/>
                  </a:lnTo>
                  <a:lnTo>
                    <a:pt x="385" y="910"/>
                  </a:lnTo>
                  <a:lnTo>
                    <a:pt x="385" y="910"/>
                  </a:lnTo>
                  <a:lnTo>
                    <a:pt x="385" y="908"/>
                  </a:lnTo>
                  <a:lnTo>
                    <a:pt x="385" y="908"/>
                  </a:lnTo>
                  <a:lnTo>
                    <a:pt x="385" y="908"/>
                  </a:lnTo>
                  <a:lnTo>
                    <a:pt x="383" y="908"/>
                  </a:lnTo>
                  <a:lnTo>
                    <a:pt x="383" y="908"/>
                  </a:lnTo>
                  <a:lnTo>
                    <a:pt x="383" y="908"/>
                  </a:lnTo>
                  <a:lnTo>
                    <a:pt x="383" y="908"/>
                  </a:lnTo>
                  <a:lnTo>
                    <a:pt x="383" y="908"/>
                  </a:lnTo>
                  <a:lnTo>
                    <a:pt x="383" y="908"/>
                  </a:lnTo>
                  <a:lnTo>
                    <a:pt x="381" y="908"/>
                  </a:lnTo>
                  <a:lnTo>
                    <a:pt x="381" y="908"/>
                  </a:lnTo>
                  <a:lnTo>
                    <a:pt x="379" y="906"/>
                  </a:lnTo>
                  <a:lnTo>
                    <a:pt x="379" y="906"/>
                  </a:lnTo>
                  <a:lnTo>
                    <a:pt x="379" y="906"/>
                  </a:lnTo>
                  <a:lnTo>
                    <a:pt x="379" y="906"/>
                  </a:lnTo>
                  <a:lnTo>
                    <a:pt x="379" y="906"/>
                  </a:lnTo>
                  <a:lnTo>
                    <a:pt x="379" y="906"/>
                  </a:lnTo>
                  <a:lnTo>
                    <a:pt x="379" y="906"/>
                  </a:lnTo>
                  <a:lnTo>
                    <a:pt x="379" y="906"/>
                  </a:lnTo>
                  <a:lnTo>
                    <a:pt x="379" y="906"/>
                  </a:lnTo>
                  <a:lnTo>
                    <a:pt x="379" y="908"/>
                  </a:lnTo>
                  <a:lnTo>
                    <a:pt x="379" y="908"/>
                  </a:lnTo>
                  <a:lnTo>
                    <a:pt x="379" y="908"/>
                  </a:lnTo>
                  <a:lnTo>
                    <a:pt x="379" y="908"/>
                  </a:lnTo>
                  <a:lnTo>
                    <a:pt x="379" y="908"/>
                  </a:lnTo>
                  <a:lnTo>
                    <a:pt x="381" y="908"/>
                  </a:lnTo>
                  <a:lnTo>
                    <a:pt x="381" y="908"/>
                  </a:lnTo>
                  <a:lnTo>
                    <a:pt x="381" y="910"/>
                  </a:lnTo>
                  <a:lnTo>
                    <a:pt x="381" y="910"/>
                  </a:lnTo>
                  <a:lnTo>
                    <a:pt x="381" y="910"/>
                  </a:lnTo>
                  <a:lnTo>
                    <a:pt x="381" y="910"/>
                  </a:lnTo>
                  <a:lnTo>
                    <a:pt x="381" y="910"/>
                  </a:lnTo>
                  <a:lnTo>
                    <a:pt x="383" y="912"/>
                  </a:lnTo>
                  <a:lnTo>
                    <a:pt x="383" y="912"/>
                  </a:lnTo>
                  <a:lnTo>
                    <a:pt x="387" y="914"/>
                  </a:lnTo>
                  <a:lnTo>
                    <a:pt x="387" y="912"/>
                  </a:lnTo>
                  <a:lnTo>
                    <a:pt x="389" y="912"/>
                  </a:lnTo>
                  <a:lnTo>
                    <a:pt x="389" y="912"/>
                  </a:lnTo>
                  <a:lnTo>
                    <a:pt x="389" y="914"/>
                  </a:lnTo>
                  <a:lnTo>
                    <a:pt x="389" y="914"/>
                  </a:lnTo>
                  <a:lnTo>
                    <a:pt x="391" y="914"/>
                  </a:lnTo>
                  <a:lnTo>
                    <a:pt x="391" y="914"/>
                  </a:lnTo>
                  <a:lnTo>
                    <a:pt x="391" y="916"/>
                  </a:lnTo>
                  <a:lnTo>
                    <a:pt x="391" y="916"/>
                  </a:lnTo>
                  <a:lnTo>
                    <a:pt x="391" y="916"/>
                  </a:lnTo>
                  <a:lnTo>
                    <a:pt x="393" y="916"/>
                  </a:lnTo>
                  <a:lnTo>
                    <a:pt x="393" y="916"/>
                  </a:lnTo>
                  <a:lnTo>
                    <a:pt x="393" y="916"/>
                  </a:lnTo>
                  <a:lnTo>
                    <a:pt x="393" y="916"/>
                  </a:lnTo>
                  <a:lnTo>
                    <a:pt x="393" y="916"/>
                  </a:lnTo>
                  <a:lnTo>
                    <a:pt x="393" y="916"/>
                  </a:lnTo>
                  <a:lnTo>
                    <a:pt x="395" y="916"/>
                  </a:lnTo>
                  <a:lnTo>
                    <a:pt x="395" y="916"/>
                  </a:lnTo>
                  <a:lnTo>
                    <a:pt x="395" y="916"/>
                  </a:lnTo>
                  <a:lnTo>
                    <a:pt x="397" y="916"/>
                  </a:lnTo>
                  <a:lnTo>
                    <a:pt x="397" y="916"/>
                  </a:lnTo>
                  <a:lnTo>
                    <a:pt x="399" y="916"/>
                  </a:lnTo>
                  <a:lnTo>
                    <a:pt x="401" y="916"/>
                  </a:lnTo>
                  <a:lnTo>
                    <a:pt x="401" y="916"/>
                  </a:lnTo>
                  <a:lnTo>
                    <a:pt x="401" y="916"/>
                  </a:lnTo>
                  <a:lnTo>
                    <a:pt x="401" y="916"/>
                  </a:lnTo>
                  <a:lnTo>
                    <a:pt x="401" y="916"/>
                  </a:lnTo>
                  <a:lnTo>
                    <a:pt x="404" y="916"/>
                  </a:lnTo>
                  <a:lnTo>
                    <a:pt x="404" y="916"/>
                  </a:lnTo>
                  <a:lnTo>
                    <a:pt x="404" y="918"/>
                  </a:lnTo>
                  <a:lnTo>
                    <a:pt x="404" y="918"/>
                  </a:lnTo>
                  <a:lnTo>
                    <a:pt x="406" y="918"/>
                  </a:lnTo>
                  <a:lnTo>
                    <a:pt x="408" y="918"/>
                  </a:lnTo>
                  <a:lnTo>
                    <a:pt x="408" y="918"/>
                  </a:lnTo>
                  <a:lnTo>
                    <a:pt x="410" y="918"/>
                  </a:lnTo>
                  <a:lnTo>
                    <a:pt x="410" y="918"/>
                  </a:lnTo>
                  <a:lnTo>
                    <a:pt x="412" y="918"/>
                  </a:lnTo>
                  <a:lnTo>
                    <a:pt x="412" y="918"/>
                  </a:lnTo>
                  <a:lnTo>
                    <a:pt x="408" y="916"/>
                  </a:lnTo>
                  <a:lnTo>
                    <a:pt x="408" y="916"/>
                  </a:lnTo>
                  <a:close/>
                  <a:moveTo>
                    <a:pt x="377" y="904"/>
                  </a:moveTo>
                  <a:lnTo>
                    <a:pt x="375" y="904"/>
                  </a:lnTo>
                  <a:lnTo>
                    <a:pt x="375" y="902"/>
                  </a:lnTo>
                  <a:lnTo>
                    <a:pt x="375" y="902"/>
                  </a:lnTo>
                  <a:lnTo>
                    <a:pt x="375" y="900"/>
                  </a:lnTo>
                  <a:lnTo>
                    <a:pt x="377" y="900"/>
                  </a:lnTo>
                  <a:lnTo>
                    <a:pt x="379" y="902"/>
                  </a:lnTo>
                  <a:lnTo>
                    <a:pt x="381" y="900"/>
                  </a:lnTo>
                  <a:lnTo>
                    <a:pt x="381" y="900"/>
                  </a:lnTo>
                  <a:lnTo>
                    <a:pt x="381" y="900"/>
                  </a:lnTo>
                  <a:lnTo>
                    <a:pt x="381" y="900"/>
                  </a:lnTo>
                  <a:lnTo>
                    <a:pt x="381" y="900"/>
                  </a:lnTo>
                  <a:lnTo>
                    <a:pt x="381" y="900"/>
                  </a:lnTo>
                  <a:lnTo>
                    <a:pt x="381" y="900"/>
                  </a:lnTo>
                  <a:lnTo>
                    <a:pt x="383" y="900"/>
                  </a:lnTo>
                  <a:lnTo>
                    <a:pt x="383" y="898"/>
                  </a:lnTo>
                  <a:lnTo>
                    <a:pt x="383" y="898"/>
                  </a:lnTo>
                  <a:lnTo>
                    <a:pt x="383" y="898"/>
                  </a:lnTo>
                  <a:lnTo>
                    <a:pt x="383" y="896"/>
                  </a:lnTo>
                  <a:lnTo>
                    <a:pt x="383" y="896"/>
                  </a:lnTo>
                  <a:lnTo>
                    <a:pt x="383" y="896"/>
                  </a:lnTo>
                  <a:lnTo>
                    <a:pt x="381" y="894"/>
                  </a:lnTo>
                  <a:lnTo>
                    <a:pt x="381" y="894"/>
                  </a:lnTo>
                  <a:lnTo>
                    <a:pt x="381" y="891"/>
                  </a:lnTo>
                  <a:lnTo>
                    <a:pt x="381" y="894"/>
                  </a:lnTo>
                  <a:lnTo>
                    <a:pt x="381" y="891"/>
                  </a:lnTo>
                  <a:lnTo>
                    <a:pt x="379" y="891"/>
                  </a:lnTo>
                  <a:lnTo>
                    <a:pt x="379" y="891"/>
                  </a:lnTo>
                  <a:lnTo>
                    <a:pt x="379" y="891"/>
                  </a:lnTo>
                  <a:lnTo>
                    <a:pt x="377" y="891"/>
                  </a:lnTo>
                  <a:lnTo>
                    <a:pt x="375" y="891"/>
                  </a:lnTo>
                  <a:lnTo>
                    <a:pt x="375" y="891"/>
                  </a:lnTo>
                  <a:lnTo>
                    <a:pt x="375" y="891"/>
                  </a:lnTo>
                  <a:lnTo>
                    <a:pt x="375" y="891"/>
                  </a:lnTo>
                  <a:lnTo>
                    <a:pt x="373" y="891"/>
                  </a:lnTo>
                  <a:lnTo>
                    <a:pt x="373" y="891"/>
                  </a:lnTo>
                  <a:lnTo>
                    <a:pt x="373" y="891"/>
                  </a:lnTo>
                  <a:lnTo>
                    <a:pt x="373" y="894"/>
                  </a:lnTo>
                  <a:lnTo>
                    <a:pt x="371" y="894"/>
                  </a:lnTo>
                  <a:lnTo>
                    <a:pt x="369" y="894"/>
                  </a:lnTo>
                  <a:lnTo>
                    <a:pt x="369" y="894"/>
                  </a:lnTo>
                  <a:lnTo>
                    <a:pt x="369" y="894"/>
                  </a:lnTo>
                  <a:lnTo>
                    <a:pt x="371" y="896"/>
                  </a:lnTo>
                  <a:lnTo>
                    <a:pt x="371" y="896"/>
                  </a:lnTo>
                  <a:lnTo>
                    <a:pt x="371" y="896"/>
                  </a:lnTo>
                  <a:lnTo>
                    <a:pt x="373" y="894"/>
                  </a:lnTo>
                  <a:lnTo>
                    <a:pt x="373" y="894"/>
                  </a:lnTo>
                  <a:lnTo>
                    <a:pt x="373" y="896"/>
                  </a:lnTo>
                  <a:lnTo>
                    <a:pt x="373" y="896"/>
                  </a:lnTo>
                  <a:lnTo>
                    <a:pt x="373" y="896"/>
                  </a:lnTo>
                  <a:lnTo>
                    <a:pt x="373" y="896"/>
                  </a:lnTo>
                  <a:lnTo>
                    <a:pt x="373" y="898"/>
                  </a:lnTo>
                  <a:lnTo>
                    <a:pt x="375" y="898"/>
                  </a:lnTo>
                  <a:lnTo>
                    <a:pt x="375" y="898"/>
                  </a:lnTo>
                  <a:lnTo>
                    <a:pt x="375" y="898"/>
                  </a:lnTo>
                  <a:lnTo>
                    <a:pt x="375" y="900"/>
                  </a:lnTo>
                  <a:lnTo>
                    <a:pt x="373" y="898"/>
                  </a:lnTo>
                  <a:lnTo>
                    <a:pt x="373" y="900"/>
                  </a:lnTo>
                  <a:lnTo>
                    <a:pt x="373" y="900"/>
                  </a:lnTo>
                  <a:lnTo>
                    <a:pt x="373" y="900"/>
                  </a:lnTo>
                  <a:lnTo>
                    <a:pt x="373" y="900"/>
                  </a:lnTo>
                  <a:lnTo>
                    <a:pt x="373" y="900"/>
                  </a:lnTo>
                  <a:lnTo>
                    <a:pt x="371" y="900"/>
                  </a:lnTo>
                  <a:lnTo>
                    <a:pt x="371" y="900"/>
                  </a:lnTo>
                  <a:lnTo>
                    <a:pt x="371" y="900"/>
                  </a:lnTo>
                  <a:lnTo>
                    <a:pt x="371" y="900"/>
                  </a:lnTo>
                  <a:lnTo>
                    <a:pt x="369" y="900"/>
                  </a:lnTo>
                  <a:lnTo>
                    <a:pt x="367" y="898"/>
                  </a:lnTo>
                  <a:lnTo>
                    <a:pt x="367" y="898"/>
                  </a:lnTo>
                  <a:lnTo>
                    <a:pt x="369" y="900"/>
                  </a:lnTo>
                  <a:lnTo>
                    <a:pt x="369" y="900"/>
                  </a:lnTo>
                  <a:lnTo>
                    <a:pt x="369" y="900"/>
                  </a:lnTo>
                  <a:lnTo>
                    <a:pt x="369" y="900"/>
                  </a:lnTo>
                  <a:lnTo>
                    <a:pt x="367" y="900"/>
                  </a:lnTo>
                  <a:lnTo>
                    <a:pt x="367" y="900"/>
                  </a:lnTo>
                  <a:lnTo>
                    <a:pt x="363" y="900"/>
                  </a:lnTo>
                  <a:lnTo>
                    <a:pt x="365" y="900"/>
                  </a:lnTo>
                  <a:lnTo>
                    <a:pt x="365" y="900"/>
                  </a:lnTo>
                  <a:lnTo>
                    <a:pt x="365" y="900"/>
                  </a:lnTo>
                  <a:lnTo>
                    <a:pt x="363" y="900"/>
                  </a:lnTo>
                  <a:lnTo>
                    <a:pt x="365" y="900"/>
                  </a:lnTo>
                  <a:lnTo>
                    <a:pt x="365" y="900"/>
                  </a:lnTo>
                  <a:lnTo>
                    <a:pt x="365" y="900"/>
                  </a:lnTo>
                  <a:lnTo>
                    <a:pt x="365" y="902"/>
                  </a:lnTo>
                  <a:lnTo>
                    <a:pt x="365" y="902"/>
                  </a:lnTo>
                  <a:lnTo>
                    <a:pt x="363" y="902"/>
                  </a:lnTo>
                  <a:lnTo>
                    <a:pt x="363" y="900"/>
                  </a:lnTo>
                  <a:lnTo>
                    <a:pt x="363" y="902"/>
                  </a:lnTo>
                  <a:lnTo>
                    <a:pt x="360" y="902"/>
                  </a:lnTo>
                  <a:lnTo>
                    <a:pt x="360" y="902"/>
                  </a:lnTo>
                  <a:lnTo>
                    <a:pt x="363" y="902"/>
                  </a:lnTo>
                  <a:lnTo>
                    <a:pt x="360" y="902"/>
                  </a:lnTo>
                  <a:lnTo>
                    <a:pt x="360" y="902"/>
                  </a:lnTo>
                  <a:lnTo>
                    <a:pt x="358" y="902"/>
                  </a:lnTo>
                  <a:lnTo>
                    <a:pt x="358" y="900"/>
                  </a:lnTo>
                  <a:lnTo>
                    <a:pt x="356" y="900"/>
                  </a:lnTo>
                  <a:lnTo>
                    <a:pt x="356" y="900"/>
                  </a:lnTo>
                  <a:lnTo>
                    <a:pt x="356" y="902"/>
                  </a:lnTo>
                  <a:lnTo>
                    <a:pt x="354" y="902"/>
                  </a:lnTo>
                  <a:lnTo>
                    <a:pt x="354" y="902"/>
                  </a:lnTo>
                  <a:lnTo>
                    <a:pt x="354" y="900"/>
                  </a:lnTo>
                  <a:lnTo>
                    <a:pt x="354" y="900"/>
                  </a:lnTo>
                  <a:lnTo>
                    <a:pt x="354" y="900"/>
                  </a:lnTo>
                  <a:lnTo>
                    <a:pt x="352" y="900"/>
                  </a:lnTo>
                  <a:lnTo>
                    <a:pt x="352" y="900"/>
                  </a:lnTo>
                  <a:lnTo>
                    <a:pt x="352" y="900"/>
                  </a:lnTo>
                  <a:lnTo>
                    <a:pt x="352" y="898"/>
                  </a:lnTo>
                  <a:lnTo>
                    <a:pt x="352" y="900"/>
                  </a:lnTo>
                  <a:lnTo>
                    <a:pt x="350" y="900"/>
                  </a:lnTo>
                  <a:lnTo>
                    <a:pt x="350" y="900"/>
                  </a:lnTo>
                  <a:lnTo>
                    <a:pt x="350" y="900"/>
                  </a:lnTo>
                  <a:lnTo>
                    <a:pt x="350" y="900"/>
                  </a:lnTo>
                  <a:lnTo>
                    <a:pt x="348" y="900"/>
                  </a:lnTo>
                  <a:lnTo>
                    <a:pt x="348" y="900"/>
                  </a:lnTo>
                  <a:lnTo>
                    <a:pt x="348" y="900"/>
                  </a:lnTo>
                  <a:lnTo>
                    <a:pt x="348" y="900"/>
                  </a:lnTo>
                  <a:lnTo>
                    <a:pt x="348" y="900"/>
                  </a:lnTo>
                  <a:lnTo>
                    <a:pt x="348" y="900"/>
                  </a:lnTo>
                  <a:lnTo>
                    <a:pt x="348" y="900"/>
                  </a:lnTo>
                  <a:lnTo>
                    <a:pt x="348" y="900"/>
                  </a:lnTo>
                  <a:lnTo>
                    <a:pt x="348" y="900"/>
                  </a:lnTo>
                  <a:lnTo>
                    <a:pt x="348" y="900"/>
                  </a:lnTo>
                  <a:lnTo>
                    <a:pt x="348" y="900"/>
                  </a:lnTo>
                  <a:lnTo>
                    <a:pt x="348" y="902"/>
                  </a:lnTo>
                  <a:lnTo>
                    <a:pt x="346" y="902"/>
                  </a:lnTo>
                  <a:lnTo>
                    <a:pt x="346" y="902"/>
                  </a:lnTo>
                  <a:lnTo>
                    <a:pt x="346" y="902"/>
                  </a:lnTo>
                  <a:lnTo>
                    <a:pt x="346" y="900"/>
                  </a:lnTo>
                  <a:lnTo>
                    <a:pt x="346" y="900"/>
                  </a:lnTo>
                  <a:lnTo>
                    <a:pt x="344" y="900"/>
                  </a:lnTo>
                  <a:lnTo>
                    <a:pt x="344" y="900"/>
                  </a:lnTo>
                  <a:lnTo>
                    <a:pt x="344" y="900"/>
                  </a:lnTo>
                  <a:lnTo>
                    <a:pt x="344" y="900"/>
                  </a:lnTo>
                  <a:lnTo>
                    <a:pt x="344" y="900"/>
                  </a:lnTo>
                  <a:lnTo>
                    <a:pt x="344" y="900"/>
                  </a:lnTo>
                  <a:lnTo>
                    <a:pt x="342" y="900"/>
                  </a:lnTo>
                  <a:lnTo>
                    <a:pt x="342" y="900"/>
                  </a:lnTo>
                  <a:lnTo>
                    <a:pt x="338" y="900"/>
                  </a:lnTo>
                  <a:lnTo>
                    <a:pt x="338" y="900"/>
                  </a:lnTo>
                  <a:lnTo>
                    <a:pt x="338" y="900"/>
                  </a:lnTo>
                  <a:lnTo>
                    <a:pt x="346" y="902"/>
                  </a:lnTo>
                  <a:lnTo>
                    <a:pt x="348" y="902"/>
                  </a:lnTo>
                  <a:lnTo>
                    <a:pt x="348" y="902"/>
                  </a:lnTo>
                  <a:lnTo>
                    <a:pt x="348" y="902"/>
                  </a:lnTo>
                  <a:lnTo>
                    <a:pt x="350" y="902"/>
                  </a:lnTo>
                  <a:lnTo>
                    <a:pt x="350" y="902"/>
                  </a:lnTo>
                  <a:lnTo>
                    <a:pt x="350" y="902"/>
                  </a:lnTo>
                  <a:lnTo>
                    <a:pt x="352" y="902"/>
                  </a:lnTo>
                  <a:lnTo>
                    <a:pt x="354" y="904"/>
                  </a:lnTo>
                  <a:lnTo>
                    <a:pt x="354" y="904"/>
                  </a:lnTo>
                  <a:lnTo>
                    <a:pt x="354" y="906"/>
                  </a:lnTo>
                  <a:lnTo>
                    <a:pt x="356" y="906"/>
                  </a:lnTo>
                  <a:lnTo>
                    <a:pt x="356" y="906"/>
                  </a:lnTo>
                  <a:lnTo>
                    <a:pt x="356" y="904"/>
                  </a:lnTo>
                  <a:lnTo>
                    <a:pt x="356" y="904"/>
                  </a:lnTo>
                  <a:lnTo>
                    <a:pt x="356" y="904"/>
                  </a:lnTo>
                  <a:lnTo>
                    <a:pt x="356" y="904"/>
                  </a:lnTo>
                  <a:lnTo>
                    <a:pt x="356" y="904"/>
                  </a:lnTo>
                  <a:lnTo>
                    <a:pt x="356" y="904"/>
                  </a:lnTo>
                  <a:lnTo>
                    <a:pt x="358" y="906"/>
                  </a:lnTo>
                  <a:lnTo>
                    <a:pt x="358" y="906"/>
                  </a:lnTo>
                  <a:lnTo>
                    <a:pt x="358" y="906"/>
                  </a:lnTo>
                  <a:lnTo>
                    <a:pt x="360" y="906"/>
                  </a:lnTo>
                  <a:lnTo>
                    <a:pt x="360" y="906"/>
                  </a:lnTo>
                  <a:lnTo>
                    <a:pt x="360" y="906"/>
                  </a:lnTo>
                  <a:lnTo>
                    <a:pt x="363" y="906"/>
                  </a:lnTo>
                  <a:lnTo>
                    <a:pt x="363" y="906"/>
                  </a:lnTo>
                  <a:lnTo>
                    <a:pt x="363" y="906"/>
                  </a:lnTo>
                  <a:lnTo>
                    <a:pt x="363" y="906"/>
                  </a:lnTo>
                  <a:lnTo>
                    <a:pt x="363" y="906"/>
                  </a:lnTo>
                  <a:lnTo>
                    <a:pt x="363" y="906"/>
                  </a:lnTo>
                  <a:lnTo>
                    <a:pt x="363" y="904"/>
                  </a:lnTo>
                  <a:lnTo>
                    <a:pt x="363" y="906"/>
                  </a:lnTo>
                  <a:lnTo>
                    <a:pt x="363" y="906"/>
                  </a:lnTo>
                  <a:lnTo>
                    <a:pt x="363" y="906"/>
                  </a:lnTo>
                  <a:lnTo>
                    <a:pt x="363" y="906"/>
                  </a:lnTo>
                  <a:lnTo>
                    <a:pt x="363" y="904"/>
                  </a:lnTo>
                  <a:lnTo>
                    <a:pt x="363" y="904"/>
                  </a:lnTo>
                  <a:lnTo>
                    <a:pt x="363" y="904"/>
                  </a:lnTo>
                  <a:lnTo>
                    <a:pt x="365" y="904"/>
                  </a:lnTo>
                  <a:lnTo>
                    <a:pt x="365" y="906"/>
                  </a:lnTo>
                  <a:lnTo>
                    <a:pt x="365" y="904"/>
                  </a:lnTo>
                  <a:lnTo>
                    <a:pt x="365" y="906"/>
                  </a:lnTo>
                  <a:lnTo>
                    <a:pt x="365" y="906"/>
                  </a:lnTo>
                  <a:lnTo>
                    <a:pt x="365" y="906"/>
                  </a:lnTo>
                  <a:lnTo>
                    <a:pt x="367" y="908"/>
                  </a:lnTo>
                  <a:lnTo>
                    <a:pt x="367" y="906"/>
                  </a:lnTo>
                  <a:lnTo>
                    <a:pt x="367" y="904"/>
                  </a:lnTo>
                  <a:lnTo>
                    <a:pt x="369" y="904"/>
                  </a:lnTo>
                  <a:lnTo>
                    <a:pt x="369" y="904"/>
                  </a:lnTo>
                  <a:lnTo>
                    <a:pt x="367" y="904"/>
                  </a:lnTo>
                  <a:lnTo>
                    <a:pt x="367" y="904"/>
                  </a:lnTo>
                  <a:lnTo>
                    <a:pt x="367" y="904"/>
                  </a:lnTo>
                  <a:lnTo>
                    <a:pt x="367" y="904"/>
                  </a:lnTo>
                  <a:lnTo>
                    <a:pt x="367" y="904"/>
                  </a:lnTo>
                  <a:lnTo>
                    <a:pt x="369" y="904"/>
                  </a:lnTo>
                  <a:lnTo>
                    <a:pt x="369" y="904"/>
                  </a:lnTo>
                  <a:lnTo>
                    <a:pt x="369" y="904"/>
                  </a:lnTo>
                  <a:lnTo>
                    <a:pt x="371" y="904"/>
                  </a:lnTo>
                  <a:lnTo>
                    <a:pt x="371" y="904"/>
                  </a:lnTo>
                  <a:lnTo>
                    <a:pt x="371" y="904"/>
                  </a:lnTo>
                  <a:lnTo>
                    <a:pt x="371" y="906"/>
                  </a:lnTo>
                  <a:lnTo>
                    <a:pt x="371" y="906"/>
                  </a:lnTo>
                  <a:lnTo>
                    <a:pt x="373" y="906"/>
                  </a:lnTo>
                  <a:lnTo>
                    <a:pt x="373" y="906"/>
                  </a:lnTo>
                  <a:lnTo>
                    <a:pt x="373" y="906"/>
                  </a:lnTo>
                  <a:lnTo>
                    <a:pt x="373" y="906"/>
                  </a:lnTo>
                  <a:lnTo>
                    <a:pt x="373" y="906"/>
                  </a:lnTo>
                  <a:lnTo>
                    <a:pt x="373" y="904"/>
                  </a:lnTo>
                  <a:lnTo>
                    <a:pt x="373" y="906"/>
                  </a:lnTo>
                  <a:lnTo>
                    <a:pt x="375" y="906"/>
                  </a:lnTo>
                  <a:lnTo>
                    <a:pt x="375" y="906"/>
                  </a:lnTo>
                  <a:lnTo>
                    <a:pt x="375" y="906"/>
                  </a:lnTo>
                  <a:lnTo>
                    <a:pt x="375" y="906"/>
                  </a:lnTo>
                  <a:lnTo>
                    <a:pt x="375" y="906"/>
                  </a:lnTo>
                  <a:lnTo>
                    <a:pt x="375" y="906"/>
                  </a:lnTo>
                  <a:lnTo>
                    <a:pt x="377" y="906"/>
                  </a:lnTo>
                  <a:lnTo>
                    <a:pt x="377" y="906"/>
                  </a:lnTo>
                  <a:lnTo>
                    <a:pt x="377" y="906"/>
                  </a:lnTo>
                  <a:lnTo>
                    <a:pt x="377" y="906"/>
                  </a:lnTo>
                  <a:lnTo>
                    <a:pt x="377" y="904"/>
                  </a:lnTo>
                  <a:close/>
                  <a:moveTo>
                    <a:pt x="717" y="262"/>
                  </a:moveTo>
                  <a:lnTo>
                    <a:pt x="719" y="262"/>
                  </a:lnTo>
                  <a:lnTo>
                    <a:pt x="719" y="262"/>
                  </a:lnTo>
                  <a:lnTo>
                    <a:pt x="719" y="262"/>
                  </a:lnTo>
                  <a:lnTo>
                    <a:pt x="719" y="262"/>
                  </a:lnTo>
                  <a:lnTo>
                    <a:pt x="719" y="262"/>
                  </a:lnTo>
                  <a:lnTo>
                    <a:pt x="721" y="262"/>
                  </a:lnTo>
                  <a:lnTo>
                    <a:pt x="721" y="262"/>
                  </a:lnTo>
                  <a:lnTo>
                    <a:pt x="721" y="260"/>
                  </a:lnTo>
                  <a:lnTo>
                    <a:pt x="719" y="262"/>
                  </a:lnTo>
                  <a:lnTo>
                    <a:pt x="719" y="262"/>
                  </a:lnTo>
                  <a:lnTo>
                    <a:pt x="719" y="262"/>
                  </a:lnTo>
                  <a:lnTo>
                    <a:pt x="717" y="262"/>
                  </a:lnTo>
                  <a:lnTo>
                    <a:pt x="717" y="262"/>
                  </a:lnTo>
                  <a:close/>
                  <a:moveTo>
                    <a:pt x="1638" y="687"/>
                  </a:moveTo>
                  <a:lnTo>
                    <a:pt x="1638" y="687"/>
                  </a:lnTo>
                  <a:lnTo>
                    <a:pt x="1638" y="687"/>
                  </a:lnTo>
                  <a:lnTo>
                    <a:pt x="1638" y="684"/>
                  </a:lnTo>
                  <a:lnTo>
                    <a:pt x="1636" y="682"/>
                  </a:lnTo>
                  <a:lnTo>
                    <a:pt x="1634" y="680"/>
                  </a:lnTo>
                  <a:lnTo>
                    <a:pt x="1634" y="680"/>
                  </a:lnTo>
                  <a:lnTo>
                    <a:pt x="1634" y="680"/>
                  </a:lnTo>
                  <a:lnTo>
                    <a:pt x="1632" y="678"/>
                  </a:lnTo>
                  <a:lnTo>
                    <a:pt x="1632" y="680"/>
                  </a:lnTo>
                  <a:lnTo>
                    <a:pt x="1632" y="680"/>
                  </a:lnTo>
                  <a:lnTo>
                    <a:pt x="1632" y="680"/>
                  </a:lnTo>
                  <a:lnTo>
                    <a:pt x="1630" y="680"/>
                  </a:lnTo>
                  <a:lnTo>
                    <a:pt x="1630" y="680"/>
                  </a:lnTo>
                  <a:lnTo>
                    <a:pt x="1628" y="680"/>
                  </a:lnTo>
                  <a:lnTo>
                    <a:pt x="1628" y="678"/>
                  </a:lnTo>
                  <a:lnTo>
                    <a:pt x="1626" y="678"/>
                  </a:lnTo>
                  <a:lnTo>
                    <a:pt x="1626" y="676"/>
                  </a:lnTo>
                  <a:lnTo>
                    <a:pt x="1626" y="676"/>
                  </a:lnTo>
                  <a:lnTo>
                    <a:pt x="1624" y="676"/>
                  </a:lnTo>
                  <a:lnTo>
                    <a:pt x="1622" y="676"/>
                  </a:lnTo>
                  <a:lnTo>
                    <a:pt x="1622" y="676"/>
                  </a:lnTo>
                  <a:lnTo>
                    <a:pt x="1622" y="676"/>
                  </a:lnTo>
                  <a:lnTo>
                    <a:pt x="1624" y="678"/>
                  </a:lnTo>
                  <a:lnTo>
                    <a:pt x="1624" y="678"/>
                  </a:lnTo>
                  <a:lnTo>
                    <a:pt x="1624" y="678"/>
                  </a:lnTo>
                  <a:lnTo>
                    <a:pt x="1624" y="680"/>
                  </a:lnTo>
                  <a:lnTo>
                    <a:pt x="1624" y="680"/>
                  </a:lnTo>
                  <a:lnTo>
                    <a:pt x="1624" y="680"/>
                  </a:lnTo>
                  <a:lnTo>
                    <a:pt x="1624" y="680"/>
                  </a:lnTo>
                  <a:lnTo>
                    <a:pt x="1624" y="682"/>
                  </a:lnTo>
                  <a:lnTo>
                    <a:pt x="1624" y="682"/>
                  </a:lnTo>
                  <a:lnTo>
                    <a:pt x="1626" y="682"/>
                  </a:lnTo>
                  <a:lnTo>
                    <a:pt x="1626" y="682"/>
                  </a:lnTo>
                  <a:lnTo>
                    <a:pt x="1626" y="687"/>
                  </a:lnTo>
                  <a:lnTo>
                    <a:pt x="1626" y="687"/>
                  </a:lnTo>
                  <a:lnTo>
                    <a:pt x="1628" y="689"/>
                  </a:lnTo>
                  <a:lnTo>
                    <a:pt x="1630" y="689"/>
                  </a:lnTo>
                  <a:lnTo>
                    <a:pt x="1630" y="689"/>
                  </a:lnTo>
                  <a:lnTo>
                    <a:pt x="1632" y="689"/>
                  </a:lnTo>
                  <a:lnTo>
                    <a:pt x="1632" y="689"/>
                  </a:lnTo>
                  <a:lnTo>
                    <a:pt x="1634" y="691"/>
                  </a:lnTo>
                  <a:lnTo>
                    <a:pt x="1634" y="691"/>
                  </a:lnTo>
                  <a:lnTo>
                    <a:pt x="1634" y="691"/>
                  </a:lnTo>
                  <a:lnTo>
                    <a:pt x="1634" y="689"/>
                  </a:lnTo>
                  <a:lnTo>
                    <a:pt x="1634" y="689"/>
                  </a:lnTo>
                  <a:lnTo>
                    <a:pt x="1636" y="691"/>
                  </a:lnTo>
                  <a:lnTo>
                    <a:pt x="1636" y="691"/>
                  </a:lnTo>
                  <a:lnTo>
                    <a:pt x="1636" y="691"/>
                  </a:lnTo>
                  <a:lnTo>
                    <a:pt x="1636" y="691"/>
                  </a:lnTo>
                  <a:lnTo>
                    <a:pt x="1638" y="691"/>
                  </a:lnTo>
                  <a:lnTo>
                    <a:pt x="1638" y="691"/>
                  </a:lnTo>
                  <a:lnTo>
                    <a:pt x="1638" y="689"/>
                  </a:lnTo>
                  <a:lnTo>
                    <a:pt x="1638" y="687"/>
                  </a:lnTo>
                  <a:lnTo>
                    <a:pt x="1638" y="687"/>
                  </a:lnTo>
                  <a:lnTo>
                    <a:pt x="1638" y="687"/>
                  </a:lnTo>
                  <a:close/>
                  <a:moveTo>
                    <a:pt x="1049" y="584"/>
                  </a:moveTo>
                  <a:lnTo>
                    <a:pt x="1049" y="584"/>
                  </a:lnTo>
                  <a:lnTo>
                    <a:pt x="1049" y="584"/>
                  </a:lnTo>
                  <a:lnTo>
                    <a:pt x="1049" y="584"/>
                  </a:lnTo>
                  <a:lnTo>
                    <a:pt x="1049" y="584"/>
                  </a:lnTo>
                  <a:lnTo>
                    <a:pt x="1047" y="584"/>
                  </a:lnTo>
                  <a:lnTo>
                    <a:pt x="1049" y="584"/>
                  </a:lnTo>
                  <a:lnTo>
                    <a:pt x="1049" y="584"/>
                  </a:lnTo>
                  <a:lnTo>
                    <a:pt x="1049" y="586"/>
                  </a:lnTo>
                  <a:lnTo>
                    <a:pt x="1049" y="586"/>
                  </a:lnTo>
                  <a:lnTo>
                    <a:pt x="1051" y="586"/>
                  </a:lnTo>
                  <a:lnTo>
                    <a:pt x="1049" y="586"/>
                  </a:lnTo>
                  <a:lnTo>
                    <a:pt x="1049" y="584"/>
                  </a:lnTo>
                  <a:lnTo>
                    <a:pt x="1049" y="584"/>
                  </a:lnTo>
                  <a:close/>
                  <a:moveTo>
                    <a:pt x="1026" y="623"/>
                  </a:moveTo>
                  <a:lnTo>
                    <a:pt x="1026" y="625"/>
                  </a:lnTo>
                  <a:lnTo>
                    <a:pt x="1026" y="625"/>
                  </a:lnTo>
                  <a:lnTo>
                    <a:pt x="1026" y="625"/>
                  </a:lnTo>
                  <a:lnTo>
                    <a:pt x="1024" y="625"/>
                  </a:lnTo>
                  <a:lnTo>
                    <a:pt x="1024" y="625"/>
                  </a:lnTo>
                  <a:lnTo>
                    <a:pt x="1024" y="625"/>
                  </a:lnTo>
                  <a:lnTo>
                    <a:pt x="1024" y="627"/>
                  </a:lnTo>
                  <a:lnTo>
                    <a:pt x="1024" y="627"/>
                  </a:lnTo>
                  <a:lnTo>
                    <a:pt x="1024" y="627"/>
                  </a:lnTo>
                  <a:lnTo>
                    <a:pt x="1024" y="627"/>
                  </a:lnTo>
                  <a:lnTo>
                    <a:pt x="1024" y="627"/>
                  </a:lnTo>
                  <a:lnTo>
                    <a:pt x="1026" y="629"/>
                  </a:lnTo>
                  <a:lnTo>
                    <a:pt x="1028" y="627"/>
                  </a:lnTo>
                  <a:lnTo>
                    <a:pt x="1028" y="627"/>
                  </a:lnTo>
                  <a:lnTo>
                    <a:pt x="1030" y="627"/>
                  </a:lnTo>
                  <a:lnTo>
                    <a:pt x="1030" y="625"/>
                  </a:lnTo>
                  <a:lnTo>
                    <a:pt x="1028" y="623"/>
                  </a:lnTo>
                  <a:lnTo>
                    <a:pt x="1026" y="623"/>
                  </a:lnTo>
                  <a:close/>
                  <a:moveTo>
                    <a:pt x="1706" y="709"/>
                  </a:moveTo>
                  <a:lnTo>
                    <a:pt x="1706" y="709"/>
                  </a:lnTo>
                  <a:lnTo>
                    <a:pt x="1706" y="709"/>
                  </a:lnTo>
                  <a:lnTo>
                    <a:pt x="1704" y="705"/>
                  </a:lnTo>
                  <a:lnTo>
                    <a:pt x="1704" y="705"/>
                  </a:lnTo>
                  <a:lnTo>
                    <a:pt x="1704" y="705"/>
                  </a:lnTo>
                  <a:lnTo>
                    <a:pt x="1702" y="703"/>
                  </a:lnTo>
                  <a:lnTo>
                    <a:pt x="1702" y="703"/>
                  </a:lnTo>
                  <a:lnTo>
                    <a:pt x="1702" y="703"/>
                  </a:lnTo>
                  <a:lnTo>
                    <a:pt x="1700" y="701"/>
                  </a:lnTo>
                  <a:lnTo>
                    <a:pt x="1700" y="699"/>
                  </a:lnTo>
                  <a:lnTo>
                    <a:pt x="1700" y="699"/>
                  </a:lnTo>
                  <a:lnTo>
                    <a:pt x="1698" y="699"/>
                  </a:lnTo>
                  <a:lnTo>
                    <a:pt x="1698" y="697"/>
                  </a:lnTo>
                  <a:lnTo>
                    <a:pt x="1698" y="697"/>
                  </a:lnTo>
                  <a:lnTo>
                    <a:pt x="1698" y="695"/>
                  </a:lnTo>
                  <a:lnTo>
                    <a:pt x="1698" y="695"/>
                  </a:lnTo>
                  <a:lnTo>
                    <a:pt x="1698" y="693"/>
                  </a:lnTo>
                  <a:lnTo>
                    <a:pt x="1696" y="693"/>
                  </a:lnTo>
                  <a:lnTo>
                    <a:pt x="1696" y="693"/>
                  </a:lnTo>
                  <a:lnTo>
                    <a:pt x="1696" y="693"/>
                  </a:lnTo>
                  <a:lnTo>
                    <a:pt x="1696" y="691"/>
                  </a:lnTo>
                  <a:lnTo>
                    <a:pt x="1696" y="691"/>
                  </a:lnTo>
                  <a:lnTo>
                    <a:pt x="1696" y="691"/>
                  </a:lnTo>
                  <a:lnTo>
                    <a:pt x="1696" y="691"/>
                  </a:lnTo>
                  <a:lnTo>
                    <a:pt x="1696" y="691"/>
                  </a:lnTo>
                  <a:lnTo>
                    <a:pt x="1696" y="691"/>
                  </a:lnTo>
                  <a:lnTo>
                    <a:pt x="1696" y="689"/>
                  </a:lnTo>
                  <a:lnTo>
                    <a:pt x="1696" y="689"/>
                  </a:lnTo>
                  <a:lnTo>
                    <a:pt x="1696" y="687"/>
                  </a:lnTo>
                  <a:lnTo>
                    <a:pt x="1696" y="684"/>
                  </a:lnTo>
                  <a:lnTo>
                    <a:pt x="1696" y="682"/>
                  </a:lnTo>
                  <a:lnTo>
                    <a:pt x="1696" y="682"/>
                  </a:lnTo>
                  <a:lnTo>
                    <a:pt x="1696" y="680"/>
                  </a:lnTo>
                  <a:lnTo>
                    <a:pt x="1696" y="678"/>
                  </a:lnTo>
                  <a:lnTo>
                    <a:pt x="1694" y="676"/>
                  </a:lnTo>
                  <a:lnTo>
                    <a:pt x="1694" y="676"/>
                  </a:lnTo>
                  <a:lnTo>
                    <a:pt x="1694" y="674"/>
                  </a:lnTo>
                  <a:lnTo>
                    <a:pt x="1692" y="674"/>
                  </a:lnTo>
                  <a:lnTo>
                    <a:pt x="1692" y="672"/>
                  </a:lnTo>
                  <a:lnTo>
                    <a:pt x="1690" y="672"/>
                  </a:lnTo>
                  <a:lnTo>
                    <a:pt x="1688" y="674"/>
                  </a:lnTo>
                  <a:lnTo>
                    <a:pt x="1688" y="674"/>
                  </a:lnTo>
                  <a:lnTo>
                    <a:pt x="1686" y="674"/>
                  </a:lnTo>
                  <a:lnTo>
                    <a:pt x="1681" y="674"/>
                  </a:lnTo>
                  <a:lnTo>
                    <a:pt x="1681" y="674"/>
                  </a:lnTo>
                  <a:lnTo>
                    <a:pt x="1681" y="674"/>
                  </a:lnTo>
                  <a:lnTo>
                    <a:pt x="1679" y="672"/>
                  </a:lnTo>
                  <a:lnTo>
                    <a:pt x="1677" y="670"/>
                  </a:lnTo>
                  <a:lnTo>
                    <a:pt x="1677" y="670"/>
                  </a:lnTo>
                  <a:lnTo>
                    <a:pt x="1675" y="670"/>
                  </a:lnTo>
                  <a:lnTo>
                    <a:pt x="1673" y="670"/>
                  </a:lnTo>
                  <a:lnTo>
                    <a:pt x="1669" y="668"/>
                  </a:lnTo>
                  <a:lnTo>
                    <a:pt x="1665" y="668"/>
                  </a:lnTo>
                  <a:lnTo>
                    <a:pt x="1661" y="668"/>
                  </a:lnTo>
                  <a:lnTo>
                    <a:pt x="1659" y="668"/>
                  </a:lnTo>
                  <a:lnTo>
                    <a:pt x="1655" y="666"/>
                  </a:lnTo>
                  <a:lnTo>
                    <a:pt x="1651" y="666"/>
                  </a:lnTo>
                  <a:lnTo>
                    <a:pt x="1645" y="664"/>
                  </a:lnTo>
                  <a:lnTo>
                    <a:pt x="1643" y="664"/>
                  </a:lnTo>
                  <a:lnTo>
                    <a:pt x="1643" y="664"/>
                  </a:lnTo>
                  <a:lnTo>
                    <a:pt x="1643" y="664"/>
                  </a:lnTo>
                  <a:lnTo>
                    <a:pt x="1638" y="664"/>
                  </a:lnTo>
                  <a:lnTo>
                    <a:pt x="1636" y="666"/>
                  </a:lnTo>
                  <a:lnTo>
                    <a:pt x="1634" y="666"/>
                  </a:lnTo>
                  <a:lnTo>
                    <a:pt x="1634" y="666"/>
                  </a:lnTo>
                  <a:lnTo>
                    <a:pt x="1634" y="664"/>
                  </a:lnTo>
                  <a:lnTo>
                    <a:pt x="1634" y="662"/>
                  </a:lnTo>
                  <a:lnTo>
                    <a:pt x="1634" y="662"/>
                  </a:lnTo>
                  <a:lnTo>
                    <a:pt x="1632" y="660"/>
                  </a:lnTo>
                  <a:lnTo>
                    <a:pt x="1632" y="660"/>
                  </a:lnTo>
                  <a:lnTo>
                    <a:pt x="1630" y="660"/>
                  </a:lnTo>
                  <a:lnTo>
                    <a:pt x="1630" y="658"/>
                  </a:lnTo>
                  <a:lnTo>
                    <a:pt x="1630" y="658"/>
                  </a:lnTo>
                  <a:lnTo>
                    <a:pt x="1630" y="658"/>
                  </a:lnTo>
                  <a:lnTo>
                    <a:pt x="1630" y="656"/>
                  </a:lnTo>
                  <a:lnTo>
                    <a:pt x="1630" y="656"/>
                  </a:lnTo>
                  <a:lnTo>
                    <a:pt x="1624" y="656"/>
                  </a:lnTo>
                  <a:lnTo>
                    <a:pt x="1622" y="646"/>
                  </a:lnTo>
                  <a:lnTo>
                    <a:pt x="1618" y="646"/>
                  </a:lnTo>
                  <a:lnTo>
                    <a:pt x="1614" y="646"/>
                  </a:lnTo>
                  <a:lnTo>
                    <a:pt x="1614" y="643"/>
                  </a:lnTo>
                  <a:lnTo>
                    <a:pt x="1614" y="639"/>
                  </a:lnTo>
                  <a:lnTo>
                    <a:pt x="1612" y="635"/>
                  </a:lnTo>
                  <a:lnTo>
                    <a:pt x="1608" y="633"/>
                  </a:lnTo>
                  <a:lnTo>
                    <a:pt x="1604" y="631"/>
                  </a:lnTo>
                  <a:lnTo>
                    <a:pt x="1602" y="627"/>
                  </a:lnTo>
                  <a:lnTo>
                    <a:pt x="1598" y="625"/>
                  </a:lnTo>
                  <a:lnTo>
                    <a:pt x="1593" y="621"/>
                  </a:lnTo>
                  <a:lnTo>
                    <a:pt x="1589" y="615"/>
                  </a:lnTo>
                  <a:lnTo>
                    <a:pt x="1585" y="613"/>
                  </a:lnTo>
                  <a:lnTo>
                    <a:pt x="1579" y="607"/>
                  </a:lnTo>
                  <a:lnTo>
                    <a:pt x="1573" y="600"/>
                  </a:lnTo>
                  <a:lnTo>
                    <a:pt x="1567" y="594"/>
                  </a:lnTo>
                  <a:lnTo>
                    <a:pt x="1563" y="592"/>
                  </a:lnTo>
                  <a:lnTo>
                    <a:pt x="1565" y="588"/>
                  </a:lnTo>
                  <a:lnTo>
                    <a:pt x="1552" y="582"/>
                  </a:lnTo>
                  <a:lnTo>
                    <a:pt x="1546" y="578"/>
                  </a:lnTo>
                  <a:lnTo>
                    <a:pt x="1534" y="574"/>
                  </a:lnTo>
                  <a:lnTo>
                    <a:pt x="1532" y="572"/>
                  </a:lnTo>
                  <a:lnTo>
                    <a:pt x="1532" y="570"/>
                  </a:lnTo>
                  <a:lnTo>
                    <a:pt x="1530" y="570"/>
                  </a:lnTo>
                  <a:lnTo>
                    <a:pt x="1528" y="566"/>
                  </a:lnTo>
                  <a:lnTo>
                    <a:pt x="1524" y="564"/>
                  </a:lnTo>
                  <a:lnTo>
                    <a:pt x="1522" y="564"/>
                  </a:lnTo>
                  <a:lnTo>
                    <a:pt x="1518" y="562"/>
                  </a:lnTo>
                  <a:lnTo>
                    <a:pt x="1518" y="559"/>
                  </a:lnTo>
                  <a:lnTo>
                    <a:pt x="1509" y="559"/>
                  </a:lnTo>
                  <a:lnTo>
                    <a:pt x="1507" y="555"/>
                  </a:lnTo>
                  <a:lnTo>
                    <a:pt x="1507" y="553"/>
                  </a:lnTo>
                  <a:lnTo>
                    <a:pt x="1505" y="553"/>
                  </a:lnTo>
                  <a:lnTo>
                    <a:pt x="1505" y="551"/>
                  </a:lnTo>
                  <a:lnTo>
                    <a:pt x="1505" y="549"/>
                  </a:lnTo>
                  <a:lnTo>
                    <a:pt x="1503" y="545"/>
                  </a:lnTo>
                  <a:lnTo>
                    <a:pt x="1501" y="543"/>
                  </a:lnTo>
                  <a:lnTo>
                    <a:pt x="1499" y="543"/>
                  </a:lnTo>
                  <a:lnTo>
                    <a:pt x="1497" y="541"/>
                  </a:lnTo>
                  <a:lnTo>
                    <a:pt x="1497" y="539"/>
                  </a:lnTo>
                  <a:lnTo>
                    <a:pt x="1493" y="539"/>
                  </a:lnTo>
                  <a:lnTo>
                    <a:pt x="1489" y="537"/>
                  </a:lnTo>
                  <a:lnTo>
                    <a:pt x="1479" y="547"/>
                  </a:lnTo>
                  <a:lnTo>
                    <a:pt x="1475" y="549"/>
                  </a:lnTo>
                  <a:lnTo>
                    <a:pt x="1473" y="551"/>
                  </a:lnTo>
                  <a:lnTo>
                    <a:pt x="1471" y="553"/>
                  </a:lnTo>
                  <a:lnTo>
                    <a:pt x="1475" y="553"/>
                  </a:lnTo>
                  <a:lnTo>
                    <a:pt x="1475" y="555"/>
                  </a:lnTo>
                  <a:lnTo>
                    <a:pt x="1475" y="559"/>
                  </a:lnTo>
                  <a:lnTo>
                    <a:pt x="1471" y="562"/>
                  </a:lnTo>
                  <a:lnTo>
                    <a:pt x="1468" y="559"/>
                  </a:lnTo>
                  <a:lnTo>
                    <a:pt x="1473" y="570"/>
                  </a:lnTo>
                  <a:lnTo>
                    <a:pt x="1471" y="576"/>
                  </a:lnTo>
                  <a:lnTo>
                    <a:pt x="1464" y="578"/>
                  </a:lnTo>
                  <a:lnTo>
                    <a:pt x="1454" y="590"/>
                  </a:lnTo>
                  <a:lnTo>
                    <a:pt x="1452" y="594"/>
                  </a:lnTo>
                  <a:lnTo>
                    <a:pt x="1450" y="596"/>
                  </a:lnTo>
                  <a:lnTo>
                    <a:pt x="1450" y="590"/>
                  </a:lnTo>
                  <a:lnTo>
                    <a:pt x="1444" y="580"/>
                  </a:lnTo>
                  <a:lnTo>
                    <a:pt x="1430" y="570"/>
                  </a:lnTo>
                  <a:lnTo>
                    <a:pt x="1411" y="559"/>
                  </a:lnTo>
                  <a:lnTo>
                    <a:pt x="1409" y="557"/>
                  </a:lnTo>
                  <a:lnTo>
                    <a:pt x="1407" y="551"/>
                  </a:lnTo>
                  <a:lnTo>
                    <a:pt x="1397" y="549"/>
                  </a:lnTo>
                  <a:lnTo>
                    <a:pt x="1393" y="545"/>
                  </a:lnTo>
                  <a:lnTo>
                    <a:pt x="1393" y="533"/>
                  </a:lnTo>
                  <a:lnTo>
                    <a:pt x="1393" y="531"/>
                  </a:lnTo>
                  <a:lnTo>
                    <a:pt x="1376" y="535"/>
                  </a:lnTo>
                  <a:lnTo>
                    <a:pt x="1372" y="545"/>
                  </a:lnTo>
                  <a:lnTo>
                    <a:pt x="1358" y="541"/>
                  </a:lnTo>
                  <a:lnTo>
                    <a:pt x="1358" y="545"/>
                  </a:lnTo>
                  <a:lnTo>
                    <a:pt x="1344" y="543"/>
                  </a:lnTo>
                  <a:lnTo>
                    <a:pt x="1344" y="537"/>
                  </a:lnTo>
                  <a:lnTo>
                    <a:pt x="1342" y="529"/>
                  </a:lnTo>
                  <a:lnTo>
                    <a:pt x="1339" y="521"/>
                  </a:lnTo>
                  <a:lnTo>
                    <a:pt x="1337" y="514"/>
                  </a:lnTo>
                  <a:lnTo>
                    <a:pt x="1337" y="506"/>
                  </a:lnTo>
                  <a:lnTo>
                    <a:pt x="1335" y="498"/>
                  </a:lnTo>
                  <a:lnTo>
                    <a:pt x="1333" y="492"/>
                  </a:lnTo>
                  <a:lnTo>
                    <a:pt x="1333" y="484"/>
                  </a:lnTo>
                  <a:lnTo>
                    <a:pt x="1331" y="475"/>
                  </a:lnTo>
                  <a:lnTo>
                    <a:pt x="1327" y="461"/>
                  </a:lnTo>
                  <a:lnTo>
                    <a:pt x="1327" y="455"/>
                  </a:lnTo>
                  <a:lnTo>
                    <a:pt x="1325" y="447"/>
                  </a:lnTo>
                  <a:lnTo>
                    <a:pt x="1323" y="439"/>
                  </a:lnTo>
                  <a:lnTo>
                    <a:pt x="1321" y="432"/>
                  </a:lnTo>
                  <a:lnTo>
                    <a:pt x="1321" y="424"/>
                  </a:lnTo>
                  <a:lnTo>
                    <a:pt x="1319" y="416"/>
                  </a:lnTo>
                  <a:lnTo>
                    <a:pt x="1317" y="410"/>
                  </a:lnTo>
                  <a:lnTo>
                    <a:pt x="1317" y="402"/>
                  </a:lnTo>
                  <a:lnTo>
                    <a:pt x="1315" y="393"/>
                  </a:lnTo>
                  <a:lnTo>
                    <a:pt x="1313" y="387"/>
                  </a:lnTo>
                  <a:lnTo>
                    <a:pt x="1311" y="379"/>
                  </a:lnTo>
                  <a:lnTo>
                    <a:pt x="1311" y="371"/>
                  </a:lnTo>
                  <a:lnTo>
                    <a:pt x="1309" y="365"/>
                  </a:lnTo>
                  <a:lnTo>
                    <a:pt x="1307" y="357"/>
                  </a:lnTo>
                  <a:lnTo>
                    <a:pt x="1307" y="350"/>
                  </a:lnTo>
                  <a:lnTo>
                    <a:pt x="1305" y="342"/>
                  </a:lnTo>
                  <a:lnTo>
                    <a:pt x="1303" y="334"/>
                  </a:lnTo>
                  <a:lnTo>
                    <a:pt x="1301" y="328"/>
                  </a:lnTo>
                  <a:lnTo>
                    <a:pt x="1301" y="320"/>
                  </a:lnTo>
                  <a:lnTo>
                    <a:pt x="1294" y="289"/>
                  </a:lnTo>
                  <a:lnTo>
                    <a:pt x="1292" y="283"/>
                  </a:lnTo>
                  <a:lnTo>
                    <a:pt x="1290" y="268"/>
                  </a:lnTo>
                  <a:lnTo>
                    <a:pt x="1288" y="260"/>
                  </a:lnTo>
                  <a:lnTo>
                    <a:pt x="1284" y="246"/>
                  </a:lnTo>
                  <a:lnTo>
                    <a:pt x="1284" y="238"/>
                  </a:lnTo>
                  <a:lnTo>
                    <a:pt x="1282" y="230"/>
                  </a:lnTo>
                  <a:lnTo>
                    <a:pt x="1280" y="223"/>
                  </a:lnTo>
                  <a:lnTo>
                    <a:pt x="1280" y="215"/>
                  </a:lnTo>
                  <a:lnTo>
                    <a:pt x="1276" y="201"/>
                  </a:lnTo>
                  <a:lnTo>
                    <a:pt x="1274" y="193"/>
                  </a:lnTo>
                  <a:lnTo>
                    <a:pt x="1274" y="186"/>
                  </a:lnTo>
                  <a:lnTo>
                    <a:pt x="1272" y="178"/>
                  </a:lnTo>
                  <a:lnTo>
                    <a:pt x="1270" y="164"/>
                  </a:lnTo>
                  <a:lnTo>
                    <a:pt x="1268" y="156"/>
                  </a:lnTo>
                  <a:lnTo>
                    <a:pt x="1266" y="150"/>
                  </a:lnTo>
                  <a:lnTo>
                    <a:pt x="1264" y="133"/>
                  </a:lnTo>
                  <a:lnTo>
                    <a:pt x="1260" y="119"/>
                  </a:lnTo>
                  <a:lnTo>
                    <a:pt x="1260" y="113"/>
                  </a:lnTo>
                  <a:lnTo>
                    <a:pt x="1258" y="105"/>
                  </a:lnTo>
                  <a:lnTo>
                    <a:pt x="1256" y="98"/>
                  </a:lnTo>
                  <a:lnTo>
                    <a:pt x="1253" y="90"/>
                  </a:lnTo>
                  <a:lnTo>
                    <a:pt x="1253" y="82"/>
                  </a:lnTo>
                  <a:lnTo>
                    <a:pt x="1251" y="76"/>
                  </a:lnTo>
                  <a:lnTo>
                    <a:pt x="1249" y="68"/>
                  </a:lnTo>
                  <a:lnTo>
                    <a:pt x="1249" y="68"/>
                  </a:lnTo>
                  <a:lnTo>
                    <a:pt x="1243" y="68"/>
                  </a:lnTo>
                  <a:lnTo>
                    <a:pt x="1243" y="68"/>
                  </a:lnTo>
                  <a:lnTo>
                    <a:pt x="1245" y="68"/>
                  </a:lnTo>
                  <a:lnTo>
                    <a:pt x="1245" y="68"/>
                  </a:lnTo>
                  <a:lnTo>
                    <a:pt x="1245" y="68"/>
                  </a:lnTo>
                  <a:lnTo>
                    <a:pt x="1245" y="68"/>
                  </a:lnTo>
                  <a:lnTo>
                    <a:pt x="1245" y="68"/>
                  </a:lnTo>
                  <a:lnTo>
                    <a:pt x="1245" y="70"/>
                  </a:lnTo>
                  <a:lnTo>
                    <a:pt x="1245" y="70"/>
                  </a:lnTo>
                  <a:lnTo>
                    <a:pt x="1243" y="70"/>
                  </a:lnTo>
                  <a:lnTo>
                    <a:pt x="1241" y="70"/>
                  </a:lnTo>
                  <a:lnTo>
                    <a:pt x="1241" y="68"/>
                  </a:lnTo>
                  <a:lnTo>
                    <a:pt x="1241" y="68"/>
                  </a:lnTo>
                  <a:lnTo>
                    <a:pt x="1239" y="66"/>
                  </a:lnTo>
                  <a:lnTo>
                    <a:pt x="1239" y="66"/>
                  </a:lnTo>
                  <a:lnTo>
                    <a:pt x="1237" y="66"/>
                  </a:lnTo>
                  <a:lnTo>
                    <a:pt x="1233" y="64"/>
                  </a:lnTo>
                  <a:lnTo>
                    <a:pt x="1233" y="64"/>
                  </a:lnTo>
                  <a:lnTo>
                    <a:pt x="1231" y="64"/>
                  </a:lnTo>
                  <a:lnTo>
                    <a:pt x="1231" y="64"/>
                  </a:lnTo>
                  <a:lnTo>
                    <a:pt x="1231" y="64"/>
                  </a:lnTo>
                  <a:lnTo>
                    <a:pt x="1231" y="64"/>
                  </a:lnTo>
                  <a:lnTo>
                    <a:pt x="1231" y="64"/>
                  </a:lnTo>
                  <a:lnTo>
                    <a:pt x="1229" y="64"/>
                  </a:lnTo>
                  <a:lnTo>
                    <a:pt x="1229" y="61"/>
                  </a:lnTo>
                  <a:lnTo>
                    <a:pt x="1229" y="61"/>
                  </a:lnTo>
                  <a:lnTo>
                    <a:pt x="1225" y="61"/>
                  </a:lnTo>
                  <a:lnTo>
                    <a:pt x="1225" y="61"/>
                  </a:lnTo>
                  <a:lnTo>
                    <a:pt x="1225" y="61"/>
                  </a:lnTo>
                  <a:lnTo>
                    <a:pt x="1225" y="61"/>
                  </a:lnTo>
                  <a:lnTo>
                    <a:pt x="1223" y="61"/>
                  </a:lnTo>
                  <a:lnTo>
                    <a:pt x="1223" y="59"/>
                  </a:lnTo>
                  <a:lnTo>
                    <a:pt x="1223" y="59"/>
                  </a:lnTo>
                  <a:lnTo>
                    <a:pt x="1223" y="59"/>
                  </a:lnTo>
                  <a:lnTo>
                    <a:pt x="1223" y="59"/>
                  </a:lnTo>
                  <a:lnTo>
                    <a:pt x="1223" y="59"/>
                  </a:lnTo>
                  <a:lnTo>
                    <a:pt x="1223" y="59"/>
                  </a:lnTo>
                  <a:lnTo>
                    <a:pt x="1223" y="59"/>
                  </a:lnTo>
                  <a:lnTo>
                    <a:pt x="1223" y="59"/>
                  </a:lnTo>
                  <a:lnTo>
                    <a:pt x="1223" y="59"/>
                  </a:lnTo>
                  <a:lnTo>
                    <a:pt x="1223" y="59"/>
                  </a:lnTo>
                  <a:lnTo>
                    <a:pt x="1223" y="59"/>
                  </a:lnTo>
                  <a:lnTo>
                    <a:pt x="1221" y="57"/>
                  </a:lnTo>
                  <a:lnTo>
                    <a:pt x="1221" y="57"/>
                  </a:lnTo>
                  <a:lnTo>
                    <a:pt x="1221" y="57"/>
                  </a:lnTo>
                  <a:lnTo>
                    <a:pt x="1221" y="57"/>
                  </a:lnTo>
                  <a:lnTo>
                    <a:pt x="1221" y="57"/>
                  </a:lnTo>
                  <a:lnTo>
                    <a:pt x="1221" y="57"/>
                  </a:lnTo>
                  <a:lnTo>
                    <a:pt x="1221" y="57"/>
                  </a:lnTo>
                  <a:lnTo>
                    <a:pt x="1219" y="57"/>
                  </a:lnTo>
                  <a:lnTo>
                    <a:pt x="1219" y="55"/>
                  </a:lnTo>
                  <a:lnTo>
                    <a:pt x="1219" y="57"/>
                  </a:lnTo>
                  <a:lnTo>
                    <a:pt x="1219" y="57"/>
                  </a:lnTo>
                  <a:lnTo>
                    <a:pt x="1219" y="57"/>
                  </a:lnTo>
                  <a:lnTo>
                    <a:pt x="1219" y="57"/>
                  </a:lnTo>
                  <a:lnTo>
                    <a:pt x="1219" y="57"/>
                  </a:lnTo>
                  <a:lnTo>
                    <a:pt x="1219" y="55"/>
                  </a:lnTo>
                  <a:lnTo>
                    <a:pt x="1219" y="55"/>
                  </a:lnTo>
                  <a:lnTo>
                    <a:pt x="1217" y="55"/>
                  </a:lnTo>
                  <a:lnTo>
                    <a:pt x="1212" y="53"/>
                  </a:lnTo>
                  <a:lnTo>
                    <a:pt x="1210" y="53"/>
                  </a:lnTo>
                  <a:lnTo>
                    <a:pt x="1212" y="53"/>
                  </a:lnTo>
                  <a:lnTo>
                    <a:pt x="1210" y="53"/>
                  </a:lnTo>
                  <a:lnTo>
                    <a:pt x="1210" y="53"/>
                  </a:lnTo>
                  <a:lnTo>
                    <a:pt x="1210" y="53"/>
                  </a:lnTo>
                  <a:lnTo>
                    <a:pt x="1210" y="53"/>
                  </a:lnTo>
                  <a:lnTo>
                    <a:pt x="1210" y="53"/>
                  </a:lnTo>
                  <a:lnTo>
                    <a:pt x="1210" y="53"/>
                  </a:lnTo>
                  <a:lnTo>
                    <a:pt x="1210" y="53"/>
                  </a:lnTo>
                  <a:lnTo>
                    <a:pt x="1208" y="53"/>
                  </a:lnTo>
                  <a:lnTo>
                    <a:pt x="1208" y="53"/>
                  </a:lnTo>
                  <a:lnTo>
                    <a:pt x="1208" y="53"/>
                  </a:lnTo>
                  <a:lnTo>
                    <a:pt x="1206" y="53"/>
                  </a:lnTo>
                  <a:lnTo>
                    <a:pt x="1206" y="51"/>
                  </a:lnTo>
                  <a:lnTo>
                    <a:pt x="1206" y="51"/>
                  </a:lnTo>
                  <a:lnTo>
                    <a:pt x="1204" y="51"/>
                  </a:lnTo>
                  <a:lnTo>
                    <a:pt x="1204" y="51"/>
                  </a:lnTo>
                  <a:lnTo>
                    <a:pt x="1204" y="53"/>
                  </a:lnTo>
                  <a:lnTo>
                    <a:pt x="1204" y="53"/>
                  </a:lnTo>
                  <a:lnTo>
                    <a:pt x="1204" y="55"/>
                  </a:lnTo>
                  <a:lnTo>
                    <a:pt x="1206" y="55"/>
                  </a:lnTo>
                  <a:lnTo>
                    <a:pt x="1204" y="55"/>
                  </a:lnTo>
                  <a:lnTo>
                    <a:pt x="1204" y="55"/>
                  </a:lnTo>
                  <a:lnTo>
                    <a:pt x="1204" y="53"/>
                  </a:lnTo>
                  <a:lnTo>
                    <a:pt x="1204" y="53"/>
                  </a:lnTo>
                  <a:lnTo>
                    <a:pt x="1204" y="53"/>
                  </a:lnTo>
                  <a:lnTo>
                    <a:pt x="1200" y="53"/>
                  </a:lnTo>
                  <a:lnTo>
                    <a:pt x="1200" y="53"/>
                  </a:lnTo>
                  <a:lnTo>
                    <a:pt x="1200" y="53"/>
                  </a:lnTo>
                  <a:lnTo>
                    <a:pt x="1200" y="51"/>
                  </a:lnTo>
                  <a:lnTo>
                    <a:pt x="1200" y="53"/>
                  </a:lnTo>
                  <a:lnTo>
                    <a:pt x="1200" y="53"/>
                  </a:lnTo>
                  <a:lnTo>
                    <a:pt x="1200" y="53"/>
                  </a:lnTo>
                  <a:lnTo>
                    <a:pt x="1200" y="53"/>
                  </a:lnTo>
                  <a:lnTo>
                    <a:pt x="1200" y="53"/>
                  </a:lnTo>
                  <a:lnTo>
                    <a:pt x="1198" y="55"/>
                  </a:lnTo>
                  <a:lnTo>
                    <a:pt x="1198" y="53"/>
                  </a:lnTo>
                  <a:lnTo>
                    <a:pt x="1196" y="53"/>
                  </a:lnTo>
                  <a:lnTo>
                    <a:pt x="1196" y="53"/>
                  </a:lnTo>
                  <a:lnTo>
                    <a:pt x="1196" y="55"/>
                  </a:lnTo>
                  <a:lnTo>
                    <a:pt x="1194" y="55"/>
                  </a:lnTo>
                  <a:lnTo>
                    <a:pt x="1194" y="55"/>
                  </a:lnTo>
                  <a:lnTo>
                    <a:pt x="1194" y="55"/>
                  </a:lnTo>
                  <a:lnTo>
                    <a:pt x="1194" y="55"/>
                  </a:lnTo>
                  <a:lnTo>
                    <a:pt x="1194" y="55"/>
                  </a:lnTo>
                  <a:lnTo>
                    <a:pt x="1194" y="55"/>
                  </a:lnTo>
                  <a:lnTo>
                    <a:pt x="1194" y="55"/>
                  </a:lnTo>
                  <a:lnTo>
                    <a:pt x="1194" y="55"/>
                  </a:lnTo>
                  <a:lnTo>
                    <a:pt x="1192" y="55"/>
                  </a:lnTo>
                  <a:lnTo>
                    <a:pt x="1192" y="55"/>
                  </a:lnTo>
                  <a:lnTo>
                    <a:pt x="1192" y="55"/>
                  </a:lnTo>
                  <a:lnTo>
                    <a:pt x="1192" y="55"/>
                  </a:lnTo>
                  <a:lnTo>
                    <a:pt x="1192" y="55"/>
                  </a:lnTo>
                  <a:lnTo>
                    <a:pt x="1192" y="55"/>
                  </a:lnTo>
                  <a:lnTo>
                    <a:pt x="1192" y="57"/>
                  </a:lnTo>
                  <a:lnTo>
                    <a:pt x="1192" y="57"/>
                  </a:lnTo>
                  <a:lnTo>
                    <a:pt x="1192" y="59"/>
                  </a:lnTo>
                  <a:lnTo>
                    <a:pt x="1192" y="59"/>
                  </a:lnTo>
                  <a:lnTo>
                    <a:pt x="1192" y="61"/>
                  </a:lnTo>
                  <a:lnTo>
                    <a:pt x="1192" y="59"/>
                  </a:lnTo>
                  <a:lnTo>
                    <a:pt x="1192" y="59"/>
                  </a:lnTo>
                  <a:lnTo>
                    <a:pt x="1192" y="59"/>
                  </a:lnTo>
                  <a:lnTo>
                    <a:pt x="1192" y="59"/>
                  </a:lnTo>
                  <a:lnTo>
                    <a:pt x="1192" y="59"/>
                  </a:lnTo>
                  <a:lnTo>
                    <a:pt x="1192" y="57"/>
                  </a:lnTo>
                  <a:lnTo>
                    <a:pt x="1192" y="57"/>
                  </a:lnTo>
                  <a:lnTo>
                    <a:pt x="1192" y="57"/>
                  </a:lnTo>
                  <a:lnTo>
                    <a:pt x="1190" y="57"/>
                  </a:lnTo>
                  <a:lnTo>
                    <a:pt x="1190" y="57"/>
                  </a:lnTo>
                  <a:lnTo>
                    <a:pt x="1190" y="57"/>
                  </a:lnTo>
                  <a:lnTo>
                    <a:pt x="1190" y="57"/>
                  </a:lnTo>
                  <a:lnTo>
                    <a:pt x="1190" y="57"/>
                  </a:lnTo>
                  <a:lnTo>
                    <a:pt x="1186" y="59"/>
                  </a:lnTo>
                  <a:lnTo>
                    <a:pt x="1184" y="59"/>
                  </a:lnTo>
                  <a:lnTo>
                    <a:pt x="1184" y="61"/>
                  </a:lnTo>
                  <a:lnTo>
                    <a:pt x="1182" y="61"/>
                  </a:lnTo>
                  <a:lnTo>
                    <a:pt x="1180" y="64"/>
                  </a:lnTo>
                  <a:lnTo>
                    <a:pt x="1178" y="64"/>
                  </a:lnTo>
                  <a:lnTo>
                    <a:pt x="1178" y="61"/>
                  </a:lnTo>
                  <a:lnTo>
                    <a:pt x="1178" y="61"/>
                  </a:lnTo>
                  <a:lnTo>
                    <a:pt x="1176" y="64"/>
                  </a:lnTo>
                  <a:lnTo>
                    <a:pt x="1172" y="64"/>
                  </a:lnTo>
                  <a:lnTo>
                    <a:pt x="1169" y="64"/>
                  </a:lnTo>
                  <a:lnTo>
                    <a:pt x="1169" y="64"/>
                  </a:lnTo>
                  <a:lnTo>
                    <a:pt x="1172" y="61"/>
                  </a:lnTo>
                  <a:lnTo>
                    <a:pt x="1172" y="61"/>
                  </a:lnTo>
                  <a:lnTo>
                    <a:pt x="1172" y="61"/>
                  </a:lnTo>
                  <a:lnTo>
                    <a:pt x="1169" y="61"/>
                  </a:lnTo>
                  <a:lnTo>
                    <a:pt x="1167" y="61"/>
                  </a:lnTo>
                  <a:lnTo>
                    <a:pt x="1167" y="61"/>
                  </a:lnTo>
                  <a:lnTo>
                    <a:pt x="1167" y="61"/>
                  </a:lnTo>
                  <a:lnTo>
                    <a:pt x="1165" y="61"/>
                  </a:lnTo>
                  <a:lnTo>
                    <a:pt x="1165" y="59"/>
                  </a:lnTo>
                  <a:lnTo>
                    <a:pt x="1165" y="59"/>
                  </a:lnTo>
                  <a:lnTo>
                    <a:pt x="1165" y="59"/>
                  </a:lnTo>
                  <a:lnTo>
                    <a:pt x="1165" y="59"/>
                  </a:lnTo>
                  <a:lnTo>
                    <a:pt x="1163" y="59"/>
                  </a:lnTo>
                  <a:lnTo>
                    <a:pt x="1163" y="59"/>
                  </a:lnTo>
                  <a:lnTo>
                    <a:pt x="1163" y="59"/>
                  </a:lnTo>
                  <a:lnTo>
                    <a:pt x="1163" y="59"/>
                  </a:lnTo>
                  <a:lnTo>
                    <a:pt x="1163" y="59"/>
                  </a:lnTo>
                  <a:lnTo>
                    <a:pt x="1163" y="59"/>
                  </a:lnTo>
                  <a:lnTo>
                    <a:pt x="1163" y="59"/>
                  </a:lnTo>
                  <a:lnTo>
                    <a:pt x="1161" y="57"/>
                  </a:lnTo>
                  <a:lnTo>
                    <a:pt x="1161" y="57"/>
                  </a:lnTo>
                  <a:lnTo>
                    <a:pt x="1159" y="55"/>
                  </a:lnTo>
                  <a:lnTo>
                    <a:pt x="1157" y="55"/>
                  </a:lnTo>
                  <a:lnTo>
                    <a:pt x="1159" y="57"/>
                  </a:lnTo>
                  <a:lnTo>
                    <a:pt x="1157" y="57"/>
                  </a:lnTo>
                  <a:lnTo>
                    <a:pt x="1157" y="55"/>
                  </a:lnTo>
                  <a:lnTo>
                    <a:pt x="1157" y="55"/>
                  </a:lnTo>
                  <a:lnTo>
                    <a:pt x="1157" y="57"/>
                  </a:lnTo>
                  <a:lnTo>
                    <a:pt x="1157" y="57"/>
                  </a:lnTo>
                  <a:lnTo>
                    <a:pt x="1155" y="57"/>
                  </a:lnTo>
                  <a:lnTo>
                    <a:pt x="1151" y="55"/>
                  </a:lnTo>
                  <a:lnTo>
                    <a:pt x="1149" y="55"/>
                  </a:lnTo>
                  <a:lnTo>
                    <a:pt x="1143" y="57"/>
                  </a:lnTo>
                  <a:lnTo>
                    <a:pt x="1141" y="57"/>
                  </a:lnTo>
                  <a:lnTo>
                    <a:pt x="1141" y="57"/>
                  </a:lnTo>
                  <a:lnTo>
                    <a:pt x="1141" y="57"/>
                  </a:lnTo>
                  <a:lnTo>
                    <a:pt x="1137" y="59"/>
                  </a:lnTo>
                  <a:lnTo>
                    <a:pt x="1135" y="57"/>
                  </a:lnTo>
                  <a:lnTo>
                    <a:pt x="1135" y="57"/>
                  </a:lnTo>
                  <a:lnTo>
                    <a:pt x="1135" y="57"/>
                  </a:lnTo>
                  <a:lnTo>
                    <a:pt x="1135" y="57"/>
                  </a:lnTo>
                  <a:lnTo>
                    <a:pt x="1135" y="57"/>
                  </a:lnTo>
                  <a:lnTo>
                    <a:pt x="1135" y="57"/>
                  </a:lnTo>
                  <a:lnTo>
                    <a:pt x="1135" y="57"/>
                  </a:lnTo>
                  <a:lnTo>
                    <a:pt x="1131" y="57"/>
                  </a:lnTo>
                  <a:lnTo>
                    <a:pt x="1126" y="57"/>
                  </a:lnTo>
                  <a:lnTo>
                    <a:pt x="1124" y="57"/>
                  </a:lnTo>
                  <a:lnTo>
                    <a:pt x="1122" y="55"/>
                  </a:lnTo>
                  <a:lnTo>
                    <a:pt x="1124" y="55"/>
                  </a:lnTo>
                  <a:lnTo>
                    <a:pt x="1124" y="55"/>
                  </a:lnTo>
                  <a:lnTo>
                    <a:pt x="1124" y="55"/>
                  </a:lnTo>
                  <a:lnTo>
                    <a:pt x="1124" y="55"/>
                  </a:lnTo>
                  <a:lnTo>
                    <a:pt x="1122" y="55"/>
                  </a:lnTo>
                  <a:lnTo>
                    <a:pt x="1122" y="55"/>
                  </a:lnTo>
                  <a:lnTo>
                    <a:pt x="1122" y="55"/>
                  </a:lnTo>
                  <a:lnTo>
                    <a:pt x="1122" y="53"/>
                  </a:lnTo>
                  <a:lnTo>
                    <a:pt x="1122" y="53"/>
                  </a:lnTo>
                  <a:lnTo>
                    <a:pt x="1122" y="53"/>
                  </a:lnTo>
                  <a:lnTo>
                    <a:pt x="1122" y="53"/>
                  </a:lnTo>
                  <a:lnTo>
                    <a:pt x="1122" y="53"/>
                  </a:lnTo>
                  <a:lnTo>
                    <a:pt x="1122" y="53"/>
                  </a:lnTo>
                  <a:lnTo>
                    <a:pt x="1122" y="53"/>
                  </a:lnTo>
                  <a:lnTo>
                    <a:pt x="1120" y="53"/>
                  </a:lnTo>
                  <a:lnTo>
                    <a:pt x="1120" y="53"/>
                  </a:lnTo>
                  <a:lnTo>
                    <a:pt x="1120" y="53"/>
                  </a:lnTo>
                  <a:lnTo>
                    <a:pt x="1120" y="53"/>
                  </a:lnTo>
                  <a:lnTo>
                    <a:pt x="1120" y="53"/>
                  </a:lnTo>
                  <a:lnTo>
                    <a:pt x="1118" y="53"/>
                  </a:lnTo>
                  <a:lnTo>
                    <a:pt x="1118" y="53"/>
                  </a:lnTo>
                  <a:lnTo>
                    <a:pt x="1118" y="53"/>
                  </a:lnTo>
                  <a:lnTo>
                    <a:pt x="1118" y="53"/>
                  </a:lnTo>
                  <a:lnTo>
                    <a:pt x="1118" y="51"/>
                  </a:lnTo>
                  <a:lnTo>
                    <a:pt x="1116" y="51"/>
                  </a:lnTo>
                  <a:lnTo>
                    <a:pt x="1116" y="51"/>
                  </a:lnTo>
                  <a:lnTo>
                    <a:pt x="1114" y="51"/>
                  </a:lnTo>
                  <a:lnTo>
                    <a:pt x="1114" y="53"/>
                  </a:lnTo>
                  <a:lnTo>
                    <a:pt x="1112" y="53"/>
                  </a:lnTo>
                  <a:lnTo>
                    <a:pt x="1110" y="53"/>
                  </a:lnTo>
                  <a:lnTo>
                    <a:pt x="1110" y="51"/>
                  </a:lnTo>
                  <a:lnTo>
                    <a:pt x="1110" y="51"/>
                  </a:lnTo>
                  <a:lnTo>
                    <a:pt x="1110" y="51"/>
                  </a:lnTo>
                  <a:lnTo>
                    <a:pt x="1110" y="49"/>
                  </a:lnTo>
                  <a:lnTo>
                    <a:pt x="1108" y="49"/>
                  </a:lnTo>
                  <a:lnTo>
                    <a:pt x="1108" y="49"/>
                  </a:lnTo>
                  <a:lnTo>
                    <a:pt x="1108" y="49"/>
                  </a:lnTo>
                  <a:lnTo>
                    <a:pt x="1106" y="47"/>
                  </a:lnTo>
                  <a:lnTo>
                    <a:pt x="1106" y="47"/>
                  </a:lnTo>
                  <a:lnTo>
                    <a:pt x="1106" y="49"/>
                  </a:lnTo>
                  <a:lnTo>
                    <a:pt x="1104" y="49"/>
                  </a:lnTo>
                  <a:lnTo>
                    <a:pt x="1104" y="47"/>
                  </a:lnTo>
                  <a:lnTo>
                    <a:pt x="1102" y="47"/>
                  </a:lnTo>
                  <a:lnTo>
                    <a:pt x="1102" y="47"/>
                  </a:lnTo>
                  <a:lnTo>
                    <a:pt x="1102" y="47"/>
                  </a:lnTo>
                  <a:lnTo>
                    <a:pt x="1102" y="47"/>
                  </a:lnTo>
                  <a:lnTo>
                    <a:pt x="1102" y="47"/>
                  </a:lnTo>
                  <a:lnTo>
                    <a:pt x="1102" y="47"/>
                  </a:lnTo>
                  <a:lnTo>
                    <a:pt x="1102" y="47"/>
                  </a:lnTo>
                  <a:lnTo>
                    <a:pt x="1100" y="47"/>
                  </a:lnTo>
                  <a:lnTo>
                    <a:pt x="1096" y="45"/>
                  </a:lnTo>
                  <a:lnTo>
                    <a:pt x="1094" y="45"/>
                  </a:lnTo>
                  <a:lnTo>
                    <a:pt x="1096" y="45"/>
                  </a:lnTo>
                  <a:lnTo>
                    <a:pt x="1094" y="45"/>
                  </a:lnTo>
                  <a:lnTo>
                    <a:pt x="1092" y="45"/>
                  </a:lnTo>
                  <a:lnTo>
                    <a:pt x="1092" y="45"/>
                  </a:lnTo>
                  <a:lnTo>
                    <a:pt x="1092" y="45"/>
                  </a:lnTo>
                  <a:lnTo>
                    <a:pt x="1094" y="45"/>
                  </a:lnTo>
                  <a:lnTo>
                    <a:pt x="1094" y="45"/>
                  </a:lnTo>
                  <a:lnTo>
                    <a:pt x="1092" y="43"/>
                  </a:lnTo>
                  <a:lnTo>
                    <a:pt x="1092" y="43"/>
                  </a:lnTo>
                  <a:lnTo>
                    <a:pt x="1092" y="45"/>
                  </a:lnTo>
                  <a:lnTo>
                    <a:pt x="1088" y="45"/>
                  </a:lnTo>
                  <a:lnTo>
                    <a:pt x="1088" y="45"/>
                  </a:lnTo>
                  <a:lnTo>
                    <a:pt x="1088" y="45"/>
                  </a:lnTo>
                  <a:lnTo>
                    <a:pt x="1086" y="45"/>
                  </a:lnTo>
                  <a:lnTo>
                    <a:pt x="1086" y="45"/>
                  </a:lnTo>
                  <a:lnTo>
                    <a:pt x="1081" y="49"/>
                  </a:lnTo>
                  <a:lnTo>
                    <a:pt x="1079" y="49"/>
                  </a:lnTo>
                  <a:lnTo>
                    <a:pt x="1077" y="51"/>
                  </a:lnTo>
                  <a:lnTo>
                    <a:pt x="1075" y="51"/>
                  </a:lnTo>
                  <a:lnTo>
                    <a:pt x="1075" y="49"/>
                  </a:lnTo>
                  <a:lnTo>
                    <a:pt x="1077" y="47"/>
                  </a:lnTo>
                  <a:lnTo>
                    <a:pt x="1077" y="47"/>
                  </a:lnTo>
                  <a:lnTo>
                    <a:pt x="1077" y="47"/>
                  </a:lnTo>
                  <a:lnTo>
                    <a:pt x="1075" y="47"/>
                  </a:lnTo>
                  <a:lnTo>
                    <a:pt x="1075" y="47"/>
                  </a:lnTo>
                  <a:lnTo>
                    <a:pt x="1075" y="47"/>
                  </a:lnTo>
                  <a:lnTo>
                    <a:pt x="1075" y="47"/>
                  </a:lnTo>
                  <a:lnTo>
                    <a:pt x="1075" y="47"/>
                  </a:lnTo>
                  <a:lnTo>
                    <a:pt x="1073" y="45"/>
                  </a:lnTo>
                  <a:lnTo>
                    <a:pt x="1073" y="45"/>
                  </a:lnTo>
                  <a:lnTo>
                    <a:pt x="1073" y="45"/>
                  </a:lnTo>
                  <a:lnTo>
                    <a:pt x="1073" y="45"/>
                  </a:lnTo>
                  <a:lnTo>
                    <a:pt x="1073" y="47"/>
                  </a:lnTo>
                  <a:lnTo>
                    <a:pt x="1073" y="45"/>
                  </a:lnTo>
                  <a:lnTo>
                    <a:pt x="1073" y="45"/>
                  </a:lnTo>
                  <a:lnTo>
                    <a:pt x="1073" y="45"/>
                  </a:lnTo>
                  <a:lnTo>
                    <a:pt x="1069" y="47"/>
                  </a:lnTo>
                  <a:lnTo>
                    <a:pt x="1069" y="47"/>
                  </a:lnTo>
                  <a:lnTo>
                    <a:pt x="1069" y="47"/>
                  </a:lnTo>
                  <a:lnTo>
                    <a:pt x="1071" y="47"/>
                  </a:lnTo>
                  <a:lnTo>
                    <a:pt x="1069" y="47"/>
                  </a:lnTo>
                  <a:lnTo>
                    <a:pt x="1069" y="47"/>
                  </a:lnTo>
                  <a:lnTo>
                    <a:pt x="1069" y="47"/>
                  </a:lnTo>
                  <a:lnTo>
                    <a:pt x="1069" y="47"/>
                  </a:lnTo>
                  <a:lnTo>
                    <a:pt x="1069" y="47"/>
                  </a:lnTo>
                  <a:lnTo>
                    <a:pt x="1069" y="47"/>
                  </a:lnTo>
                  <a:lnTo>
                    <a:pt x="1067" y="47"/>
                  </a:lnTo>
                  <a:lnTo>
                    <a:pt x="1067" y="49"/>
                  </a:lnTo>
                  <a:lnTo>
                    <a:pt x="1067" y="49"/>
                  </a:lnTo>
                  <a:lnTo>
                    <a:pt x="1067" y="49"/>
                  </a:lnTo>
                  <a:lnTo>
                    <a:pt x="1063" y="49"/>
                  </a:lnTo>
                  <a:lnTo>
                    <a:pt x="1063" y="49"/>
                  </a:lnTo>
                  <a:lnTo>
                    <a:pt x="1063" y="51"/>
                  </a:lnTo>
                  <a:lnTo>
                    <a:pt x="1063" y="51"/>
                  </a:lnTo>
                  <a:lnTo>
                    <a:pt x="1063" y="53"/>
                  </a:lnTo>
                  <a:lnTo>
                    <a:pt x="1063" y="53"/>
                  </a:lnTo>
                  <a:lnTo>
                    <a:pt x="1061" y="53"/>
                  </a:lnTo>
                  <a:lnTo>
                    <a:pt x="1061" y="53"/>
                  </a:lnTo>
                  <a:lnTo>
                    <a:pt x="1061" y="51"/>
                  </a:lnTo>
                  <a:lnTo>
                    <a:pt x="1061" y="51"/>
                  </a:lnTo>
                  <a:lnTo>
                    <a:pt x="1059" y="51"/>
                  </a:lnTo>
                  <a:lnTo>
                    <a:pt x="1059" y="51"/>
                  </a:lnTo>
                  <a:lnTo>
                    <a:pt x="1059" y="51"/>
                  </a:lnTo>
                  <a:lnTo>
                    <a:pt x="1057" y="49"/>
                  </a:lnTo>
                  <a:lnTo>
                    <a:pt x="1053" y="51"/>
                  </a:lnTo>
                  <a:lnTo>
                    <a:pt x="1049" y="49"/>
                  </a:lnTo>
                  <a:lnTo>
                    <a:pt x="1049" y="49"/>
                  </a:lnTo>
                  <a:lnTo>
                    <a:pt x="1051" y="47"/>
                  </a:lnTo>
                  <a:lnTo>
                    <a:pt x="1051" y="47"/>
                  </a:lnTo>
                  <a:lnTo>
                    <a:pt x="1051" y="47"/>
                  </a:lnTo>
                  <a:lnTo>
                    <a:pt x="1051" y="47"/>
                  </a:lnTo>
                  <a:lnTo>
                    <a:pt x="1051" y="45"/>
                  </a:lnTo>
                  <a:lnTo>
                    <a:pt x="1051" y="47"/>
                  </a:lnTo>
                  <a:lnTo>
                    <a:pt x="1051" y="45"/>
                  </a:lnTo>
                  <a:lnTo>
                    <a:pt x="1053" y="45"/>
                  </a:lnTo>
                  <a:lnTo>
                    <a:pt x="1053" y="45"/>
                  </a:lnTo>
                  <a:lnTo>
                    <a:pt x="1053" y="45"/>
                  </a:lnTo>
                  <a:lnTo>
                    <a:pt x="1053" y="43"/>
                  </a:lnTo>
                  <a:lnTo>
                    <a:pt x="1051" y="45"/>
                  </a:lnTo>
                  <a:lnTo>
                    <a:pt x="1049" y="43"/>
                  </a:lnTo>
                  <a:lnTo>
                    <a:pt x="1040" y="45"/>
                  </a:lnTo>
                  <a:lnTo>
                    <a:pt x="1038" y="45"/>
                  </a:lnTo>
                  <a:lnTo>
                    <a:pt x="1038" y="45"/>
                  </a:lnTo>
                  <a:lnTo>
                    <a:pt x="1038" y="45"/>
                  </a:lnTo>
                  <a:lnTo>
                    <a:pt x="1038" y="45"/>
                  </a:lnTo>
                  <a:lnTo>
                    <a:pt x="1038" y="45"/>
                  </a:lnTo>
                  <a:lnTo>
                    <a:pt x="1036" y="45"/>
                  </a:lnTo>
                  <a:lnTo>
                    <a:pt x="1036" y="45"/>
                  </a:lnTo>
                  <a:lnTo>
                    <a:pt x="1036" y="43"/>
                  </a:lnTo>
                  <a:lnTo>
                    <a:pt x="1038" y="43"/>
                  </a:lnTo>
                  <a:lnTo>
                    <a:pt x="1038" y="43"/>
                  </a:lnTo>
                  <a:lnTo>
                    <a:pt x="1038" y="43"/>
                  </a:lnTo>
                  <a:lnTo>
                    <a:pt x="1040" y="43"/>
                  </a:lnTo>
                  <a:lnTo>
                    <a:pt x="1040" y="43"/>
                  </a:lnTo>
                  <a:lnTo>
                    <a:pt x="1045" y="43"/>
                  </a:lnTo>
                  <a:lnTo>
                    <a:pt x="1047" y="43"/>
                  </a:lnTo>
                  <a:lnTo>
                    <a:pt x="1047" y="43"/>
                  </a:lnTo>
                  <a:lnTo>
                    <a:pt x="1047" y="43"/>
                  </a:lnTo>
                  <a:lnTo>
                    <a:pt x="1045" y="43"/>
                  </a:lnTo>
                  <a:lnTo>
                    <a:pt x="1043" y="43"/>
                  </a:lnTo>
                  <a:lnTo>
                    <a:pt x="1040" y="41"/>
                  </a:lnTo>
                  <a:lnTo>
                    <a:pt x="1038" y="41"/>
                  </a:lnTo>
                  <a:lnTo>
                    <a:pt x="1038" y="39"/>
                  </a:lnTo>
                  <a:lnTo>
                    <a:pt x="1038" y="37"/>
                  </a:lnTo>
                  <a:lnTo>
                    <a:pt x="1038" y="37"/>
                  </a:lnTo>
                  <a:lnTo>
                    <a:pt x="1038" y="37"/>
                  </a:lnTo>
                  <a:lnTo>
                    <a:pt x="1040" y="37"/>
                  </a:lnTo>
                  <a:lnTo>
                    <a:pt x="1040" y="37"/>
                  </a:lnTo>
                  <a:lnTo>
                    <a:pt x="1040" y="37"/>
                  </a:lnTo>
                  <a:lnTo>
                    <a:pt x="1040" y="35"/>
                  </a:lnTo>
                  <a:lnTo>
                    <a:pt x="1040" y="35"/>
                  </a:lnTo>
                  <a:lnTo>
                    <a:pt x="1040" y="35"/>
                  </a:lnTo>
                  <a:lnTo>
                    <a:pt x="1040" y="35"/>
                  </a:lnTo>
                  <a:lnTo>
                    <a:pt x="1043" y="33"/>
                  </a:lnTo>
                  <a:lnTo>
                    <a:pt x="1045" y="31"/>
                  </a:lnTo>
                  <a:lnTo>
                    <a:pt x="1045" y="31"/>
                  </a:lnTo>
                  <a:lnTo>
                    <a:pt x="1043" y="29"/>
                  </a:lnTo>
                  <a:lnTo>
                    <a:pt x="1038" y="29"/>
                  </a:lnTo>
                  <a:lnTo>
                    <a:pt x="1034" y="29"/>
                  </a:lnTo>
                  <a:lnTo>
                    <a:pt x="1034" y="29"/>
                  </a:lnTo>
                  <a:lnTo>
                    <a:pt x="1034" y="29"/>
                  </a:lnTo>
                  <a:lnTo>
                    <a:pt x="1034" y="29"/>
                  </a:lnTo>
                  <a:lnTo>
                    <a:pt x="1036" y="29"/>
                  </a:lnTo>
                  <a:lnTo>
                    <a:pt x="1036" y="31"/>
                  </a:lnTo>
                  <a:lnTo>
                    <a:pt x="1034" y="31"/>
                  </a:lnTo>
                  <a:lnTo>
                    <a:pt x="1034" y="31"/>
                  </a:lnTo>
                  <a:lnTo>
                    <a:pt x="1034" y="31"/>
                  </a:lnTo>
                  <a:lnTo>
                    <a:pt x="1034" y="29"/>
                  </a:lnTo>
                  <a:lnTo>
                    <a:pt x="1034" y="29"/>
                  </a:lnTo>
                  <a:lnTo>
                    <a:pt x="1034" y="29"/>
                  </a:lnTo>
                  <a:lnTo>
                    <a:pt x="1032" y="29"/>
                  </a:lnTo>
                  <a:lnTo>
                    <a:pt x="1032" y="29"/>
                  </a:lnTo>
                  <a:lnTo>
                    <a:pt x="1032" y="29"/>
                  </a:lnTo>
                  <a:lnTo>
                    <a:pt x="1032" y="29"/>
                  </a:lnTo>
                  <a:lnTo>
                    <a:pt x="1032" y="29"/>
                  </a:lnTo>
                  <a:lnTo>
                    <a:pt x="1032" y="29"/>
                  </a:lnTo>
                  <a:lnTo>
                    <a:pt x="1032" y="29"/>
                  </a:lnTo>
                  <a:lnTo>
                    <a:pt x="1032" y="29"/>
                  </a:lnTo>
                  <a:lnTo>
                    <a:pt x="1032" y="29"/>
                  </a:lnTo>
                  <a:lnTo>
                    <a:pt x="1032" y="29"/>
                  </a:lnTo>
                  <a:lnTo>
                    <a:pt x="1030" y="29"/>
                  </a:lnTo>
                  <a:lnTo>
                    <a:pt x="1030" y="27"/>
                  </a:lnTo>
                  <a:lnTo>
                    <a:pt x="1030" y="27"/>
                  </a:lnTo>
                  <a:lnTo>
                    <a:pt x="1030" y="27"/>
                  </a:lnTo>
                  <a:lnTo>
                    <a:pt x="1028" y="27"/>
                  </a:lnTo>
                  <a:lnTo>
                    <a:pt x="1028" y="27"/>
                  </a:lnTo>
                  <a:lnTo>
                    <a:pt x="1028" y="27"/>
                  </a:lnTo>
                  <a:lnTo>
                    <a:pt x="1028" y="27"/>
                  </a:lnTo>
                  <a:lnTo>
                    <a:pt x="1028" y="27"/>
                  </a:lnTo>
                  <a:lnTo>
                    <a:pt x="1028" y="27"/>
                  </a:lnTo>
                  <a:lnTo>
                    <a:pt x="1028" y="27"/>
                  </a:lnTo>
                  <a:lnTo>
                    <a:pt x="1028" y="27"/>
                  </a:lnTo>
                  <a:lnTo>
                    <a:pt x="1028" y="27"/>
                  </a:lnTo>
                  <a:lnTo>
                    <a:pt x="1026" y="27"/>
                  </a:lnTo>
                  <a:lnTo>
                    <a:pt x="1026" y="27"/>
                  </a:lnTo>
                  <a:lnTo>
                    <a:pt x="1024" y="27"/>
                  </a:lnTo>
                  <a:lnTo>
                    <a:pt x="1024" y="27"/>
                  </a:lnTo>
                  <a:lnTo>
                    <a:pt x="1024" y="27"/>
                  </a:lnTo>
                  <a:lnTo>
                    <a:pt x="1022" y="27"/>
                  </a:lnTo>
                  <a:lnTo>
                    <a:pt x="1020" y="29"/>
                  </a:lnTo>
                  <a:lnTo>
                    <a:pt x="1014" y="27"/>
                  </a:lnTo>
                  <a:lnTo>
                    <a:pt x="1014" y="29"/>
                  </a:lnTo>
                  <a:lnTo>
                    <a:pt x="1014" y="29"/>
                  </a:lnTo>
                  <a:lnTo>
                    <a:pt x="1012" y="31"/>
                  </a:lnTo>
                  <a:lnTo>
                    <a:pt x="1012" y="31"/>
                  </a:lnTo>
                  <a:lnTo>
                    <a:pt x="1010" y="33"/>
                  </a:lnTo>
                  <a:lnTo>
                    <a:pt x="1010" y="33"/>
                  </a:lnTo>
                  <a:lnTo>
                    <a:pt x="1008" y="33"/>
                  </a:lnTo>
                  <a:lnTo>
                    <a:pt x="1008" y="33"/>
                  </a:lnTo>
                  <a:lnTo>
                    <a:pt x="1008" y="33"/>
                  </a:lnTo>
                  <a:lnTo>
                    <a:pt x="1008" y="33"/>
                  </a:lnTo>
                  <a:lnTo>
                    <a:pt x="1008" y="33"/>
                  </a:lnTo>
                  <a:lnTo>
                    <a:pt x="1008" y="31"/>
                  </a:lnTo>
                  <a:lnTo>
                    <a:pt x="1008" y="31"/>
                  </a:lnTo>
                  <a:lnTo>
                    <a:pt x="1006" y="31"/>
                  </a:lnTo>
                  <a:lnTo>
                    <a:pt x="1006" y="31"/>
                  </a:lnTo>
                  <a:lnTo>
                    <a:pt x="1004" y="31"/>
                  </a:lnTo>
                  <a:lnTo>
                    <a:pt x="1002" y="31"/>
                  </a:lnTo>
                  <a:lnTo>
                    <a:pt x="1002" y="31"/>
                  </a:lnTo>
                  <a:lnTo>
                    <a:pt x="1002" y="31"/>
                  </a:lnTo>
                  <a:lnTo>
                    <a:pt x="1002" y="31"/>
                  </a:lnTo>
                  <a:lnTo>
                    <a:pt x="1002" y="31"/>
                  </a:lnTo>
                  <a:lnTo>
                    <a:pt x="1002" y="29"/>
                  </a:lnTo>
                  <a:lnTo>
                    <a:pt x="1002" y="29"/>
                  </a:lnTo>
                  <a:lnTo>
                    <a:pt x="999" y="29"/>
                  </a:lnTo>
                  <a:lnTo>
                    <a:pt x="997" y="29"/>
                  </a:lnTo>
                  <a:lnTo>
                    <a:pt x="999" y="27"/>
                  </a:lnTo>
                  <a:lnTo>
                    <a:pt x="999" y="27"/>
                  </a:lnTo>
                  <a:lnTo>
                    <a:pt x="1002" y="27"/>
                  </a:lnTo>
                  <a:lnTo>
                    <a:pt x="1002" y="27"/>
                  </a:lnTo>
                  <a:lnTo>
                    <a:pt x="1002" y="27"/>
                  </a:lnTo>
                  <a:lnTo>
                    <a:pt x="1002" y="25"/>
                  </a:lnTo>
                  <a:lnTo>
                    <a:pt x="1002" y="25"/>
                  </a:lnTo>
                  <a:lnTo>
                    <a:pt x="1002" y="25"/>
                  </a:lnTo>
                  <a:lnTo>
                    <a:pt x="1002" y="25"/>
                  </a:lnTo>
                  <a:lnTo>
                    <a:pt x="1002" y="25"/>
                  </a:lnTo>
                  <a:lnTo>
                    <a:pt x="1002" y="23"/>
                  </a:lnTo>
                  <a:lnTo>
                    <a:pt x="1002" y="23"/>
                  </a:lnTo>
                  <a:lnTo>
                    <a:pt x="1002" y="23"/>
                  </a:lnTo>
                  <a:lnTo>
                    <a:pt x="1002" y="23"/>
                  </a:lnTo>
                  <a:lnTo>
                    <a:pt x="1002" y="21"/>
                  </a:lnTo>
                  <a:lnTo>
                    <a:pt x="1002" y="21"/>
                  </a:lnTo>
                  <a:lnTo>
                    <a:pt x="999" y="21"/>
                  </a:lnTo>
                  <a:lnTo>
                    <a:pt x="999" y="18"/>
                  </a:lnTo>
                  <a:lnTo>
                    <a:pt x="997" y="16"/>
                  </a:lnTo>
                  <a:lnTo>
                    <a:pt x="997" y="16"/>
                  </a:lnTo>
                  <a:lnTo>
                    <a:pt x="997" y="16"/>
                  </a:lnTo>
                  <a:lnTo>
                    <a:pt x="997" y="18"/>
                  </a:lnTo>
                  <a:lnTo>
                    <a:pt x="997" y="16"/>
                  </a:lnTo>
                  <a:lnTo>
                    <a:pt x="997" y="16"/>
                  </a:lnTo>
                  <a:lnTo>
                    <a:pt x="997" y="16"/>
                  </a:lnTo>
                  <a:lnTo>
                    <a:pt x="995" y="16"/>
                  </a:lnTo>
                  <a:lnTo>
                    <a:pt x="995" y="16"/>
                  </a:lnTo>
                  <a:lnTo>
                    <a:pt x="995" y="16"/>
                  </a:lnTo>
                  <a:lnTo>
                    <a:pt x="995" y="16"/>
                  </a:lnTo>
                  <a:lnTo>
                    <a:pt x="995" y="16"/>
                  </a:lnTo>
                  <a:lnTo>
                    <a:pt x="995" y="18"/>
                  </a:lnTo>
                  <a:lnTo>
                    <a:pt x="995" y="18"/>
                  </a:lnTo>
                  <a:lnTo>
                    <a:pt x="995" y="18"/>
                  </a:lnTo>
                  <a:lnTo>
                    <a:pt x="995" y="21"/>
                  </a:lnTo>
                  <a:lnTo>
                    <a:pt x="995" y="21"/>
                  </a:lnTo>
                  <a:lnTo>
                    <a:pt x="993" y="23"/>
                  </a:lnTo>
                  <a:lnTo>
                    <a:pt x="993" y="21"/>
                  </a:lnTo>
                  <a:lnTo>
                    <a:pt x="993" y="21"/>
                  </a:lnTo>
                  <a:lnTo>
                    <a:pt x="993" y="21"/>
                  </a:lnTo>
                  <a:lnTo>
                    <a:pt x="995" y="18"/>
                  </a:lnTo>
                  <a:lnTo>
                    <a:pt x="995" y="18"/>
                  </a:lnTo>
                  <a:lnTo>
                    <a:pt x="993" y="18"/>
                  </a:lnTo>
                  <a:lnTo>
                    <a:pt x="993" y="16"/>
                  </a:lnTo>
                  <a:lnTo>
                    <a:pt x="993" y="16"/>
                  </a:lnTo>
                  <a:lnTo>
                    <a:pt x="993" y="16"/>
                  </a:lnTo>
                  <a:lnTo>
                    <a:pt x="995" y="16"/>
                  </a:lnTo>
                  <a:lnTo>
                    <a:pt x="993" y="14"/>
                  </a:lnTo>
                  <a:lnTo>
                    <a:pt x="993" y="14"/>
                  </a:lnTo>
                  <a:lnTo>
                    <a:pt x="993" y="14"/>
                  </a:lnTo>
                  <a:lnTo>
                    <a:pt x="993" y="14"/>
                  </a:lnTo>
                  <a:lnTo>
                    <a:pt x="993" y="14"/>
                  </a:lnTo>
                  <a:lnTo>
                    <a:pt x="993" y="16"/>
                  </a:lnTo>
                  <a:lnTo>
                    <a:pt x="993" y="16"/>
                  </a:lnTo>
                  <a:lnTo>
                    <a:pt x="993" y="16"/>
                  </a:lnTo>
                  <a:lnTo>
                    <a:pt x="993" y="18"/>
                  </a:lnTo>
                  <a:lnTo>
                    <a:pt x="993" y="18"/>
                  </a:lnTo>
                  <a:lnTo>
                    <a:pt x="991" y="16"/>
                  </a:lnTo>
                  <a:lnTo>
                    <a:pt x="991" y="16"/>
                  </a:lnTo>
                  <a:lnTo>
                    <a:pt x="991" y="16"/>
                  </a:lnTo>
                  <a:lnTo>
                    <a:pt x="991" y="16"/>
                  </a:lnTo>
                  <a:lnTo>
                    <a:pt x="989" y="18"/>
                  </a:lnTo>
                  <a:lnTo>
                    <a:pt x="991" y="18"/>
                  </a:lnTo>
                  <a:lnTo>
                    <a:pt x="991" y="18"/>
                  </a:lnTo>
                  <a:lnTo>
                    <a:pt x="991" y="21"/>
                  </a:lnTo>
                  <a:lnTo>
                    <a:pt x="991" y="21"/>
                  </a:lnTo>
                  <a:lnTo>
                    <a:pt x="991" y="23"/>
                  </a:lnTo>
                  <a:lnTo>
                    <a:pt x="991" y="23"/>
                  </a:lnTo>
                  <a:lnTo>
                    <a:pt x="991" y="23"/>
                  </a:lnTo>
                  <a:lnTo>
                    <a:pt x="991" y="23"/>
                  </a:lnTo>
                  <a:lnTo>
                    <a:pt x="991" y="21"/>
                  </a:lnTo>
                  <a:lnTo>
                    <a:pt x="989" y="21"/>
                  </a:lnTo>
                  <a:lnTo>
                    <a:pt x="989" y="21"/>
                  </a:lnTo>
                  <a:lnTo>
                    <a:pt x="989" y="21"/>
                  </a:lnTo>
                  <a:lnTo>
                    <a:pt x="989" y="23"/>
                  </a:lnTo>
                  <a:lnTo>
                    <a:pt x="989" y="23"/>
                  </a:lnTo>
                  <a:lnTo>
                    <a:pt x="987" y="23"/>
                  </a:lnTo>
                  <a:lnTo>
                    <a:pt x="987" y="25"/>
                  </a:lnTo>
                  <a:lnTo>
                    <a:pt x="985" y="25"/>
                  </a:lnTo>
                  <a:lnTo>
                    <a:pt x="985" y="25"/>
                  </a:lnTo>
                  <a:lnTo>
                    <a:pt x="985" y="27"/>
                  </a:lnTo>
                  <a:lnTo>
                    <a:pt x="985" y="27"/>
                  </a:lnTo>
                  <a:lnTo>
                    <a:pt x="985" y="29"/>
                  </a:lnTo>
                  <a:lnTo>
                    <a:pt x="985" y="29"/>
                  </a:lnTo>
                  <a:lnTo>
                    <a:pt x="985" y="29"/>
                  </a:lnTo>
                  <a:lnTo>
                    <a:pt x="985" y="31"/>
                  </a:lnTo>
                  <a:lnTo>
                    <a:pt x="985" y="31"/>
                  </a:lnTo>
                  <a:lnTo>
                    <a:pt x="983" y="29"/>
                  </a:lnTo>
                  <a:lnTo>
                    <a:pt x="983" y="29"/>
                  </a:lnTo>
                  <a:lnTo>
                    <a:pt x="983" y="29"/>
                  </a:lnTo>
                  <a:lnTo>
                    <a:pt x="983" y="29"/>
                  </a:lnTo>
                  <a:lnTo>
                    <a:pt x="983" y="31"/>
                  </a:lnTo>
                  <a:lnTo>
                    <a:pt x="983" y="31"/>
                  </a:lnTo>
                  <a:lnTo>
                    <a:pt x="983" y="31"/>
                  </a:lnTo>
                  <a:lnTo>
                    <a:pt x="983" y="31"/>
                  </a:lnTo>
                  <a:lnTo>
                    <a:pt x="983" y="31"/>
                  </a:lnTo>
                  <a:lnTo>
                    <a:pt x="983" y="31"/>
                  </a:lnTo>
                  <a:lnTo>
                    <a:pt x="983" y="31"/>
                  </a:lnTo>
                  <a:lnTo>
                    <a:pt x="981" y="31"/>
                  </a:lnTo>
                  <a:lnTo>
                    <a:pt x="981" y="31"/>
                  </a:lnTo>
                  <a:lnTo>
                    <a:pt x="981" y="31"/>
                  </a:lnTo>
                  <a:lnTo>
                    <a:pt x="979" y="31"/>
                  </a:lnTo>
                  <a:lnTo>
                    <a:pt x="979" y="31"/>
                  </a:lnTo>
                  <a:lnTo>
                    <a:pt x="979" y="31"/>
                  </a:lnTo>
                  <a:lnTo>
                    <a:pt x="979" y="33"/>
                  </a:lnTo>
                  <a:lnTo>
                    <a:pt x="979" y="33"/>
                  </a:lnTo>
                  <a:lnTo>
                    <a:pt x="979" y="33"/>
                  </a:lnTo>
                  <a:lnTo>
                    <a:pt x="979" y="33"/>
                  </a:lnTo>
                  <a:lnTo>
                    <a:pt x="979" y="33"/>
                  </a:lnTo>
                  <a:lnTo>
                    <a:pt x="977" y="35"/>
                  </a:lnTo>
                  <a:lnTo>
                    <a:pt x="977" y="33"/>
                  </a:lnTo>
                  <a:lnTo>
                    <a:pt x="977" y="33"/>
                  </a:lnTo>
                  <a:lnTo>
                    <a:pt x="977" y="33"/>
                  </a:lnTo>
                  <a:lnTo>
                    <a:pt x="977" y="33"/>
                  </a:lnTo>
                  <a:lnTo>
                    <a:pt x="977" y="31"/>
                  </a:lnTo>
                  <a:lnTo>
                    <a:pt x="977" y="31"/>
                  </a:lnTo>
                  <a:lnTo>
                    <a:pt x="977" y="31"/>
                  </a:lnTo>
                  <a:lnTo>
                    <a:pt x="979" y="31"/>
                  </a:lnTo>
                  <a:lnTo>
                    <a:pt x="979" y="29"/>
                  </a:lnTo>
                  <a:lnTo>
                    <a:pt x="979" y="29"/>
                  </a:lnTo>
                  <a:lnTo>
                    <a:pt x="979" y="29"/>
                  </a:lnTo>
                  <a:lnTo>
                    <a:pt x="977" y="29"/>
                  </a:lnTo>
                  <a:lnTo>
                    <a:pt x="977" y="27"/>
                  </a:lnTo>
                  <a:lnTo>
                    <a:pt x="977" y="27"/>
                  </a:lnTo>
                  <a:lnTo>
                    <a:pt x="977" y="27"/>
                  </a:lnTo>
                  <a:lnTo>
                    <a:pt x="977" y="27"/>
                  </a:lnTo>
                  <a:lnTo>
                    <a:pt x="975" y="27"/>
                  </a:lnTo>
                  <a:lnTo>
                    <a:pt x="977" y="27"/>
                  </a:lnTo>
                  <a:lnTo>
                    <a:pt x="977" y="27"/>
                  </a:lnTo>
                  <a:lnTo>
                    <a:pt x="977" y="25"/>
                  </a:lnTo>
                  <a:lnTo>
                    <a:pt x="975" y="27"/>
                  </a:lnTo>
                  <a:lnTo>
                    <a:pt x="975" y="27"/>
                  </a:lnTo>
                  <a:lnTo>
                    <a:pt x="975" y="25"/>
                  </a:lnTo>
                  <a:lnTo>
                    <a:pt x="977" y="25"/>
                  </a:lnTo>
                  <a:lnTo>
                    <a:pt x="977" y="25"/>
                  </a:lnTo>
                  <a:lnTo>
                    <a:pt x="977" y="25"/>
                  </a:lnTo>
                  <a:lnTo>
                    <a:pt x="977" y="25"/>
                  </a:lnTo>
                  <a:lnTo>
                    <a:pt x="977" y="25"/>
                  </a:lnTo>
                  <a:lnTo>
                    <a:pt x="975" y="23"/>
                  </a:lnTo>
                  <a:lnTo>
                    <a:pt x="977" y="23"/>
                  </a:lnTo>
                  <a:lnTo>
                    <a:pt x="977" y="23"/>
                  </a:lnTo>
                  <a:lnTo>
                    <a:pt x="981" y="23"/>
                  </a:lnTo>
                  <a:lnTo>
                    <a:pt x="981" y="23"/>
                  </a:lnTo>
                  <a:lnTo>
                    <a:pt x="981" y="23"/>
                  </a:lnTo>
                  <a:lnTo>
                    <a:pt x="981" y="23"/>
                  </a:lnTo>
                  <a:lnTo>
                    <a:pt x="981" y="23"/>
                  </a:lnTo>
                  <a:lnTo>
                    <a:pt x="983" y="23"/>
                  </a:lnTo>
                  <a:lnTo>
                    <a:pt x="983" y="21"/>
                  </a:lnTo>
                  <a:lnTo>
                    <a:pt x="983" y="21"/>
                  </a:lnTo>
                  <a:lnTo>
                    <a:pt x="983" y="21"/>
                  </a:lnTo>
                  <a:lnTo>
                    <a:pt x="983" y="21"/>
                  </a:lnTo>
                  <a:lnTo>
                    <a:pt x="983" y="21"/>
                  </a:lnTo>
                  <a:lnTo>
                    <a:pt x="983" y="21"/>
                  </a:lnTo>
                  <a:lnTo>
                    <a:pt x="983" y="18"/>
                  </a:lnTo>
                  <a:lnTo>
                    <a:pt x="983" y="18"/>
                  </a:lnTo>
                  <a:lnTo>
                    <a:pt x="985" y="18"/>
                  </a:lnTo>
                  <a:lnTo>
                    <a:pt x="985" y="18"/>
                  </a:lnTo>
                  <a:lnTo>
                    <a:pt x="985" y="16"/>
                  </a:lnTo>
                  <a:lnTo>
                    <a:pt x="985" y="16"/>
                  </a:lnTo>
                  <a:lnTo>
                    <a:pt x="985" y="14"/>
                  </a:lnTo>
                  <a:lnTo>
                    <a:pt x="985" y="14"/>
                  </a:lnTo>
                  <a:lnTo>
                    <a:pt x="985" y="12"/>
                  </a:lnTo>
                  <a:lnTo>
                    <a:pt x="981" y="12"/>
                  </a:lnTo>
                  <a:lnTo>
                    <a:pt x="981" y="10"/>
                  </a:lnTo>
                  <a:lnTo>
                    <a:pt x="979" y="12"/>
                  </a:lnTo>
                  <a:lnTo>
                    <a:pt x="979" y="12"/>
                  </a:lnTo>
                  <a:lnTo>
                    <a:pt x="979" y="12"/>
                  </a:lnTo>
                  <a:lnTo>
                    <a:pt x="979" y="10"/>
                  </a:lnTo>
                  <a:lnTo>
                    <a:pt x="979" y="10"/>
                  </a:lnTo>
                  <a:lnTo>
                    <a:pt x="979" y="10"/>
                  </a:lnTo>
                  <a:lnTo>
                    <a:pt x="979" y="10"/>
                  </a:lnTo>
                  <a:lnTo>
                    <a:pt x="979" y="12"/>
                  </a:lnTo>
                  <a:lnTo>
                    <a:pt x="977" y="12"/>
                  </a:lnTo>
                  <a:lnTo>
                    <a:pt x="977" y="12"/>
                  </a:lnTo>
                  <a:lnTo>
                    <a:pt x="977" y="12"/>
                  </a:lnTo>
                  <a:lnTo>
                    <a:pt x="977" y="12"/>
                  </a:lnTo>
                  <a:lnTo>
                    <a:pt x="977" y="12"/>
                  </a:lnTo>
                  <a:lnTo>
                    <a:pt x="977" y="10"/>
                  </a:lnTo>
                  <a:lnTo>
                    <a:pt x="977" y="10"/>
                  </a:lnTo>
                  <a:lnTo>
                    <a:pt x="977" y="10"/>
                  </a:lnTo>
                  <a:lnTo>
                    <a:pt x="977" y="10"/>
                  </a:lnTo>
                  <a:lnTo>
                    <a:pt x="977" y="10"/>
                  </a:lnTo>
                  <a:lnTo>
                    <a:pt x="975" y="8"/>
                  </a:lnTo>
                  <a:lnTo>
                    <a:pt x="975" y="8"/>
                  </a:lnTo>
                  <a:lnTo>
                    <a:pt x="971" y="8"/>
                  </a:lnTo>
                  <a:lnTo>
                    <a:pt x="971" y="8"/>
                  </a:lnTo>
                  <a:lnTo>
                    <a:pt x="971" y="8"/>
                  </a:lnTo>
                  <a:lnTo>
                    <a:pt x="971" y="6"/>
                  </a:lnTo>
                  <a:lnTo>
                    <a:pt x="969" y="6"/>
                  </a:lnTo>
                  <a:lnTo>
                    <a:pt x="969" y="6"/>
                  </a:lnTo>
                  <a:lnTo>
                    <a:pt x="969" y="4"/>
                  </a:lnTo>
                  <a:lnTo>
                    <a:pt x="969" y="4"/>
                  </a:lnTo>
                  <a:lnTo>
                    <a:pt x="969" y="4"/>
                  </a:lnTo>
                  <a:lnTo>
                    <a:pt x="969" y="4"/>
                  </a:lnTo>
                  <a:lnTo>
                    <a:pt x="969" y="2"/>
                  </a:lnTo>
                  <a:lnTo>
                    <a:pt x="971" y="2"/>
                  </a:lnTo>
                  <a:lnTo>
                    <a:pt x="971" y="2"/>
                  </a:lnTo>
                  <a:lnTo>
                    <a:pt x="971" y="2"/>
                  </a:lnTo>
                  <a:lnTo>
                    <a:pt x="973" y="2"/>
                  </a:lnTo>
                  <a:lnTo>
                    <a:pt x="971" y="2"/>
                  </a:lnTo>
                  <a:lnTo>
                    <a:pt x="971" y="0"/>
                  </a:lnTo>
                  <a:lnTo>
                    <a:pt x="971" y="0"/>
                  </a:lnTo>
                  <a:lnTo>
                    <a:pt x="971" y="0"/>
                  </a:lnTo>
                  <a:lnTo>
                    <a:pt x="969" y="2"/>
                  </a:lnTo>
                  <a:lnTo>
                    <a:pt x="969" y="2"/>
                  </a:lnTo>
                  <a:lnTo>
                    <a:pt x="967" y="4"/>
                  </a:lnTo>
                  <a:lnTo>
                    <a:pt x="965" y="6"/>
                  </a:lnTo>
                  <a:lnTo>
                    <a:pt x="961" y="10"/>
                  </a:lnTo>
                  <a:lnTo>
                    <a:pt x="959" y="12"/>
                  </a:lnTo>
                  <a:lnTo>
                    <a:pt x="956" y="16"/>
                  </a:lnTo>
                  <a:lnTo>
                    <a:pt x="950" y="23"/>
                  </a:lnTo>
                  <a:lnTo>
                    <a:pt x="950" y="23"/>
                  </a:lnTo>
                  <a:lnTo>
                    <a:pt x="950" y="23"/>
                  </a:lnTo>
                  <a:lnTo>
                    <a:pt x="950" y="25"/>
                  </a:lnTo>
                  <a:lnTo>
                    <a:pt x="948" y="25"/>
                  </a:lnTo>
                  <a:lnTo>
                    <a:pt x="944" y="27"/>
                  </a:lnTo>
                  <a:lnTo>
                    <a:pt x="942" y="29"/>
                  </a:lnTo>
                  <a:lnTo>
                    <a:pt x="936" y="29"/>
                  </a:lnTo>
                  <a:lnTo>
                    <a:pt x="934" y="27"/>
                  </a:lnTo>
                  <a:lnTo>
                    <a:pt x="934" y="27"/>
                  </a:lnTo>
                  <a:lnTo>
                    <a:pt x="934" y="29"/>
                  </a:lnTo>
                  <a:lnTo>
                    <a:pt x="934" y="29"/>
                  </a:lnTo>
                  <a:lnTo>
                    <a:pt x="936" y="29"/>
                  </a:lnTo>
                  <a:lnTo>
                    <a:pt x="930" y="31"/>
                  </a:lnTo>
                  <a:lnTo>
                    <a:pt x="924" y="29"/>
                  </a:lnTo>
                  <a:lnTo>
                    <a:pt x="924" y="29"/>
                  </a:lnTo>
                  <a:lnTo>
                    <a:pt x="924" y="29"/>
                  </a:lnTo>
                  <a:lnTo>
                    <a:pt x="926" y="29"/>
                  </a:lnTo>
                  <a:lnTo>
                    <a:pt x="926" y="31"/>
                  </a:lnTo>
                  <a:lnTo>
                    <a:pt x="922" y="31"/>
                  </a:lnTo>
                  <a:lnTo>
                    <a:pt x="922" y="31"/>
                  </a:lnTo>
                  <a:lnTo>
                    <a:pt x="920" y="31"/>
                  </a:lnTo>
                  <a:lnTo>
                    <a:pt x="920" y="31"/>
                  </a:lnTo>
                  <a:lnTo>
                    <a:pt x="922" y="35"/>
                  </a:lnTo>
                  <a:lnTo>
                    <a:pt x="920" y="35"/>
                  </a:lnTo>
                  <a:lnTo>
                    <a:pt x="920" y="33"/>
                  </a:lnTo>
                  <a:lnTo>
                    <a:pt x="920" y="33"/>
                  </a:lnTo>
                  <a:lnTo>
                    <a:pt x="920" y="31"/>
                  </a:lnTo>
                  <a:lnTo>
                    <a:pt x="920" y="31"/>
                  </a:lnTo>
                  <a:lnTo>
                    <a:pt x="920" y="31"/>
                  </a:lnTo>
                  <a:lnTo>
                    <a:pt x="920" y="31"/>
                  </a:lnTo>
                  <a:lnTo>
                    <a:pt x="920" y="31"/>
                  </a:lnTo>
                  <a:lnTo>
                    <a:pt x="920" y="31"/>
                  </a:lnTo>
                  <a:lnTo>
                    <a:pt x="918" y="31"/>
                  </a:lnTo>
                  <a:lnTo>
                    <a:pt x="918" y="31"/>
                  </a:lnTo>
                  <a:lnTo>
                    <a:pt x="918" y="31"/>
                  </a:lnTo>
                  <a:lnTo>
                    <a:pt x="918" y="31"/>
                  </a:lnTo>
                  <a:lnTo>
                    <a:pt x="918" y="29"/>
                  </a:lnTo>
                  <a:lnTo>
                    <a:pt x="918" y="29"/>
                  </a:lnTo>
                  <a:lnTo>
                    <a:pt x="920" y="29"/>
                  </a:lnTo>
                  <a:lnTo>
                    <a:pt x="922" y="29"/>
                  </a:lnTo>
                  <a:lnTo>
                    <a:pt x="922" y="29"/>
                  </a:lnTo>
                  <a:lnTo>
                    <a:pt x="922" y="27"/>
                  </a:lnTo>
                  <a:lnTo>
                    <a:pt x="922" y="27"/>
                  </a:lnTo>
                  <a:lnTo>
                    <a:pt x="918" y="27"/>
                  </a:lnTo>
                  <a:lnTo>
                    <a:pt x="920" y="27"/>
                  </a:lnTo>
                  <a:lnTo>
                    <a:pt x="922" y="25"/>
                  </a:lnTo>
                  <a:lnTo>
                    <a:pt x="922" y="25"/>
                  </a:lnTo>
                  <a:lnTo>
                    <a:pt x="920" y="25"/>
                  </a:lnTo>
                  <a:lnTo>
                    <a:pt x="918" y="27"/>
                  </a:lnTo>
                  <a:lnTo>
                    <a:pt x="918" y="27"/>
                  </a:lnTo>
                  <a:lnTo>
                    <a:pt x="916" y="27"/>
                  </a:lnTo>
                  <a:lnTo>
                    <a:pt x="916" y="27"/>
                  </a:lnTo>
                  <a:lnTo>
                    <a:pt x="916" y="29"/>
                  </a:lnTo>
                  <a:lnTo>
                    <a:pt x="913" y="29"/>
                  </a:lnTo>
                  <a:lnTo>
                    <a:pt x="913" y="29"/>
                  </a:lnTo>
                  <a:lnTo>
                    <a:pt x="913" y="29"/>
                  </a:lnTo>
                  <a:lnTo>
                    <a:pt x="913" y="29"/>
                  </a:lnTo>
                  <a:lnTo>
                    <a:pt x="911" y="31"/>
                  </a:lnTo>
                  <a:lnTo>
                    <a:pt x="909" y="33"/>
                  </a:lnTo>
                  <a:lnTo>
                    <a:pt x="909" y="33"/>
                  </a:lnTo>
                  <a:lnTo>
                    <a:pt x="909" y="33"/>
                  </a:lnTo>
                  <a:lnTo>
                    <a:pt x="909" y="33"/>
                  </a:lnTo>
                  <a:lnTo>
                    <a:pt x="909" y="33"/>
                  </a:lnTo>
                  <a:lnTo>
                    <a:pt x="905" y="35"/>
                  </a:lnTo>
                  <a:lnTo>
                    <a:pt x="905" y="37"/>
                  </a:lnTo>
                  <a:lnTo>
                    <a:pt x="905" y="37"/>
                  </a:lnTo>
                  <a:lnTo>
                    <a:pt x="905" y="37"/>
                  </a:lnTo>
                  <a:lnTo>
                    <a:pt x="905" y="37"/>
                  </a:lnTo>
                  <a:lnTo>
                    <a:pt x="905" y="37"/>
                  </a:lnTo>
                  <a:lnTo>
                    <a:pt x="907" y="37"/>
                  </a:lnTo>
                  <a:lnTo>
                    <a:pt x="907" y="37"/>
                  </a:lnTo>
                  <a:lnTo>
                    <a:pt x="909" y="37"/>
                  </a:lnTo>
                  <a:lnTo>
                    <a:pt x="909" y="39"/>
                  </a:lnTo>
                  <a:lnTo>
                    <a:pt x="909" y="39"/>
                  </a:lnTo>
                  <a:lnTo>
                    <a:pt x="909" y="39"/>
                  </a:lnTo>
                  <a:lnTo>
                    <a:pt x="909" y="39"/>
                  </a:lnTo>
                  <a:lnTo>
                    <a:pt x="909" y="39"/>
                  </a:lnTo>
                  <a:lnTo>
                    <a:pt x="909" y="41"/>
                  </a:lnTo>
                  <a:lnTo>
                    <a:pt x="909" y="41"/>
                  </a:lnTo>
                  <a:lnTo>
                    <a:pt x="909" y="41"/>
                  </a:lnTo>
                  <a:lnTo>
                    <a:pt x="909" y="43"/>
                  </a:lnTo>
                  <a:lnTo>
                    <a:pt x="911" y="43"/>
                  </a:lnTo>
                  <a:lnTo>
                    <a:pt x="911" y="43"/>
                  </a:lnTo>
                  <a:lnTo>
                    <a:pt x="911" y="43"/>
                  </a:lnTo>
                  <a:lnTo>
                    <a:pt x="911" y="43"/>
                  </a:lnTo>
                  <a:lnTo>
                    <a:pt x="911" y="43"/>
                  </a:lnTo>
                  <a:lnTo>
                    <a:pt x="911" y="43"/>
                  </a:lnTo>
                  <a:lnTo>
                    <a:pt x="913" y="43"/>
                  </a:lnTo>
                  <a:lnTo>
                    <a:pt x="913" y="43"/>
                  </a:lnTo>
                  <a:lnTo>
                    <a:pt x="913" y="43"/>
                  </a:lnTo>
                  <a:lnTo>
                    <a:pt x="913" y="43"/>
                  </a:lnTo>
                  <a:lnTo>
                    <a:pt x="913" y="43"/>
                  </a:lnTo>
                  <a:lnTo>
                    <a:pt x="913" y="43"/>
                  </a:lnTo>
                  <a:lnTo>
                    <a:pt x="913" y="43"/>
                  </a:lnTo>
                  <a:lnTo>
                    <a:pt x="913" y="43"/>
                  </a:lnTo>
                  <a:lnTo>
                    <a:pt x="916" y="43"/>
                  </a:lnTo>
                  <a:lnTo>
                    <a:pt x="916" y="43"/>
                  </a:lnTo>
                  <a:lnTo>
                    <a:pt x="920" y="43"/>
                  </a:lnTo>
                  <a:lnTo>
                    <a:pt x="918" y="43"/>
                  </a:lnTo>
                  <a:lnTo>
                    <a:pt x="918" y="43"/>
                  </a:lnTo>
                  <a:lnTo>
                    <a:pt x="918" y="43"/>
                  </a:lnTo>
                  <a:lnTo>
                    <a:pt x="916" y="43"/>
                  </a:lnTo>
                  <a:lnTo>
                    <a:pt x="916" y="43"/>
                  </a:lnTo>
                  <a:lnTo>
                    <a:pt x="916" y="43"/>
                  </a:lnTo>
                  <a:lnTo>
                    <a:pt x="916" y="43"/>
                  </a:lnTo>
                  <a:lnTo>
                    <a:pt x="916" y="43"/>
                  </a:lnTo>
                  <a:lnTo>
                    <a:pt x="913" y="43"/>
                  </a:lnTo>
                  <a:lnTo>
                    <a:pt x="913" y="43"/>
                  </a:lnTo>
                  <a:lnTo>
                    <a:pt x="911" y="45"/>
                  </a:lnTo>
                  <a:lnTo>
                    <a:pt x="911" y="45"/>
                  </a:lnTo>
                  <a:lnTo>
                    <a:pt x="911" y="45"/>
                  </a:lnTo>
                  <a:lnTo>
                    <a:pt x="909" y="43"/>
                  </a:lnTo>
                  <a:lnTo>
                    <a:pt x="909" y="43"/>
                  </a:lnTo>
                  <a:lnTo>
                    <a:pt x="909" y="43"/>
                  </a:lnTo>
                  <a:lnTo>
                    <a:pt x="909" y="45"/>
                  </a:lnTo>
                  <a:lnTo>
                    <a:pt x="909" y="45"/>
                  </a:lnTo>
                  <a:lnTo>
                    <a:pt x="907" y="47"/>
                  </a:lnTo>
                  <a:lnTo>
                    <a:pt x="907" y="47"/>
                  </a:lnTo>
                  <a:lnTo>
                    <a:pt x="907" y="47"/>
                  </a:lnTo>
                  <a:lnTo>
                    <a:pt x="907" y="47"/>
                  </a:lnTo>
                  <a:lnTo>
                    <a:pt x="907" y="49"/>
                  </a:lnTo>
                  <a:lnTo>
                    <a:pt x="907" y="49"/>
                  </a:lnTo>
                  <a:lnTo>
                    <a:pt x="907" y="49"/>
                  </a:lnTo>
                  <a:lnTo>
                    <a:pt x="907" y="51"/>
                  </a:lnTo>
                  <a:lnTo>
                    <a:pt x="907" y="51"/>
                  </a:lnTo>
                  <a:lnTo>
                    <a:pt x="907" y="51"/>
                  </a:lnTo>
                  <a:lnTo>
                    <a:pt x="907" y="51"/>
                  </a:lnTo>
                  <a:lnTo>
                    <a:pt x="907" y="51"/>
                  </a:lnTo>
                  <a:lnTo>
                    <a:pt x="907" y="53"/>
                  </a:lnTo>
                  <a:lnTo>
                    <a:pt x="907" y="53"/>
                  </a:lnTo>
                  <a:lnTo>
                    <a:pt x="907" y="53"/>
                  </a:lnTo>
                  <a:lnTo>
                    <a:pt x="907" y="53"/>
                  </a:lnTo>
                  <a:lnTo>
                    <a:pt x="907" y="55"/>
                  </a:lnTo>
                  <a:lnTo>
                    <a:pt x="907" y="55"/>
                  </a:lnTo>
                  <a:lnTo>
                    <a:pt x="907" y="55"/>
                  </a:lnTo>
                  <a:lnTo>
                    <a:pt x="909" y="57"/>
                  </a:lnTo>
                  <a:lnTo>
                    <a:pt x="909" y="57"/>
                  </a:lnTo>
                  <a:lnTo>
                    <a:pt x="909" y="59"/>
                  </a:lnTo>
                  <a:lnTo>
                    <a:pt x="907" y="57"/>
                  </a:lnTo>
                  <a:lnTo>
                    <a:pt x="907" y="55"/>
                  </a:lnTo>
                  <a:lnTo>
                    <a:pt x="907" y="55"/>
                  </a:lnTo>
                  <a:lnTo>
                    <a:pt x="907" y="53"/>
                  </a:lnTo>
                  <a:lnTo>
                    <a:pt x="907" y="53"/>
                  </a:lnTo>
                  <a:lnTo>
                    <a:pt x="907" y="53"/>
                  </a:lnTo>
                  <a:lnTo>
                    <a:pt x="907" y="53"/>
                  </a:lnTo>
                  <a:lnTo>
                    <a:pt x="907" y="53"/>
                  </a:lnTo>
                  <a:lnTo>
                    <a:pt x="907" y="53"/>
                  </a:lnTo>
                  <a:lnTo>
                    <a:pt x="907" y="53"/>
                  </a:lnTo>
                  <a:lnTo>
                    <a:pt x="907" y="53"/>
                  </a:lnTo>
                  <a:lnTo>
                    <a:pt x="907" y="53"/>
                  </a:lnTo>
                  <a:lnTo>
                    <a:pt x="907" y="51"/>
                  </a:lnTo>
                  <a:lnTo>
                    <a:pt x="907" y="51"/>
                  </a:lnTo>
                  <a:lnTo>
                    <a:pt x="907" y="51"/>
                  </a:lnTo>
                  <a:lnTo>
                    <a:pt x="907" y="51"/>
                  </a:lnTo>
                  <a:lnTo>
                    <a:pt x="907" y="51"/>
                  </a:lnTo>
                  <a:lnTo>
                    <a:pt x="907" y="49"/>
                  </a:lnTo>
                  <a:lnTo>
                    <a:pt x="907" y="49"/>
                  </a:lnTo>
                  <a:lnTo>
                    <a:pt x="905" y="49"/>
                  </a:lnTo>
                  <a:lnTo>
                    <a:pt x="905" y="49"/>
                  </a:lnTo>
                  <a:lnTo>
                    <a:pt x="903" y="51"/>
                  </a:lnTo>
                  <a:lnTo>
                    <a:pt x="903" y="51"/>
                  </a:lnTo>
                  <a:lnTo>
                    <a:pt x="903" y="51"/>
                  </a:lnTo>
                  <a:lnTo>
                    <a:pt x="905" y="49"/>
                  </a:lnTo>
                  <a:lnTo>
                    <a:pt x="905" y="49"/>
                  </a:lnTo>
                  <a:lnTo>
                    <a:pt x="905" y="47"/>
                  </a:lnTo>
                  <a:lnTo>
                    <a:pt x="905" y="47"/>
                  </a:lnTo>
                  <a:lnTo>
                    <a:pt x="905" y="45"/>
                  </a:lnTo>
                  <a:lnTo>
                    <a:pt x="907" y="45"/>
                  </a:lnTo>
                  <a:lnTo>
                    <a:pt x="907" y="45"/>
                  </a:lnTo>
                  <a:lnTo>
                    <a:pt x="907" y="43"/>
                  </a:lnTo>
                  <a:lnTo>
                    <a:pt x="907" y="43"/>
                  </a:lnTo>
                  <a:lnTo>
                    <a:pt x="903" y="45"/>
                  </a:lnTo>
                  <a:lnTo>
                    <a:pt x="903" y="45"/>
                  </a:lnTo>
                  <a:lnTo>
                    <a:pt x="903" y="43"/>
                  </a:lnTo>
                  <a:lnTo>
                    <a:pt x="903" y="43"/>
                  </a:lnTo>
                  <a:lnTo>
                    <a:pt x="905" y="43"/>
                  </a:lnTo>
                  <a:lnTo>
                    <a:pt x="905" y="43"/>
                  </a:lnTo>
                  <a:lnTo>
                    <a:pt x="905" y="41"/>
                  </a:lnTo>
                  <a:lnTo>
                    <a:pt x="907" y="43"/>
                  </a:lnTo>
                  <a:lnTo>
                    <a:pt x="907" y="41"/>
                  </a:lnTo>
                  <a:lnTo>
                    <a:pt x="907" y="41"/>
                  </a:lnTo>
                  <a:lnTo>
                    <a:pt x="907" y="41"/>
                  </a:lnTo>
                  <a:lnTo>
                    <a:pt x="907" y="41"/>
                  </a:lnTo>
                  <a:lnTo>
                    <a:pt x="907" y="41"/>
                  </a:lnTo>
                  <a:lnTo>
                    <a:pt x="907" y="39"/>
                  </a:lnTo>
                  <a:lnTo>
                    <a:pt x="907" y="39"/>
                  </a:lnTo>
                  <a:lnTo>
                    <a:pt x="907" y="39"/>
                  </a:lnTo>
                  <a:lnTo>
                    <a:pt x="907" y="39"/>
                  </a:lnTo>
                  <a:lnTo>
                    <a:pt x="905" y="39"/>
                  </a:lnTo>
                  <a:lnTo>
                    <a:pt x="905" y="39"/>
                  </a:lnTo>
                  <a:lnTo>
                    <a:pt x="903" y="39"/>
                  </a:lnTo>
                  <a:lnTo>
                    <a:pt x="903" y="39"/>
                  </a:lnTo>
                  <a:lnTo>
                    <a:pt x="903" y="39"/>
                  </a:lnTo>
                  <a:lnTo>
                    <a:pt x="903" y="37"/>
                  </a:lnTo>
                  <a:lnTo>
                    <a:pt x="903" y="37"/>
                  </a:lnTo>
                  <a:lnTo>
                    <a:pt x="903" y="37"/>
                  </a:lnTo>
                  <a:lnTo>
                    <a:pt x="903" y="37"/>
                  </a:lnTo>
                  <a:lnTo>
                    <a:pt x="903" y="39"/>
                  </a:lnTo>
                  <a:lnTo>
                    <a:pt x="897" y="43"/>
                  </a:lnTo>
                  <a:lnTo>
                    <a:pt x="893" y="45"/>
                  </a:lnTo>
                  <a:lnTo>
                    <a:pt x="891" y="47"/>
                  </a:lnTo>
                  <a:lnTo>
                    <a:pt x="891" y="47"/>
                  </a:lnTo>
                  <a:lnTo>
                    <a:pt x="893" y="45"/>
                  </a:lnTo>
                  <a:lnTo>
                    <a:pt x="895" y="45"/>
                  </a:lnTo>
                  <a:lnTo>
                    <a:pt x="895" y="45"/>
                  </a:lnTo>
                  <a:lnTo>
                    <a:pt x="895" y="45"/>
                  </a:lnTo>
                  <a:lnTo>
                    <a:pt x="891" y="49"/>
                  </a:lnTo>
                  <a:lnTo>
                    <a:pt x="889" y="49"/>
                  </a:lnTo>
                  <a:lnTo>
                    <a:pt x="887" y="51"/>
                  </a:lnTo>
                  <a:lnTo>
                    <a:pt x="887" y="51"/>
                  </a:lnTo>
                  <a:lnTo>
                    <a:pt x="889" y="51"/>
                  </a:lnTo>
                  <a:lnTo>
                    <a:pt x="889" y="51"/>
                  </a:lnTo>
                  <a:lnTo>
                    <a:pt x="887" y="51"/>
                  </a:lnTo>
                  <a:lnTo>
                    <a:pt x="887" y="51"/>
                  </a:lnTo>
                  <a:lnTo>
                    <a:pt x="887" y="51"/>
                  </a:lnTo>
                  <a:lnTo>
                    <a:pt x="887" y="51"/>
                  </a:lnTo>
                  <a:lnTo>
                    <a:pt x="887" y="51"/>
                  </a:lnTo>
                  <a:lnTo>
                    <a:pt x="887" y="51"/>
                  </a:lnTo>
                  <a:lnTo>
                    <a:pt x="883" y="51"/>
                  </a:lnTo>
                  <a:lnTo>
                    <a:pt x="881" y="53"/>
                  </a:lnTo>
                  <a:lnTo>
                    <a:pt x="877" y="53"/>
                  </a:lnTo>
                  <a:lnTo>
                    <a:pt x="877" y="53"/>
                  </a:lnTo>
                  <a:lnTo>
                    <a:pt x="875" y="53"/>
                  </a:lnTo>
                  <a:lnTo>
                    <a:pt x="875" y="53"/>
                  </a:lnTo>
                  <a:lnTo>
                    <a:pt x="875" y="53"/>
                  </a:lnTo>
                  <a:lnTo>
                    <a:pt x="875" y="53"/>
                  </a:lnTo>
                  <a:lnTo>
                    <a:pt x="875" y="53"/>
                  </a:lnTo>
                  <a:lnTo>
                    <a:pt x="875" y="53"/>
                  </a:lnTo>
                  <a:lnTo>
                    <a:pt x="875" y="53"/>
                  </a:lnTo>
                  <a:lnTo>
                    <a:pt x="875" y="55"/>
                  </a:lnTo>
                  <a:lnTo>
                    <a:pt x="875" y="55"/>
                  </a:lnTo>
                  <a:lnTo>
                    <a:pt x="875" y="55"/>
                  </a:lnTo>
                  <a:lnTo>
                    <a:pt x="875" y="55"/>
                  </a:lnTo>
                  <a:lnTo>
                    <a:pt x="875" y="55"/>
                  </a:lnTo>
                  <a:lnTo>
                    <a:pt x="873" y="55"/>
                  </a:lnTo>
                  <a:lnTo>
                    <a:pt x="873" y="55"/>
                  </a:lnTo>
                  <a:lnTo>
                    <a:pt x="873" y="55"/>
                  </a:lnTo>
                  <a:lnTo>
                    <a:pt x="870" y="57"/>
                  </a:lnTo>
                  <a:lnTo>
                    <a:pt x="866" y="57"/>
                  </a:lnTo>
                  <a:lnTo>
                    <a:pt x="866" y="55"/>
                  </a:lnTo>
                  <a:lnTo>
                    <a:pt x="866" y="55"/>
                  </a:lnTo>
                  <a:lnTo>
                    <a:pt x="868" y="55"/>
                  </a:lnTo>
                  <a:lnTo>
                    <a:pt x="868" y="55"/>
                  </a:lnTo>
                  <a:lnTo>
                    <a:pt x="868" y="55"/>
                  </a:lnTo>
                  <a:lnTo>
                    <a:pt x="868" y="55"/>
                  </a:lnTo>
                  <a:lnTo>
                    <a:pt x="870" y="55"/>
                  </a:lnTo>
                  <a:lnTo>
                    <a:pt x="870" y="55"/>
                  </a:lnTo>
                  <a:lnTo>
                    <a:pt x="873" y="55"/>
                  </a:lnTo>
                  <a:lnTo>
                    <a:pt x="873" y="53"/>
                  </a:lnTo>
                  <a:lnTo>
                    <a:pt x="873" y="53"/>
                  </a:lnTo>
                  <a:lnTo>
                    <a:pt x="873" y="53"/>
                  </a:lnTo>
                  <a:lnTo>
                    <a:pt x="873" y="53"/>
                  </a:lnTo>
                  <a:lnTo>
                    <a:pt x="873" y="53"/>
                  </a:lnTo>
                  <a:lnTo>
                    <a:pt x="873" y="53"/>
                  </a:lnTo>
                  <a:lnTo>
                    <a:pt x="870" y="51"/>
                  </a:lnTo>
                  <a:lnTo>
                    <a:pt x="873" y="51"/>
                  </a:lnTo>
                  <a:lnTo>
                    <a:pt x="875" y="53"/>
                  </a:lnTo>
                  <a:lnTo>
                    <a:pt x="875" y="51"/>
                  </a:lnTo>
                  <a:lnTo>
                    <a:pt x="875" y="51"/>
                  </a:lnTo>
                  <a:lnTo>
                    <a:pt x="873" y="51"/>
                  </a:lnTo>
                  <a:lnTo>
                    <a:pt x="873" y="49"/>
                  </a:lnTo>
                  <a:lnTo>
                    <a:pt x="873" y="49"/>
                  </a:lnTo>
                  <a:lnTo>
                    <a:pt x="873" y="49"/>
                  </a:lnTo>
                  <a:lnTo>
                    <a:pt x="873" y="49"/>
                  </a:lnTo>
                  <a:lnTo>
                    <a:pt x="873" y="49"/>
                  </a:lnTo>
                  <a:lnTo>
                    <a:pt x="873" y="49"/>
                  </a:lnTo>
                  <a:lnTo>
                    <a:pt x="873" y="49"/>
                  </a:lnTo>
                  <a:lnTo>
                    <a:pt x="873" y="49"/>
                  </a:lnTo>
                  <a:lnTo>
                    <a:pt x="870" y="49"/>
                  </a:lnTo>
                  <a:lnTo>
                    <a:pt x="870" y="49"/>
                  </a:lnTo>
                  <a:lnTo>
                    <a:pt x="868" y="51"/>
                  </a:lnTo>
                  <a:lnTo>
                    <a:pt x="868" y="51"/>
                  </a:lnTo>
                  <a:lnTo>
                    <a:pt x="868" y="51"/>
                  </a:lnTo>
                  <a:lnTo>
                    <a:pt x="866" y="53"/>
                  </a:lnTo>
                  <a:lnTo>
                    <a:pt x="866" y="53"/>
                  </a:lnTo>
                  <a:lnTo>
                    <a:pt x="866" y="55"/>
                  </a:lnTo>
                  <a:lnTo>
                    <a:pt x="866" y="55"/>
                  </a:lnTo>
                  <a:lnTo>
                    <a:pt x="866" y="55"/>
                  </a:lnTo>
                  <a:lnTo>
                    <a:pt x="864" y="55"/>
                  </a:lnTo>
                  <a:lnTo>
                    <a:pt x="864" y="55"/>
                  </a:lnTo>
                  <a:lnTo>
                    <a:pt x="864" y="55"/>
                  </a:lnTo>
                  <a:lnTo>
                    <a:pt x="864" y="55"/>
                  </a:lnTo>
                  <a:lnTo>
                    <a:pt x="862" y="57"/>
                  </a:lnTo>
                  <a:lnTo>
                    <a:pt x="862" y="59"/>
                  </a:lnTo>
                  <a:lnTo>
                    <a:pt x="862" y="59"/>
                  </a:lnTo>
                  <a:lnTo>
                    <a:pt x="862" y="59"/>
                  </a:lnTo>
                  <a:lnTo>
                    <a:pt x="862" y="59"/>
                  </a:lnTo>
                  <a:lnTo>
                    <a:pt x="862" y="61"/>
                  </a:lnTo>
                  <a:lnTo>
                    <a:pt x="862" y="61"/>
                  </a:lnTo>
                  <a:lnTo>
                    <a:pt x="860" y="61"/>
                  </a:lnTo>
                  <a:lnTo>
                    <a:pt x="860" y="61"/>
                  </a:lnTo>
                  <a:lnTo>
                    <a:pt x="860" y="61"/>
                  </a:lnTo>
                  <a:lnTo>
                    <a:pt x="860" y="61"/>
                  </a:lnTo>
                  <a:lnTo>
                    <a:pt x="858" y="64"/>
                  </a:lnTo>
                  <a:lnTo>
                    <a:pt x="858" y="66"/>
                  </a:lnTo>
                  <a:lnTo>
                    <a:pt x="858" y="66"/>
                  </a:lnTo>
                  <a:lnTo>
                    <a:pt x="856" y="66"/>
                  </a:lnTo>
                  <a:lnTo>
                    <a:pt x="854" y="68"/>
                  </a:lnTo>
                  <a:lnTo>
                    <a:pt x="854" y="70"/>
                  </a:lnTo>
                  <a:lnTo>
                    <a:pt x="854" y="70"/>
                  </a:lnTo>
                  <a:lnTo>
                    <a:pt x="852" y="70"/>
                  </a:lnTo>
                  <a:lnTo>
                    <a:pt x="850" y="74"/>
                  </a:lnTo>
                  <a:lnTo>
                    <a:pt x="848" y="74"/>
                  </a:lnTo>
                  <a:lnTo>
                    <a:pt x="848" y="74"/>
                  </a:lnTo>
                  <a:lnTo>
                    <a:pt x="848" y="74"/>
                  </a:lnTo>
                  <a:lnTo>
                    <a:pt x="848" y="76"/>
                  </a:lnTo>
                  <a:lnTo>
                    <a:pt x="848" y="76"/>
                  </a:lnTo>
                  <a:lnTo>
                    <a:pt x="848" y="76"/>
                  </a:lnTo>
                  <a:lnTo>
                    <a:pt x="848" y="76"/>
                  </a:lnTo>
                  <a:lnTo>
                    <a:pt x="848" y="76"/>
                  </a:lnTo>
                  <a:lnTo>
                    <a:pt x="848" y="78"/>
                  </a:lnTo>
                  <a:lnTo>
                    <a:pt x="848" y="78"/>
                  </a:lnTo>
                  <a:lnTo>
                    <a:pt x="848" y="78"/>
                  </a:lnTo>
                  <a:lnTo>
                    <a:pt x="846" y="78"/>
                  </a:lnTo>
                  <a:lnTo>
                    <a:pt x="846" y="78"/>
                  </a:lnTo>
                  <a:lnTo>
                    <a:pt x="846" y="80"/>
                  </a:lnTo>
                  <a:lnTo>
                    <a:pt x="846" y="80"/>
                  </a:lnTo>
                  <a:lnTo>
                    <a:pt x="846" y="80"/>
                  </a:lnTo>
                  <a:lnTo>
                    <a:pt x="846" y="82"/>
                  </a:lnTo>
                  <a:lnTo>
                    <a:pt x="846" y="82"/>
                  </a:lnTo>
                  <a:lnTo>
                    <a:pt x="846" y="82"/>
                  </a:lnTo>
                  <a:lnTo>
                    <a:pt x="846" y="82"/>
                  </a:lnTo>
                  <a:lnTo>
                    <a:pt x="844" y="82"/>
                  </a:lnTo>
                  <a:lnTo>
                    <a:pt x="844" y="82"/>
                  </a:lnTo>
                  <a:lnTo>
                    <a:pt x="846" y="82"/>
                  </a:lnTo>
                  <a:lnTo>
                    <a:pt x="846" y="84"/>
                  </a:lnTo>
                  <a:lnTo>
                    <a:pt x="846" y="84"/>
                  </a:lnTo>
                  <a:lnTo>
                    <a:pt x="846" y="84"/>
                  </a:lnTo>
                  <a:lnTo>
                    <a:pt x="846" y="84"/>
                  </a:lnTo>
                  <a:lnTo>
                    <a:pt x="846" y="84"/>
                  </a:lnTo>
                  <a:lnTo>
                    <a:pt x="846" y="86"/>
                  </a:lnTo>
                  <a:lnTo>
                    <a:pt x="846" y="86"/>
                  </a:lnTo>
                  <a:lnTo>
                    <a:pt x="844" y="88"/>
                  </a:lnTo>
                  <a:lnTo>
                    <a:pt x="844" y="88"/>
                  </a:lnTo>
                  <a:lnTo>
                    <a:pt x="844" y="88"/>
                  </a:lnTo>
                  <a:lnTo>
                    <a:pt x="844" y="88"/>
                  </a:lnTo>
                  <a:lnTo>
                    <a:pt x="844" y="90"/>
                  </a:lnTo>
                  <a:lnTo>
                    <a:pt x="844" y="90"/>
                  </a:lnTo>
                  <a:lnTo>
                    <a:pt x="844" y="90"/>
                  </a:lnTo>
                  <a:lnTo>
                    <a:pt x="844" y="90"/>
                  </a:lnTo>
                  <a:lnTo>
                    <a:pt x="844" y="90"/>
                  </a:lnTo>
                  <a:lnTo>
                    <a:pt x="844" y="92"/>
                  </a:lnTo>
                  <a:lnTo>
                    <a:pt x="844" y="92"/>
                  </a:lnTo>
                  <a:lnTo>
                    <a:pt x="844" y="92"/>
                  </a:lnTo>
                  <a:lnTo>
                    <a:pt x="842" y="94"/>
                  </a:lnTo>
                  <a:lnTo>
                    <a:pt x="842" y="94"/>
                  </a:lnTo>
                  <a:lnTo>
                    <a:pt x="842" y="94"/>
                  </a:lnTo>
                  <a:lnTo>
                    <a:pt x="840" y="96"/>
                  </a:lnTo>
                  <a:lnTo>
                    <a:pt x="840" y="98"/>
                  </a:lnTo>
                  <a:lnTo>
                    <a:pt x="840" y="96"/>
                  </a:lnTo>
                  <a:lnTo>
                    <a:pt x="840" y="96"/>
                  </a:lnTo>
                  <a:lnTo>
                    <a:pt x="844" y="92"/>
                  </a:lnTo>
                  <a:lnTo>
                    <a:pt x="842" y="90"/>
                  </a:lnTo>
                  <a:lnTo>
                    <a:pt x="842" y="92"/>
                  </a:lnTo>
                  <a:lnTo>
                    <a:pt x="840" y="96"/>
                  </a:lnTo>
                  <a:lnTo>
                    <a:pt x="840" y="96"/>
                  </a:lnTo>
                  <a:lnTo>
                    <a:pt x="832" y="107"/>
                  </a:lnTo>
                  <a:lnTo>
                    <a:pt x="827" y="109"/>
                  </a:lnTo>
                  <a:lnTo>
                    <a:pt x="827" y="109"/>
                  </a:lnTo>
                  <a:lnTo>
                    <a:pt x="825" y="111"/>
                  </a:lnTo>
                  <a:lnTo>
                    <a:pt x="825" y="111"/>
                  </a:lnTo>
                  <a:lnTo>
                    <a:pt x="821" y="111"/>
                  </a:lnTo>
                  <a:lnTo>
                    <a:pt x="821" y="113"/>
                  </a:lnTo>
                  <a:lnTo>
                    <a:pt x="819" y="113"/>
                  </a:lnTo>
                  <a:lnTo>
                    <a:pt x="817" y="113"/>
                  </a:lnTo>
                  <a:lnTo>
                    <a:pt x="809" y="113"/>
                  </a:lnTo>
                  <a:lnTo>
                    <a:pt x="803" y="113"/>
                  </a:lnTo>
                  <a:lnTo>
                    <a:pt x="799" y="113"/>
                  </a:lnTo>
                  <a:lnTo>
                    <a:pt x="793" y="113"/>
                  </a:lnTo>
                  <a:lnTo>
                    <a:pt x="789" y="111"/>
                  </a:lnTo>
                  <a:lnTo>
                    <a:pt x="786" y="111"/>
                  </a:lnTo>
                  <a:lnTo>
                    <a:pt x="784" y="109"/>
                  </a:lnTo>
                  <a:lnTo>
                    <a:pt x="782" y="109"/>
                  </a:lnTo>
                  <a:lnTo>
                    <a:pt x="780" y="111"/>
                  </a:lnTo>
                  <a:lnTo>
                    <a:pt x="780" y="111"/>
                  </a:lnTo>
                  <a:lnTo>
                    <a:pt x="780" y="113"/>
                  </a:lnTo>
                  <a:lnTo>
                    <a:pt x="780" y="115"/>
                  </a:lnTo>
                  <a:lnTo>
                    <a:pt x="780" y="117"/>
                  </a:lnTo>
                  <a:lnTo>
                    <a:pt x="780" y="117"/>
                  </a:lnTo>
                  <a:lnTo>
                    <a:pt x="780" y="119"/>
                  </a:lnTo>
                  <a:lnTo>
                    <a:pt x="780" y="119"/>
                  </a:lnTo>
                  <a:lnTo>
                    <a:pt x="780" y="119"/>
                  </a:lnTo>
                  <a:lnTo>
                    <a:pt x="780" y="121"/>
                  </a:lnTo>
                  <a:lnTo>
                    <a:pt x="780" y="121"/>
                  </a:lnTo>
                  <a:lnTo>
                    <a:pt x="780" y="121"/>
                  </a:lnTo>
                  <a:lnTo>
                    <a:pt x="778" y="121"/>
                  </a:lnTo>
                  <a:lnTo>
                    <a:pt x="780" y="121"/>
                  </a:lnTo>
                  <a:lnTo>
                    <a:pt x="778" y="123"/>
                  </a:lnTo>
                  <a:lnTo>
                    <a:pt x="778" y="123"/>
                  </a:lnTo>
                  <a:lnTo>
                    <a:pt x="778" y="125"/>
                  </a:lnTo>
                  <a:lnTo>
                    <a:pt x="778" y="125"/>
                  </a:lnTo>
                  <a:lnTo>
                    <a:pt x="778" y="125"/>
                  </a:lnTo>
                  <a:lnTo>
                    <a:pt x="778" y="125"/>
                  </a:lnTo>
                  <a:lnTo>
                    <a:pt x="778" y="127"/>
                  </a:lnTo>
                  <a:lnTo>
                    <a:pt x="776" y="127"/>
                  </a:lnTo>
                  <a:lnTo>
                    <a:pt x="776" y="127"/>
                  </a:lnTo>
                  <a:lnTo>
                    <a:pt x="776" y="129"/>
                  </a:lnTo>
                  <a:lnTo>
                    <a:pt x="776" y="129"/>
                  </a:lnTo>
                  <a:lnTo>
                    <a:pt x="776" y="131"/>
                  </a:lnTo>
                  <a:lnTo>
                    <a:pt x="774" y="131"/>
                  </a:lnTo>
                  <a:lnTo>
                    <a:pt x="774" y="131"/>
                  </a:lnTo>
                  <a:lnTo>
                    <a:pt x="774" y="133"/>
                  </a:lnTo>
                  <a:lnTo>
                    <a:pt x="776" y="133"/>
                  </a:lnTo>
                  <a:lnTo>
                    <a:pt x="774" y="133"/>
                  </a:lnTo>
                  <a:lnTo>
                    <a:pt x="774" y="133"/>
                  </a:lnTo>
                  <a:lnTo>
                    <a:pt x="774" y="133"/>
                  </a:lnTo>
                  <a:lnTo>
                    <a:pt x="774" y="133"/>
                  </a:lnTo>
                  <a:lnTo>
                    <a:pt x="774" y="133"/>
                  </a:lnTo>
                  <a:lnTo>
                    <a:pt x="772" y="133"/>
                  </a:lnTo>
                  <a:lnTo>
                    <a:pt x="772" y="133"/>
                  </a:lnTo>
                  <a:lnTo>
                    <a:pt x="770" y="135"/>
                  </a:lnTo>
                  <a:lnTo>
                    <a:pt x="768" y="135"/>
                  </a:lnTo>
                  <a:lnTo>
                    <a:pt x="766" y="133"/>
                  </a:lnTo>
                  <a:lnTo>
                    <a:pt x="768" y="133"/>
                  </a:lnTo>
                  <a:lnTo>
                    <a:pt x="772" y="133"/>
                  </a:lnTo>
                  <a:lnTo>
                    <a:pt x="772" y="131"/>
                  </a:lnTo>
                  <a:lnTo>
                    <a:pt x="772" y="131"/>
                  </a:lnTo>
                  <a:lnTo>
                    <a:pt x="770" y="133"/>
                  </a:lnTo>
                  <a:lnTo>
                    <a:pt x="766" y="133"/>
                  </a:lnTo>
                  <a:lnTo>
                    <a:pt x="766" y="135"/>
                  </a:lnTo>
                  <a:lnTo>
                    <a:pt x="766" y="135"/>
                  </a:lnTo>
                  <a:lnTo>
                    <a:pt x="766" y="135"/>
                  </a:lnTo>
                  <a:lnTo>
                    <a:pt x="768" y="135"/>
                  </a:lnTo>
                  <a:lnTo>
                    <a:pt x="774" y="139"/>
                  </a:lnTo>
                  <a:lnTo>
                    <a:pt x="776" y="141"/>
                  </a:lnTo>
                  <a:lnTo>
                    <a:pt x="778" y="143"/>
                  </a:lnTo>
                  <a:lnTo>
                    <a:pt x="778" y="143"/>
                  </a:lnTo>
                  <a:lnTo>
                    <a:pt x="778" y="143"/>
                  </a:lnTo>
                  <a:lnTo>
                    <a:pt x="778" y="146"/>
                  </a:lnTo>
                  <a:lnTo>
                    <a:pt x="778" y="148"/>
                  </a:lnTo>
                  <a:lnTo>
                    <a:pt x="780" y="148"/>
                  </a:lnTo>
                  <a:lnTo>
                    <a:pt x="782" y="150"/>
                  </a:lnTo>
                  <a:lnTo>
                    <a:pt x="786" y="152"/>
                  </a:lnTo>
                  <a:lnTo>
                    <a:pt x="789" y="154"/>
                  </a:lnTo>
                  <a:lnTo>
                    <a:pt x="793" y="158"/>
                  </a:lnTo>
                  <a:lnTo>
                    <a:pt x="795" y="162"/>
                  </a:lnTo>
                  <a:lnTo>
                    <a:pt x="799" y="166"/>
                  </a:lnTo>
                  <a:lnTo>
                    <a:pt x="799" y="168"/>
                  </a:lnTo>
                  <a:lnTo>
                    <a:pt x="801" y="168"/>
                  </a:lnTo>
                  <a:lnTo>
                    <a:pt x="801" y="170"/>
                  </a:lnTo>
                  <a:lnTo>
                    <a:pt x="801" y="168"/>
                  </a:lnTo>
                  <a:lnTo>
                    <a:pt x="801" y="168"/>
                  </a:lnTo>
                  <a:lnTo>
                    <a:pt x="801" y="168"/>
                  </a:lnTo>
                  <a:lnTo>
                    <a:pt x="801" y="168"/>
                  </a:lnTo>
                  <a:lnTo>
                    <a:pt x="801" y="168"/>
                  </a:lnTo>
                  <a:lnTo>
                    <a:pt x="801" y="168"/>
                  </a:lnTo>
                  <a:lnTo>
                    <a:pt x="801" y="168"/>
                  </a:lnTo>
                  <a:lnTo>
                    <a:pt x="803" y="172"/>
                  </a:lnTo>
                  <a:lnTo>
                    <a:pt x="805" y="172"/>
                  </a:lnTo>
                  <a:lnTo>
                    <a:pt x="805" y="174"/>
                  </a:lnTo>
                  <a:lnTo>
                    <a:pt x="811" y="180"/>
                  </a:lnTo>
                  <a:lnTo>
                    <a:pt x="811" y="184"/>
                  </a:lnTo>
                  <a:lnTo>
                    <a:pt x="813" y="186"/>
                  </a:lnTo>
                  <a:lnTo>
                    <a:pt x="815" y="195"/>
                  </a:lnTo>
                  <a:lnTo>
                    <a:pt x="815" y="197"/>
                  </a:lnTo>
                  <a:lnTo>
                    <a:pt x="815" y="199"/>
                  </a:lnTo>
                  <a:lnTo>
                    <a:pt x="815" y="199"/>
                  </a:lnTo>
                  <a:lnTo>
                    <a:pt x="815" y="203"/>
                  </a:lnTo>
                  <a:lnTo>
                    <a:pt x="815" y="205"/>
                  </a:lnTo>
                  <a:lnTo>
                    <a:pt x="815" y="207"/>
                  </a:lnTo>
                  <a:lnTo>
                    <a:pt x="815" y="207"/>
                  </a:lnTo>
                  <a:lnTo>
                    <a:pt x="815" y="209"/>
                  </a:lnTo>
                  <a:lnTo>
                    <a:pt x="821" y="211"/>
                  </a:lnTo>
                  <a:lnTo>
                    <a:pt x="821" y="211"/>
                  </a:lnTo>
                  <a:lnTo>
                    <a:pt x="825" y="213"/>
                  </a:lnTo>
                  <a:lnTo>
                    <a:pt x="827" y="213"/>
                  </a:lnTo>
                  <a:lnTo>
                    <a:pt x="832" y="215"/>
                  </a:lnTo>
                  <a:lnTo>
                    <a:pt x="832" y="215"/>
                  </a:lnTo>
                  <a:lnTo>
                    <a:pt x="832" y="215"/>
                  </a:lnTo>
                  <a:lnTo>
                    <a:pt x="832" y="215"/>
                  </a:lnTo>
                  <a:lnTo>
                    <a:pt x="830" y="215"/>
                  </a:lnTo>
                  <a:lnTo>
                    <a:pt x="830" y="213"/>
                  </a:lnTo>
                  <a:lnTo>
                    <a:pt x="830" y="213"/>
                  </a:lnTo>
                  <a:lnTo>
                    <a:pt x="832" y="213"/>
                  </a:lnTo>
                  <a:lnTo>
                    <a:pt x="834" y="213"/>
                  </a:lnTo>
                  <a:lnTo>
                    <a:pt x="836" y="215"/>
                  </a:lnTo>
                  <a:lnTo>
                    <a:pt x="836" y="215"/>
                  </a:lnTo>
                  <a:lnTo>
                    <a:pt x="836" y="215"/>
                  </a:lnTo>
                  <a:lnTo>
                    <a:pt x="836" y="215"/>
                  </a:lnTo>
                  <a:lnTo>
                    <a:pt x="836" y="215"/>
                  </a:lnTo>
                  <a:lnTo>
                    <a:pt x="836" y="215"/>
                  </a:lnTo>
                  <a:lnTo>
                    <a:pt x="838" y="215"/>
                  </a:lnTo>
                  <a:lnTo>
                    <a:pt x="838" y="215"/>
                  </a:lnTo>
                  <a:lnTo>
                    <a:pt x="840" y="213"/>
                  </a:lnTo>
                  <a:lnTo>
                    <a:pt x="842" y="211"/>
                  </a:lnTo>
                  <a:lnTo>
                    <a:pt x="842" y="211"/>
                  </a:lnTo>
                  <a:lnTo>
                    <a:pt x="842" y="209"/>
                  </a:lnTo>
                  <a:lnTo>
                    <a:pt x="842" y="209"/>
                  </a:lnTo>
                  <a:lnTo>
                    <a:pt x="842" y="209"/>
                  </a:lnTo>
                  <a:lnTo>
                    <a:pt x="842" y="209"/>
                  </a:lnTo>
                  <a:lnTo>
                    <a:pt x="842" y="209"/>
                  </a:lnTo>
                  <a:lnTo>
                    <a:pt x="844" y="209"/>
                  </a:lnTo>
                  <a:lnTo>
                    <a:pt x="844" y="209"/>
                  </a:lnTo>
                  <a:lnTo>
                    <a:pt x="844" y="209"/>
                  </a:lnTo>
                  <a:lnTo>
                    <a:pt x="844" y="209"/>
                  </a:lnTo>
                  <a:lnTo>
                    <a:pt x="842" y="211"/>
                  </a:lnTo>
                  <a:lnTo>
                    <a:pt x="842" y="213"/>
                  </a:lnTo>
                  <a:lnTo>
                    <a:pt x="842" y="213"/>
                  </a:lnTo>
                  <a:lnTo>
                    <a:pt x="842" y="213"/>
                  </a:lnTo>
                  <a:lnTo>
                    <a:pt x="842" y="215"/>
                  </a:lnTo>
                  <a:lnTo>
                    <a:pt x="840" y="217"/>
                  </a:lnTo>
                  <a:lnTo>
                    <a:pt x="840" y="217"/>
                  </a:lnTo>
                  <a:lnTo>
                    <a:pt x="840" y="217"/>
                  </a:lnTo>
                  <a:lnTo>
                    <a:pt x="840" y="217"/>
                  </a:lnTo>
                  <a:lnTo>
                    <a:pt x="842" y="217"/>
                  </a:lnTo>
                  <a:lnTo>
                    <a:pt x="844" y="217"/>
                  </a:lnTo>
                  <a:lnTo>
                    <a:pt x="844" y="217"/>
                  </a:lnTo>
                  <a:lnTo>
                    <a:pt x="844" y="215"/>
                  </a:lnTo>
                  <a:lnTo>
                    <a:pt x="844" y="215"/>
                  </a:lnTo>
                  <a:lnTo>
                    <a:pt x="844" y="215"/>
                  </a:lnTo>
                  <a:lnTo>
                    <a:pt x="844" y="213"/>
                  </a:lnTo>
                  <a:lnTo>
                    <a:pt x="844" y="213"/>
                  </a:lnTo>
                  <a:lnTo>
                    <a:pt x="844" y="213"/>
                  </a:lnTo>
                  <a:lnTo>
                    <a:pt x="844" y="215"/>
                  </a:lnTo>
                  <a:lnTo>
                    <a:pt x="844" y="215"/>
                  </a:lnTo>
                  <a:lnTo>
                    <a:pt x="844" y="215"/>
                  </a:lnTo>
                  <a:lnTo>
                    <a:pt x="844" y="215"/>
                  </a:lnTo>
                  <a:lnTo>
                    <a:pt x="844" y="217"/>
                  </a:lnTo>
                  <a:lnTo>
                    <a:pt x="844" y="217"/>
                  </a:lnTo>
                  <a:lnTo>
                    <a:pt x="850" y="215"/>
                  </a:lnTo>
                  <a:lnTo>
                    <a:pt x="852" y="215"/>
                  </a:lnTo>
                  <a:lnTo>
                    <a:pt x="854" y="217"/>
                  </a:lnTo>
                  <a:lnTo>
                    <a:pt x="854" y="217"/>
                  </a:lnTo>
                  <a:lnTo>
                    <a:pt x="854" y="217"/>
                  </a:lnTo>
                  <a:lnTo>
                    <a:pt x="854" y="217"/>
                  </a:lnTo>
                  <a:lnTo>
                    <a:pt x="854" y="217"/>
                  </a:lnTo>
                  <a:lnTo>
                    <a:pt x="856" y="217"/>
                  </a:lnTo>
                  <a:lnTo>
                    <a:pt x="856" y="217"/>
                  </a:lnTo>
                  <a:lnTo>
                    <a:pt x="856" y="217"/>
                  </a:lnTo>
                  <a:lnTo>
                    <a:pt x="856" y="217"/>
                  </a:lnTo>
                  <a:lnTo>
                    <a:pt x="856" y="217"/>
                  </a:lnTo>
                  <a:lnTo>
                    <a:pt x="856" y="217"/>
                  </a:lnTo>
                  <a:lnTo>
                    <a:pt x="856" y="219"/>
                  </a:lnTo>
                  <a:lnTo>
                    <a:pt x="856" y="219"/>
                  </a:lnTo>
                  <a:lnTo>
                    <a:pt x="858" y="219"/>
                  </a:lnTo>
                  <a:lnTo>
                    <a:pt x="858" y="219"/>
                  </a:lnTo>
                  <a:lnTo>
                    <a:pt x="858" y="219"/>
                  </a:lnTo>
                  <a:lnTo>
                    <a:pt x="858" y="219"/>
                  </a:lnTo>
                  <a:lnTo>
                    <a:pt x="858" y="221"/>
                  </a:lnTo>
                  <a:lnTo>
                    <a:pt x="858" y="221"/>
                  </a:lnTo>
                  <a:lnTo>
                    <a:pt x="858" y="221"/>
                  </a:lnTo>
                  <a:lnTo>
                    <a:pt x="856" y="221"/>
                  </a:lnTo>
                  <a:lnTo>
                    <a:pt x="856" y="221"/>
                  </a:lnTo>
                  <a:lnTo>
                    <a:pt x="854" y="221"/>
                  </a:lnTo>
                  <a:lnTo>
                    <a:pt x="854" y="221"/>
                  </a:lnTo>
                  <a:lnTo>
                    <a:pt x="854" y="221"/>
                  </a:lnTo>
                  <a:lnTo>
                    <a:pt x="854" y="221"/>
                  </a:lnTo>
                  <a:lnTo>
                    <a:pt x="854" y="221"/>
                  </a:lnTo>
                  <a:lnTo>
                    <a:pt x="854" y="223"/>
                  </a:lnTo>
                  <a:lnTo>
                    <a:pt x="852" y="223"/>
                  </a:lnTo>
                  <a:lnTo>
                    <a:pt x="852" y="223"/>
                  </a:lnTo>
                  <a:lnTo>
                    <a:pt x="852" y="225"/>
                  </a:lnTo>
                  <a:lnTo>
                    <a:pt x="852" y="225"/>
                  </a:lnTo>
                  <a:lnTo>
                    <a:pt x="852" y="225"/>
                  </a:lnTo>
                  <a:lnTo>
                    <a:pt x="852" y="227"/>
                  </a:lnTo>
                  <a:lnTo>
                    <a:pt x="852" y="227"/>
                  </a:lnTo>
                  <a:lnTo>
                    <a:pt x="850" y="227"/>
                  </a:lnTo>
                  <a:lnTo>
                    <a:pt x="850" y="227"/>
                  </a:lnTo>
                  <a:lnTo>
                    <a:pt x="850" y="230"/>
                  </a:lnTo>
                  <a:lnTo>
                    <a:pt x="850" y="230"/>
                  </a:lnTo>
                  <a:lnTo>
                    <a:pt x="850" y="232"/>
                  </a:lnTo>
                  <a:lnTo>
                    <a:pt x="850" y="232"/>
                  </a:lnTo>
                  <a:lnTo>
                    <a:pt x="850" y="232"/>
                  </a:lnTo>
                  <a:lnTo>
                    <a:pt x="850" y="234"/>
                  </a:lnTo>
                  <a:lnTo>
                    <a:pt x="854" y="240"/>
                  </a:lnTo>
                  <a:lnTo>
                    <a:pt x="854" y="240"/>
                  </a:lnTo>
                  <a:lnTo>
                    <a:pt x="856" y="240"/>
                  </a:lnTo>
                  <a:lnTo>
                    <a:pt x="856" y="242"/>
                  </a:lnTo>
                  <a:lnTo>
                    <a:pt x="856" y="242"/>
                  </a:lnTo>
                  <a:lnTo>
                    <a:pt x="856" y="242"/>
                  </a:lnTo>
                  <a:lnTo>
                    <a:pt x="856" y="244"/>
                  </a:lnTo>
                  <a:lnTo>
                    <a:pt x="856" y="244"/>
                  </a:lnTo>
                  <a:lnTo>
                    <a:pt x="858" y="244"/>
                  </a:lnTo>
                  <a:lnTo>
                    <a:pt x="858" y="244"/>
                  </a:lnTo>
                  <a:lnTo>
                    <a:pt x="858" y="244"/>
                  </a:lnTo>
                  <a:lnTo>
                    <a:pt x="860" y="244"/>
                  </a:lnTo>
                  <a:lnTo>
                    <a:pt x="862" y="244"/>
                  </a:lnTo>
                  <a:lnTo>
                    <a:pt x="862" y="242"/>
                  </a:lnTo>
                  <a:lnTo>
                    <a:pt x="862" y="242"/>
                  </a:lnTo>
                  <a:lnTo>
                    <a:pt x="862" y="242"/>
                  </a:lnTo>
                  <a:lnTo>
                    <a:pt x="862" y="242"/>
                  </a:lnTo>
                  <a:lnTo>
                    <a:pt x="862" y="242"/>
                  </a:lnTo>
                  <a:lnTo>
                    <a:pt x="862" y="240"/>
                  </a:lnTo>
                  <a:lnTo>
                    <a:pt x="862" y="240"/>
                  </a:lnTo>
                  <a:lnTo>
                    <a:pt x="862" y="240"/>
                  </a:lnTo>
                  <a:lnTo>
                    <a:pt x="862" y="240"/>
                  </a:lnTo>
                  <a:lnTo>
                    <a:pt x="862" y="240"/>
                  </a:lnTo>
                  <a:lnTo>
                    <a:pt x="862" y="240"/>
                  </a:lnTo>
                  <a:lnTo>
                    <a:pt x="864" y="238"/>
                  </a:lnTo>
                  <a:lnTo>
                    <a:pt x="864" y="238"/>
                  </a:lnTo>
                  <a:lnTo>
                    <a:pt x="866" y="238"/>
                  </a:lnTo>
                  <a:lnTo>
                    <a:pt x="870" y="238"/>
                  </a:lnTo>
                  <a:lnTo>
                    <a:pt x="870" y="238"/>
                  </a:lnTo>
                  <a:lnTo>
                    <a:pt x="875" y="242"/>
                  </a:lnTo>
                  <a:lnTo>
                    <a:pt x="875" y="242"/>
                  </a:lnTo>
                  <a:lnTo>
                    <a:pt x="877" y="242"/>
                  </a:lnTo>
                  <a:lnTo>
                    <a:pt x="877" y="242"/>
                  </a:lnTo>
                  <a:lnTo>
                    <a:pt x="877" y="242"/>
                  </a:lnTo>
                  <a:lnTo>
                    <a:pt x="877" y="242"/>
                  </a:lnTo>
                  <a:lnTo>
                    <a:pt x="877" y="242"/>
                  </a:lnTo>
                  <a:lnTo>
                    <a:pt x="879" y="240"/>
                  </a:lnTo>
                  <a:lnTo>
                    <a:pt x="879" y="240"/>
                  </a:lnTo>
                  <a:lnTo>
                    <a:pt x="881" y="242"/>
                  </a:lnTo>
                  <a:lnTo>
                    <a:pt x="881" y="242"/>
                  </a:lnTo>
                  <a:lnTo>
                    <a:pt x="881" y="240"/>
                  </a:lnTo>
                  <a:lnTo>
                    <a:pt x="881" y="240"/>
                  </a:lnTo>
                  <a:lnTo>
                    <a:pt x="883" y="240"/>
                  </a:lnTo>
                  <a:lnTo>
                    <a:pt x="883" y="240"/>
                  </a:lnTo>
                  <a:lnTo>
                    <a:pt x="883" y="240"/>
                  </a:lnTo>
                  <a:lnTo>
                    <a:pt x="883" y="240"/>
                  </a:lnTo>
                  <a:lnTo>
                    <a:pt x="881" y="242"/>
                  </a:lnTo>
                  <a:lnTo>
                    <a:pt x="881" y="242"/>
                  </a:lnTo>
                  <a:lnTo>
                    <a:pt x="881" y="242"/>
                  </a:lnTo>
                  <a:lnTo>
                    <a:pt x="881" y="242"/>
                  </a:lnTo>
                  <a:lnTo>
                    <a:pt x="881" y="242"/>
                  </a:lnTo>
                  <a:lnTo>
                    <a:pt x="883" y="244"/>
                  </a:lnTo>
                  <a:lnTo>
                    <a:pt x="883" y="246"/>
                  </a:lnTo>
                  <a:lnTo>
                    <a:pt x="883" y="248"/>
                  </a:lnTo>
                  <a:lnTo>
                    <a:pt x="883" y="250"/>
                  </a:lnTo>
                  <a:lnTo>
                    <a:pt x="883" y="252"/>
                  </a:lnTo>
                  <a:lnTo>
                    <a:pt x="883" y="252"/>
                  </a:lnTo>
                  <a:lnTo>
                    <a:pt x="883" y="252"/>
                  </a:lnTo>
                  <a:lnTo>
                    <a:pt x="877" y="252"/>
                  </a:lnTo>
                  <a:lnTo>
                    <a:pt x="875" y="254"/>
                  </a:lnTo>
                  <a:lnTo>
                    <a:pt x="873" y="254"/>
                  </a:lnTo>
                  <a:lnTo>
                    <a:pt x="870" y="254"/>
                  </a:lnTo>
                  <a:lnTo>
                    <a:pt x="870" y="254"/>
                  </a:lnTo>
                  <a:lnTo>
                    <a:pt x="866" y="250"/>
                  </a:lnTo>
                  <a:lnTo>
                    <a:pt x="866" y="248"/>
                  </a:lnTo>
                  <a:lnTo>
                    <a:pt x="866" y="248"/>
                  </a:lnTo>
                  <a:lnTo>
                    <a:pt x="864" y="246"/>
                  </a:lnTo>
                  <a:lnTo>
                    <a:pt x="864" y="246"/>
                  </a:lnTo>
                  <a:lnTo>
                    <a:pt x="862" y="244"/>
                  </a:lnTo>
                  <a:lnTo>
                    <a:pt x="862" y="244"/>
                  </a:lnTo>
                  <a:lnTo>
                    <a:pt x="862" y="244"/>
                  </a:lnTo>
                  <a:lnTo>
                    <a:pt x="862" y="244"/>
                  </a:lnTo>
                  <a:lnTo>
                    <a:pt x="860" y="246"/>
                  </a:lnTo>
                  <a:lnTo>
                    <a:pt x="860" y="246"/>
                  </a:lnTo>
                  <a:lnTo>
                    <a:pt x="860" y="246"/>
                  </a:lnTo>
                  <a:lnTo>
                    <a:pt x="860" y="246"/>
                  </a:lnTo>
                  <a:lnTo>
                    <a:pt x="858" y="246"/>
                  </a:lnTo>
                  <a:lnTo>
                    <a:pt x="858" y="248"/>
                  </a:lnTo>
                  <a:lnTo>
                    <a:pt x="854" y="248"/>
                  </a:lnTo>
                  <a:lnTo>
                    <a:pt x="854" y="248"/>
                  </a:lnTo>
                  <a:lnTo>
                    <a:pt x="848" y="242"/>
                  </a:lnTo>
                  <a:lnTo>
                    <a:pt x="848" y="242"/>
                  </a:lnTo>
                  <a:lnTo>
                    <a:pt x="846" y="238"/>
                  </a:lnTo>
                  <a:lnTo>
                    <a:pt x="846" y="238"/>
                  </a:lnTo>
                  <a:lnTo>
                    <a:pt x="846" y="236"/>
                  </a:lnTo>
                  <a:lnTo>
                    <a:pt x="846" y="236"/>
                  </a:lnTo>
                  <a:lnTo>
                    <a:pt x="846" y="234"/>
                  </a:lnTo>
                  <a:lnTo>
                    <a:pt x="846" y="234"/>
                  </a:lnTo>
                  <a:lnTo>
                    <a:pt x="846" y="232"/>
                  </a:lnTo>
                  <a:lnTo>
                    <a:pt x="848" y="230"/>
                  </a:lnTo>
                  <a:lnTo>
                    <a:pt x="848" y="230"/>
                  </a:lnTo>
                  <a:lnTo>
                    <a:pt x="848" y="230"/>
                  </a:lnTo>
                  <a:lnTo>
                    <a:pt x="846" y="230"/>
                  </a:lnTo>
                  <a:lnTo>
                    <a:pt x="846" y="227"/>
                  </a:lnTo>
                  <a:lnTo>
                    <a:pt x="844" y="225"/>
                  </a:lnTo>
                  <a:lnTo>
                    <a:pt x="844" y="221"/>
                  </a:lnTo>
                  <a:lnTo>
                    <a:pt x="842" y="219"/>
                  </a:lnTo>
                  <a:lnTo>
                    <a:pt x="842" y="219"/>
                  </a:lnTo>
                  <a:lnTo>
                    <a:pt x="842" y="219"/>
                  </a:lnTo>
                  <a:lnTo>
                    <a:pt x="842" y="221"/>
                  </a:lnTo>
                  <a:lnTo>
                    <a:pt x="840" y="221"/>
                  </a:lnTo>
                  <a:lnTo>
                    <a:pt x="840" y="221"/>
                  </a:lnTo>
                  <a:lnTo>
                    <a:pt x="840" y="219"/>
                  </a:lnTo>
                  <a:lnTo>
                    <a:pt x="840" y="219"/>
                  </a:lnTo>
                  <a:lnTo>
                    <a:pt x="840" y="219"/>
                  </a:lnTo>
                  <a:lnTo>
                    <a:pt x="840" y="219"/>
                  </a:lnTo>
                  <a:lnTo>
                    <a:pt x="838" y="219"/>
                  </a:lnTo>
                  <a:lnTo>
                    <a:pt x="838" y="219"/>
                  </a:lnTo>
                  <a:lnTo>
                    <a:pt x="838" y="221"/>
                  </a:lnTo>
                  <a:lnTo>
                    <a:pt x="838" y="221"/>
                  </a:lnTo>
                  <a:lnTo>
                    <a:pt x="838" y="221"/>
                  </a:lnTo>
                  <a:lnTo>
                    <a:pt x="838" y="221"/>
                  </a:lnTo>
                  <a:lnTo>
                    <a:pt x="836" y="221"/>
                  </a:lnTo>
                  <a:lnTo>
                    <a:pt x="836" y="221"/>
                  </a:lnTo>
                  <a:lnTo>
                    <a:pt x="836" y="223"/>
                  </a:lnTo>
                  <a:lnTo>
                    <a:pt x="836" y="223"/>
                  </a:lnTo>
                  <a:lnTo>
                    <a:pt x="836" y="225"/>
                  </a:lnTo>
                  <a:lnTo>
                    <a:pt x="836" y="225"/>
                  </a:lnTo>
                  <a:lnTo>
                    <a:pt x="836" y="225"/>
                  </a:lnTo>
                  <a:lnTo>
                    <a:pt x="838" y="227"/>
                  </a:lnTo>
                  <a:lnTo>
                    <a:pt x="838" y="227"/>
                  </a:lnTo>
                  <a:lnTo>
                    <a:pt x="838" y="227"/>
                  </a:lnTo>
                  <a:lnTo>
                    <a:pt x="838" y="230"/>
                  </a:lnTo>
                  <a:lnTo>
                    <a:pt x="838" y="230"/>
                  </a:lnTo>
                  <a:lnTo>
                    <a:pt x="838" y="230"/>
                  </a:lnTo>
                  <a:lnTo>
                    <a:pt x="838" y="230"/>
                  </a:lnTo>
                  <a:lnTo>
                    <a:pt x="838" y="230"/>
                  </a:lnTo>
                  <a:lnTo>
                    <a:pt x="838" y="230"/>
                  </a:lnTo>
                  <a:lnTo>
                    <a:pt x="838" y="232"/>
                  </a:lnTo>
                  <a:lnTo>
                    <a:pt x="842" y="232"/>
                  </a:lnTo>
                  <a:lnTo>
                    <a:pt x="844" y="234"/>
                  </a:lnTo>
                  <a:lnTo>
                    <a:pt x="844" y="234"/>
                  </a:lnTo>
                  <a:lnTo>
                    <a:pt x="846" y="238"/>
                  </a:lnTo>
                  <a:lnTo>
                    <a:pt x="848" y="242"/>
                  </a:lnTo>
                  <a:lnTo>
                    <a:pt x="848" y="244"/>
                  </a:lnTo>
                  <a:lnTo>
                    <a:pt x="848" y="246"/>
                  </a:lnTo>
                  <a:lnTo>
                    <a:pt x="848" y="246"/>
                  </a:lnTo>
                  <a:lnTo>
                    <a:pt x="848" y="248"/>
                  </a:lnTo>
                  <a:lnTo>
                    <a:pt x="848" y="248"/>
                  </a:lnTo>
                  <a:lnTo>
                    <a:pt x="848" y="248"/>
                  </a:lnTo>
                  <a:lnTo>
                    <a:pt x="846" y="250"/>
                  </a:lnTo>
                  <a:lnTo>
                    <a:pt x="846" y="252"/>
                  </a:lnTo>
                  <a:lnTo>
                    <a:pt x="846" y="252"/>
                  </a:lnTo>
                  <a:lnTo>
                    <a:pt x="846" y="252"/>
                  </a:lnTo>
                  <a:lnTo>
                    <a:pt x="846" y="254"/>
                  </a:lnTo>
                  <a:lnTo>
                    <a:pt x="846" y="254"/>
                  </a:lnTo>
                  <a:lnTo>
                    <a:pt x="846" y="254"/>
                  </a:lnTo>
                  <a:lnTo>
                    <a:pt x="846" y="254"/>
                  </a:lnTo>
                  <a:lnTo>
                    <a:pt x="846" y="256"/>
                  </a:lnTo>
                  <a:lnTo>
                    <a:pt x="846" y="256"/>
                  </a:lnTo>
                  <a:lnTo>
                    <a:pt x="846" y="256"/>
                  </a:lnTo>
                  <a:lnTo>
                    <a:pt x="848" y="256"/>
                  </a:lnTo>
                  <a:lnTo>
                    <a:pt x="848" y="256"/>
                  </a:lnTo>
                  <a:lnTo>
                    <a:pt x="848" y="254"/>
                  </a:lnTo>
                  <a:lnTo>
                    <a:pt x="848" y="254"/>
                  </a:lnTo>
                  <a:lnTo>
                    <a:pt x="848" y="254"/>
                  </a:lnTo>
                  <a:lnTo>
                    <a:pt x="848" y="254"/>
                  </a:lnTo>
                  <a:lnTo>
                    <a:pt x="848" y="254"/>
                  </a:lnTo>
                  <a:lnTo>
                    <a:pt x="846" y="254"/>
                  </a:lnTo>
                  <a:lnTo>
                    <a:pt x="846" y="252"/>
                  </a:lnTo>
                  <a:lnTo>
                    <a:pt x="848" y="252"/>
                  </a:lnTo>
                  <a:lnTo>
                    <a:pt x="848" y="250"/>
                  </a:lnTo>
                  <a:lnTo>
                    <a:pt x="850" y="250"/>
                  </a:lnTo>
                  <a:lnTo>
                    <a:pt x="850" y="250"/>
                  </a:lnTo>
                  <a:lnTo>
                    <a:pt x="850" y="250"/>
                  </a:lnTo>
                  <a:lnTo>
                    <a:pt x="850" y="250"/>
                  </a:lnTo>
                  <a:lnTo>
                    <a:pt x="856" y="250"/>
                  </a:lnTo>
                  <a:lnTo>
                    <a:pt x="858" y="252"/>
                  </a:lnTo>
                  <a:lnTo>
                    <a:pt x="858" y="252"/>
                  </a:lnTo>
                  <a:lnTo>
                    <a:pt x="858" y="252"/>
                  </a:lnTo>
                  <a:lnTo>
                    <a:pt x="860" y="252"/>
                  </a:lnTo>
                  <a:lnTo>
                    <a:pt x="860" y="252"/>
                  </a:lnTo>
                  <a:lnTo>
                    <a:pt x="862" y="254"/>
                  </a:lnTo>
                  <a:lnTo>
                    <a:pt x="864" y="254"/>
                  </a:lnTo>
                  <a:lnTo>
                    <a:pt x="864" y="256"/>
                  </a:lnTo>
                  <a:lnTo>
                    <a:pt x="864" y="256"/>
                  </a:lnTo>
                  <a:lnTo>
                    <a:pt x="864" y="258"/>
                  </a:lnTo>
                  <a:lnTo>
                    <a:pt x="864" y="258"/>
                  </a:lnTo>
                  <a:lnTo>
                    <a:pt x="866" y="260"/>
                  </a:lnTo>
                  <a:lnTo>
                    <a:pt x="864" y="260"/>
                  </a:lnTo>
                  <a:lnTo>
                    <a:pt x="864" y="262"/>
                  </a:lnTo>
                  <a:lnTo>
                    <a:pt x="864" y="262"/>
                  </a:lnTo>
                  <a:lnTo>
                    <a:pt x="864" y="264"/>
                  </a:lnTo>
                  <a:lnTo>
                    <a:pt x="864" y="264"/>
                  </a:lnTo>
                  <a:lnTo>
                    <a:pt x="862" y="264"/>
                  </a:lnTo>
                  <a:lnTo>
                    <a:pt x="862" y="266"/>
                  </a:lnTo>
                  <a:lnTo>
                    <a:pt x="862" y="266"/>
                  </a:lnTo>
                  <a:lnTo>
                    <a:pt x="862" y="266"/>
                  </a:lnTo>
                  <a:lnTo>
                    <a:pt x="862" y="266"/>
                  </a:lnTo>
                  <a:lnTo>
                    <a:pt x="860" y="264"/>
                  </a:lnTo>
                  <a:lnTo>
                    <a:pt x="860" y="264"/>
                  </a:lnTo>
                  <a:lnTo>
                    <a:pt x="862" y="264"/>
                  </a:lnTo>
                  <a:lnTo>
                    <a:pt x="862" y="264"/>
                  </a:lnTo>
                  <a:lnTo>
                    <a:pt x="862" y="264"/>
                  </a:lnTo>
                  <a:lnTo>
                    <a:pt x="862" y="264"/>
                  </a:lnTo>
                  <a:lnTo>
                    <a:pt x="862" y="264"/>
                  </a:lnTo>
                  <a:lnTo>
                    <a:pt x="862" y="264"/>
                  </a:lnTo>
                  <a:lnTo>
                    <a:pt x="862" y="262"/>
                  </a:lnTo>
                  <a:lnTo>
                    <a:pt x="862" y="262"/>
                  </a:lnTo>
                  <a:lnTo>
                    <a:pt x="862" y="262"/>
                  </a:lnTo>
                  <a:lnTo>
                    <a:pt x="862" y="262"/>
                  </a:lnTo>
                  <a:lnTo>
                    <a:pt x="862" y="260"/>
                  </a:lnTo>
                  <a:lnTo>
                    <a:pt x="862" y="260"/>
                  </a:lnTo>
                  <a:lnTo>
                    <a:pt x="864" y="260"/>
                  </a:lnTo>
                  <a:lnTo>
                    <a:pt x="864" y="260"/>
                  </a:lnTo>
                  <a:lnTo>
                    <a:pt x="864" y="260"/>
                  </a:lnTo>
                  <a:lnTo>
                    <a:pt x="862" y="258"/>
                  </a:lnTo>
                  <a:lnTo>
                    <a:pt x="862" y="258"/>
                  </a:lnTo>
                  <a:lnTo>
                    <a:pt x="862" y="260"/>
                  </a:lnTo>
                  <a:lnTo>
                    <a:pt x="860" y="260"/>
                  </a:lnTo>
                  <a:lnTo>
                    <a:pt x="858" y="260"/>
                  </a:lnTo>
                  <a:lnTo>
                    <a:pt x="858" y="260"/>
                  </a:lnTo>
                  <a:lnTo>
                    <a:pt x="858" y="258"/>
                  </a:lnTo>
                  <a:lnTo>
                    <a:pt x="858" y="258"/>
                  </a:lnTo>
                  <a:lnTo>
                    <a:pt x="858" y="256"/>
                  </a:lnTo>
                  <a:lnTo>
                    <a:pt x="854" y="256"/>
                  </a:lnTo>
                  <a:lnTo>
                    <a:pt x="854" y="258"/>
                  </a:lnTo>
                  <a:lnTo>
                    <a:pt x="854" y="258"/>
                  </a:lnTo>
                  <a:lnTo>
                    <a:pt x="854" y="258"/>
                  </a:lnTo>
                  <a:lnTo>
                    <a:pt x="854" y="258"/>
                  </a:lnTo>
                  <a:lnTo>
                    <a:pt x="852" y="258"/>
                  </a:lnTo>
                  <a:lnTo>
                    <a:pt x="852" y="260"/>
                  </a:lnTo>
                  <a:lnTo>
                    <a:pt x="852" y="260"/>
                  </a:lnTo>
                  <a:lnTo>
                    <a:pt x="852" y="260"/>
                  </a:lnTo>
                  <a:lnTo>
                    <a:pt x="852" y="260"/>
                  </a:lnTo>
                  <a:lnTo>
                    <a:pt x="852" y="262"/>
                  </a:lnTo>
                  <a:lnTo>
                    <a:pt x="850" y="262"/>
                  </a:lnTo>
                  <a:lnTo>
                    <a:pt x="850" y="264"/>
                  </a:lnTo>
                  <a:lnTo>
                    <a:pt x="848" y="266"/>
                  </a:lnTo>
                  <a:lnTo>
                    <a:pt x="848" y="266"/>
                  </a:lnTo>
                  <a:lnTo>
                    <a:pt x="848" y="266"/>
                  </a:lnTo>
                  <a:lnTo>
                    <a:pt x="850" y="266"/>
                  </a:lnTo>
                  <a:lnTo>
                    <a:pt x="850" y="266"/>
                  </a:lnTo>
                  <a:lnTo>
                    <a:pt x="850" y="266"/>
                  </a:lnTo>
                  <a:lnTo>
                    <a:pt x="848" y="266"/>
                  </a:lnTo>
                  <a:lnTo>
                    <a:pt x="848" y="266"/>
                  </a:lnTo>
                  <a:lnTo>
                    <a:pt x="848" y="268"/>
                  </a:lnTo>
                  <a:lnTo>
                    <a:pt x="848" y="268"/>
                  </a:lnTo>
                  <a:lnTo>
                    <a:pt x="846" y="268"/>
                  </a:lnTo>
                  <a:lnTo>
                    <a:pt x="846" y="271"/>
                  </a:lnTo>
                  <a:lnTo>
                    <a:pt x="848" y="271"/>
                  </a:lnTo>
                  <a:lnTo>
                    <a:pt x="848" y="271"/>
                  </a:lnTo>
                  <a:lnTo>
                    <a:pt x="846" y="271"/>
                  </a:lnTo>
                  <a:lnTo>
                    <a:pt x="846" y="271"/>
                  </a:lnTo>
                  <a:lnTo>
                    <a:pt x="846" y="271"/>
                  </a:lnTo>
                  <a:lnTo>
                    <a:pt x="844" y="271"/>
                  </a:lnTo>
                  <a:lnTo>
                    <a:pt x="844" y="271"/>
                  </a:lnTo>
                  <a:lnTo>
                    <a:pt x="846" y="271"/>
                  </a:lnTo>
                  <a:lnTo>
                    <a:pt x="846" y="268"/>
                  </a:lnTo>
                  <a:lnTo>
                    <a:pt x="846" y="268"/>
                  </a:lnTo>
                  <a:lnTo>
                    <a:pt x="844" y="268"/>
                  </a:lnTo>
                  <a:lnTo>
                    <a:pt x="844" y="268"/>
                  </a:lnTo>
                  <a:lnTo>
                    <a:pt x="844" y="268"/>
                  </a:lnTo>
                  <a:lnTo>
                    <a:pt x="844" y="268"/>
                  </a:lnTo>
                  <a:lnTo>
                    <a:pt x="844" y="268"/>
                  </a:lnTo>
                  <a:lnTo>
                    <a:pt x="846" y="268"/>
                  </a:lnTo>
                  <a:lnTo>
                    <a:pt x="840" y="266"/>
                  </a:lnTo>
                  <a:lnTo>
                    <a:pt x="840" y="266"/>
                  </a:lnTo>
                  <a:lnTo>
                    <a:pt x="838" y="266"/>
                  </a:lnTo>
                  <a:lnTo>
                    <a:pt x="836" y="266"/>
                  </a:lnTo>
                  <a:lnTo>
                    <a:pt x="836" y="266"/>
                  </a:lnTo>
                  <a:lnTo>
                    <a:pt x="836" y="266"/>
                  </a:lnTo>
                  <a:lnTo>
                    <a:pt x="834" y="266"/>
                  </a:lnTo>
                  <a:lnTo>
                    <a:pt x="834" y="266"/>
                  </a:lnTo>
                  <a:lnTo>
                    <a:pt x="834" y="266"/>
                  </a:lnTo>
                  <a:lnTo>
                    <a:pt x="834" y="266"/>
                  </a:lnTo>
                  <a:lnTo>
                    <a:pt x="834" y="264"/>
                  </a:lnTo>
                  <a:lnTo>
                    <a:pt x="834" y="264"/>
                  </a:lnTo>
                  <a:lnTo>
                    <a:pt x="834" y="264"/>
                  </a:lnTo>
                  <a:lnTo>
                    <a:pt x="834" y="264"/>
                  </a:lnTo>
                  <a:lnTo>
                    <a:pt x="834" y="264"/>
                  </a:lnTo>
                  <a:lnTo>
                    <a:pt x="834" y="264"/>
                  </a:lnTo>
                  <a:lnTo>
                    <a:pt x="832" y="266"/>
                  </a:lnTo>
                  <a:lnTo>
                    <a:pt x="830" y="266"/>
                  </a:lnTo>
                  <a:lnTo>
                    <a:pt x="830" y="266"/>
                  </a:lnTo>
                  <a:lnTo>
                    <a:pt x="830" y="266"/>
                  </a:lnTo>
                  <a:lnTo>
                    <a:pt x="830" y="266"/>
                  </a:lnTo>
                  <a:lnTo>
                    <a:pt x="830" y="266"/>
                  </a:lnTo>
                  <a:lnTo>
                    <a:pt x="830" y="268"/>
                  </a:lnTo>
                  <a:lnTo>
                    <a:pt x="830" y="268"/>
                  </a:lnTo>
                  <a:lnTo>
                    <a:pt x="830" y="268"/>
                  </a:lnTo>
                  <a:lnTo>
                    <a:pt x="830" y="266"/>
                  </a:lnTo>
                  <a:lnTo>
                    <a:pt x="830" y="266"/>
                  </a:lnTo>
                  <a:lnTo>
                    <a:pt x="830" y="266"/>
                  </a:lnTo>
                  <a:lnTo>
                    <a:pt x="830" y="266"/>
                  </a:lnTo>
                  <a:lnTo>
                    <a:pt x="830" y="264"/>
                  </a:lnTo>
                  <a:lnTo>
                    <a:pt x="830" y="264"/>
                  </a:lnTo>
                  <a:lnTo>
                    <a:pt x="830" y="264"/>
                  </a:lnTo>
                  <a:lnTo>
                    <a:pt x="827" y="262"/>
                  </a:lnTo>
                  <a:lnTo>
                    <a:pt x="827" y="262"/>
                  </a:lnTo>
                  <a:lnTo>
                    <a:pt x="827" y="262"/>
                  </a:lnTo>
                  <a:lnTo>
                    <a:pt x="825" y="262"/>
                  </a:lnTo>
                  <a:lnTo>
                    <a:pt x="823" y="262"/>
                  </a:lnTo>
                  <a:lnTo>
                    <a:pt x="823" y="262"/>
                  </a:lnTo>
                  <a:lnTo>
                    <a:pt x="823" y="262"/>
                  </a:lnTo>
                  <a:lnTo>
                    <a:pt x="821" y="262"/>
                  </a:lnTo>
                  <a:lnTo>
                    <a:pt x="819" y="262"/>
                  </a:lnTo>
                  <a:lnTo>
                    <a:pt x="817" y="262"/>
                  </a:lnTo>
                  <a:lnTo>
                    <a:pt x="815" y="262"/>
                  </a:lnTo>
                  <a:lnTo>
                    <a:pt x="815" y="262"/>
                  </a:lnTo>
                  <a:lnTo>
                    <a:pt x="815" y="260"/>
                  </a:lnTo>
                  <a:lnTo>
                    <a:pt x="809" y="260"/>
                  </a:lnTo>
                  <a:lnTo>
                    <a:pt x="807" y="260"/>
                  </a:lnTo>
                  <a:lnTo>
                    <a:pt x="805" y="258"/>
                  </a:lnTo>
                  <a:lnTo>
                    <a:pt x="805" y="258"/>
                  </a:lnTo>
                  <a:lnTo>
                    <a:pt x="805" y="256"/>
                  </a:lnTo>
                  <a:lnTo>
                    <a:pt x="805" y="254"/>
                  </a:lnTo>
                  <a:lnTo>
                    <a:pt x="805" y="254"/>
                  </a:lnTo>
                  <a:lnTo>
                    <a:pt x="803" y="254"/>
                  </a:lnTo>
                  <a:lnTo>
                    <a:pt x="803" y="254"/>
                  </a:lnTo>
                  <a:lnTo>
                    <a:pt x="803" y="254"/>
                  </a:lnTo>
                  <a:lnTo>
                    <a:pt x="803" y="254"/>
                  </a:lnTo>
                  <a:lnTo>
                    <a:pt x="803" y="254"/>
                  </a:lnTo>
                  <a:lnTo>
                    <a:pt x="803" y="254"/>
                  </a:lnTo>
                  <a:lnTo>
                    <a:pt x="803" y="254"/>
                  </a:lnTo>
                  <a:lnTo>
                    <a:pt x="801" y="254"/>
                  </a:lnTo>
                  <a:lnTo>
                    <a:pt x="799" y="254"/>
                  </a:lnTo>
                  <a:lnTo>
                    <a:pt x="799" y="252"/>
                  </a:lnTo>
                  <a:lnTo>
                    <a:pt x="801" y="254"/>
                  </a:lnTo>
                  <a:lnTo>
                    <a:pt x="801" y="252"/>
                  </a:lnTo>
                  <a:lnTo>
                    <a:pt x="801" y="252"/>
                  </a:lnTo>
                  <a:lnTo>
                    <a:pt x="801" y="252"/>
                  </a:lnTo>
                  <a:lnTo>
                    <a:pt x="803" y="252"/>
                  </a:lnTo>
                  <a:lnTo>
                    <a:pt x="803" y="252"/>
                  </a:lnTo>
                  <a:lnTo>
                    <a:pt x="805" y="252"/>
                  </a:lnTo>
                  <a:lnTo>
                    <a:pt x="805" y="250"/>
                  </a:lnTo>
                  <a:lnTo>
                    <a:pt x="807" y="250"/>
                  </a:lnTo>
                  <a:lnTo>
                    <a:pt x="805" y="250"/>
                  </a:lnTo>
                  <a:lnTo>
                    <a:pt x="805" y="248"/>
                  </a:lnTo>
                  <a:lnTo>
                    <a:pt x="805" y="248"/>
                  </a:lnTo>
                  <a:lnTo>
                    <a:pt x="807" y="248"/>
                  </a:lnTo>
                  <a:lnTo>
                    <a:pt x="805" y="248"/>
                  </a:lnTo>
                  <a:lnTo>
                    <a:pt x="805" y="246"/>
                  </a:lnTo>
                  <a:lnTo>
                    <a:pt x="807" y="246"/>
                  </a:lnTo>
                  <a:lnTo>
                    <a:pt x="807" y="246"/>
                  </a:lnTo>
                  <a:lnTo>
                    <a:pt x="807" y="244"/>
                  </a:lnTo>
                  <a:lnTo>
                    <a:pt x="807" y="244"/>
                  </a:lnTo>
                  <a:lnTo>
                    <a:pt x="807" y="244"/>
                  </a:lnTo>
                  <a:lnTo>
                    <a:pt x="807" y="244"/>
                  </a:lnTo>
                  <a:lnTo>
                    <a:pt x="807" y="242"/>
                  </a:lnTo>
                  <a:lnTo>
                    <a:pt x="807" y="242"/>
                  </a:lnTo>
                  <a:lnTo>
                    <a:pt x="809" y="240"/>
                  </a:lnTo>
                  <a:lnTo>
                    <a:pt x="809" y="240"/>
                  </a:lnTo>
                  <a:lnTo>
                    <a:pt x="809" y="240"/>
                  </a:lnTo>
                  <a:lnTo>
                    <a:pt x="809" y="238"/>
                  </a:lnTo>
                  <a:lnTo>
                    <a:pt x="809" y="238"/>
                  </a:lnTo>
                  <a:lnTo>
                    <a:pt x="809" y="236"/>
                  </a:lnTo>
                  <a:lnTo>
                    <a:pt x="809" y="236"/>
                  </a:lnTo>
                  <a:lnTo>
                    <a:pt x="807" y="236"/>
                  </a:lnTo>
                  <a:lnTo>
                    <a:pt x="807" y="236"/>
                  </a:lnTo>
                  <a:lnTo>
                    <a:pt x="807" y="234"/>
                  </a:lnTo>
                  <a:lnTo>
                    <a:pt x="807" y="234"/>
                  </a:lnTo>
                  <a:lnTo>
                    <a:pt x="813" y="236"/>
                  </a:lnTo>
                  <a:lnTo>
                    <a:pt x="813" y="236"/>
                  </a:lnTo>
                  <a:lnTo>
                    <a:pt x="811" y="234"/>
                  </a:lnTo>
                  <a:lnTo>
                    <a:pt x="805" y="234"/>
                  </a:lnTo>
                  <a:lnTo>
                    <a:pt x="801" y="232"/>
                  </a:lnTo>
                  <a:lnTo>
                    <a:pt x="795" y="232"/>
                  </a:lnTo>
                  <a:lnTo>
                    <a:pt x="791" y="234"/>
                  </a:lnTo>
                  <a:lnTo>
                    <a:pt x="791" y="234"/>
                  </a:lnTo>
                  <a:lnTo>
                    <a:pt x="786" y="236"/>
                  </a:lnTo>
                  <a:lnTo>
                    <a:pt x="784" y="238"/>
                  </a:lnTo>
                  <a:lnTo>
                    <a:pt x="784" y="238"/>
                  </a:lnTo>
                  <a:lnTo>
                    <a:pt x="784" y="238"/>
                  </a:lnTo>
                  <a:lnTo>
                    <a:pt x="784" y="238"/>
                  </a:lnTo>
                  <a:lnTo>
                    <a:pt x="784" y="238"/>
                  </a:lnTo>
                  <a:lnTo>
                    <a:pt x="784" y="238"/>
                  </a:lnTo>
                  <a:lnTo>
                    <a:pt x="784" y="238"/>
                  </a:lnTo>
                  <a:lnTo>
                    <a:pt x="782" y="240"/>
                  </a:lnTo>
                  <a:lnTo>
                    <a:pt x="782" y="240"/>
                  </a:lnTo>
                  <a:lnTo>
                    <a:pt x="782" y="240"/>
                  </a:lnTo>
                  <a:lnTo>
                    <a:pt x="782" y="240"/>
                  </a:lnTo>
                  <a:lnTo>
                    <a:pt x="782" y="240"/>
                  </a:lnTo>
                  <a:lnTo>
                    <a:pt x="782" y="238"/>
                  </a:lnTo>
                  <a:lnTo>
                    <a:pt x="782" y="238"/>
                  </a:lnTo>
                  <a:lnTo>
                    <a:pt x="782" y="238"/>
                  </a:lnTo>
                  <a:lnTo>
                    <a:pt x="782" y="238"/>
                  </a:lnTo>
                  <a:lnTo>
                    <a:pt x="782" y="238"/>
                  </a:lnTo>
                  <a:lnTo>
                    <a:pt x="782" y="238"/>
                  </a:lnTo>
                  <a:lnTo>
                    <a:pt x="778" y="238"/>
                  </a:lnTo>
                  <a:lnTo>
                    <a:pt x="776" y="238"/>
                  </a:lnTo>
                  <a:lnTo>
                    <a:pt x="776" y="238"/>
                  </a:lnTo>
                  <a:lnTo>
                    <a:pt x="774" y="238"/>
                  </a:lnTo>
                  <a:lnTo>
                    <a:pt x="766" y="242"/>
                  </a:lnTo>
                  <a:lnTo>
                    <a:pt x="764" y="244"/>
                  </a:lnTo>
                  <a:lnTo>
                    <a:pt x="764" y="244"/>
                  </a:lnTo>
                  <a:lnTo>
                    <a:pt x="764" y="246"/>
                  </a:lnTo>
                  <a:lnTo>
                    <a:pt x="764" y="246"/>
                  </a:lnTo>
                  <a:lnTo>
                    <a:pt x="764" y="246"/>
                  </a:lnTo>
                  <a:lnTo>
                    <a:pt x="766" y="246"/>
                  </a:lnTo>
                  <a:lnTo>
                    <a:pt x="766" y="248"/>
                  </a:lnTo>
                  <a:lnTo>
                    <a:pt x="768" y="250"/>
                  </a:lnTo>
                  <a:lnTo>
                    <a:pt x="770" y="250"/>
                  </a:lnTo>
                  <a:lnTo>
                    <a:pt x="770" y="250"/>
                  </a:lnTo>
                  <a:lnTo>
                    <a:pt x="770" y="252"/>
                  </a:lnTo>
                  <a:lnTo>
                    <a:pt x="766" y="252"/>
                  </a:lnTo>
                  <a:lnTo>
                    <a:pt x="758" y="250"/>
                  </a:lnTo>
                  <a:lnTo>
                    <a:pt x="758" y="248"/>
                  </a:lnTo>
                  <a:lnTo>
                    <a:pt x="758" y="248"/>
                  </a:lnTo>
                  <a:lnTo>
                    <a:pt x="758" y="248"/>
                  </a:lnTo>
                  <a:lnTo>
                    <a:pt x="758" y="248"/>
                  </a:lnTo>
                  <a:lnTo>
                    <a:pt x="758" y="248"/>
                  </a:lnTo>
                  <a:lnTo>
                    <a:pt x="756" y="248"/>
                  </a:lnTo>
                  <a:lnTo>
                    <a:pt x="754" y="246"/>
                  </a:lnTo>
                  <a:lnTo>
                    <a:pt x="754" y="246"/>
                  </a:lnTo>
                  <a:lnTo>
                    <a:pt x="754" y="248"/>
                  </a:lnTo>
                  <a:lnTo>
                    <a:pt x="752" y="248"/>
                  </a:lnTo>
                  <a:lnTo>
                    <a:pt x="750" y="248"/>
                  </a:lnTo>
                  <a:lnTo>
                    <a:pt x="750" y="248"/>
                  </a:lnTo>
                  <a:lnTo>
                    <a:pt x="743" y="252"/>
                  </a:lnTo>
                  <a:lnTo>
                    <a:pt x="743" y="252"/>
                  </a:lnTo>
                  <a:lnTo>
                    <a:pt x="741" y="254"/>
                  </a:lnTo>
                  <a:lnTo>
                    <a:pt x="741" y="254"/>
                  </a:lnTo>
                  <a:lnTo>
                    <a:pt x="741" y="254"/>
                  </a:lnTo>
                  <a:lnTo>
                    <a:pt x="741" y="254"/>
                  </a:lnTo>
                  <a:lnTo>
                    <a:pt x="741" y="254"/>
                  </a:lnTo>
                  <a:lnTo>
                    <a:pt x="741" y="254"/>
                  </a:lnTo>
                  <a:lnTo>
                    <a:pt x="741" y="254"/>
                  </a:lnTo>
                  <a:lnTo>
                    <a:pt x="741" y="254"/>
                  </a:lnTo>
                  <a:lnTo>
                    <a:pt x="741" y="254"/>
                  </a:lnTo>
                  <a:lnTo>
                    <a:pt x="741" y="254"/>
                  </a:lnTo>
                  <a:lnTo>
                    <a:pt x="741" y="254"/>
                  </a:lnTo>
                  <a:lnTo>
                    <a:pt x="741" y="252"/>
                  </a:lnTo>
                  <a:lnTo>
                    <a:pt x="741" y="254"/>
                  </a:lnTo>
                  <a:lnTo>
                    <a:pt x="739" y="254"/>
                  </a:lnTo>
                  <a:lnTo>
                    <a:pt x="739" y="254"/>
                  </a:lnTo>
                  <a:lnTo>
                    <a:pt x="739" y="254"/>
                  </a:lnTo>
                  <a:lnTo>
                    <a:pt x="739" y="256"/>
                  </a:lnTo>
                  <a:lnTo>
                    <a:pt x="739" y="256"/>
                  </a:lnTo>
                  <a:lnTo>
                    <a:pt x="737" y="258"/>
                  </a:lnTo>
                  <a:lnTo>
                    <a:pt x="735" y="258"/>
                  </a:lnTo>
                  <a:lnTo>
                    <a:pt x="733" y="260"/>
                  </a:lnTo>
                  <a:lnTo>
                    <a:pt x="733" y="260"/>
                  </a:lnTo>
                  <a:lnTo>
                    <a:pt x="733" y="258"/>
                  </a:lnTo>
                  <a:lnTo>
                    <a:pt x="731" y="258"/>
                  </a:lnTo>
                  <a:lnTo>
                    <a:pt x="731" y="258"/>
                  </a:lnTo>
                  <a:lnTo>
                    <a:pt x="731" y="256"/>
                  </a:lnTo>
                  <a:lnTo>
                    <a:pt x="729" y="256"/>
                  </a:lnTo>
                  <a:lnTo>
                    <a:pt x="725" y="260"/>
                  </a:lnTo>
                  <a:lnTo>
                    <a:pt x="725" y="260"/>
                  </a:lnTo>
                  <a:lnTo>
                    <a:pt x="725" y="260"/>
                  </a:lnTo>
                  <a:lnTo>
                    <a:pt x="727" y="260"/>
                  </a:lnTo>
                  <a:lnTo>
                    <a:pt x="727" y="260"/>
                  </a:lnTo>
                  <a:lnTo>
                    <a:pt x="727" y="260"/>
                  </a:lnTo>
                  <a:lnTo>
                    <a:pt x="725" y="260"/>
                  </a:lnTo>
                  <a:lnTo>
                    <a:pt x="725" y="260"/>
                  </a:lnTo>
                  <a:lnTo>
                    <a:pt x="723" y="260"/>
                  </a:lnTo>
                  <a:lnTo>
                    <a:pt x="725" y="262"/>
                  </a:lnTo>
                  <a:lnTo>
                    <a:pt x="725" y="262"/>
                  </a:lnTo>
                  <a:lnTo>
                    <a:pt x="725" y="262"/>
                  </a:lnTo>
                  <a:lnTo>
                    <a:pt x="725" y="264"/>
                  </a:lnTo>
                  <a:lnTo>
                    <a:pt x="725" y="264"/>
                  </a:lnTo>
                  <a:lnTo>
                    <a:pt x="723" y="264"/>
                  </a:lnTo>
                  <a:lnTo>
                    <a:pt x="719" y="264"/>
                  </a:lnTo>
                  <a:lnTo>
                    <a:pt x="717" y="264"/>
                  </a:lnTo>
                  <a:lnTo>
                    <a:pt x="717" y="266"/>
                  </a:lnTo>
                  <a:lnTo>
                    <a:pt x="717" y="266"/>
                  </a:lnTo>
                  <a:lnTo>
                    <a:pt x="715" y="266"/>
                  </a:lnTo>
                  <a:lnTo>
                    <a:pt x="713" y="266"/>
                  </a:lnTo>
                  <a:lnTo>
                    <a:pt x="713" y="266"/>
                  </a:lnTo>
                  <a:lnTo>
                    <a:pt x="713" y="266"/>
                  </a:lnTo>
                  <a:lnTo>
                    <a:pt x="713" y="264"/>
                  </a:lnTo>
                  <a:lnTo>
                    <a:pt x="713" y="264"/>
                  </a:lnTo>
                  <a:lnTo>
                    <a:pt x="715" y="264"/>
                  </a:lnTo>
                  <a:lnTo>
                    <a:pt x="715" y="264"/>
                  </a:lnTo>
                  <a:lnTo>
                    <a:pt x="717" y="262"/>
                  </a:lnTo>
                  <a:lnTo>
                    <a:pt x="717" y="262"/>
                  </a:lnTo>
                  <a:lnTo>
                    <a:pt x="717" y="262"/>
                  </a:lnTo>
                  <a:lnTo>
                    <a:pt x="717" y="262"/>
                  </a:lnTo>
                  <a:lnTo>
                    <a:pt x="719" y="260"/>
                  </a:lnTo>
                  <a:lnTo>
                    <a:pt x="717" y="262"/>
                  </a:lnTo>
                  <a:lnTo>
                    <a:pt x="715" y="262"/>
                  </a:lnTo>
                  <a:lnTo>
                    <a:pt x="713" y="264"/>
                  </a:lnTo>
                  <a:lnTo>
                    <a:pt x="711" y="264"/>
                  </a:lnTo>
                  <a:lnTo>
                    <a:pt x="711" y="264"/>
                  </a:lnTo>
                  <a:lnTo>
                    <a:pt x="711" y="264"/>
                  </a:lnTo>
                  <a:lnTo>
                    <a:pt x="711" y="264"/>
                  </a:lnTo>
                  <a:lnTo>
                    <a:pt x="711" y="264"/>
                  </a:lnTo>
                  <a:lnTo>
                    <a:pt x="711" y="266"/>
                  </a:lnTo>
                  <a:lnTo>
                    <a:pt x="711" y="266"/>
                  </a:lnTo>
                  <a:lnTo>
                    <a:pt x="711" y="266"/>
                  </a:lnTo>
                  <a:lnTo>
                    <a:pt x="711" y="268"/>
                  </a:lnTo>
                  <a:lnTo>
                    <a:pt x="711" y="268"/>
                  </a:lnTo>
                  <a:lnTo>
                    <a:pt x="711" y="268"/>
                  </a:lnTo>
                  <a:lnTo>
                    <a:pt x="711" y="268"/>
                  </a:lnTo>
                  <a:lnTo>
                    <a:pt x="711" y="268"/>
                  </a:lnTo>
                  <a:lnTo>
                    <a:pt x="711" y="271"/>
                  </a:lnTo>
                  <a:lnTo>
                    <a:pt x="711" y="271"/>
                  </a:lnTo>
                  <a:lnTo>
                    <a:pt x="713" y="271"/>
                  </a:lnTo>
                  <a:lnTo>
                    <a:pt x="715" y="271"/>
                  </a:lnTo>
                  <a:lnTo>
                    <a:pt x="719" y="277"/>
                  </a:lnTo>
                  <a:lnTo>
                    <a:pt x="719" y="277"/>
                  </a:lnTo>
                  <a:lnTo>
                    <a:pt x="719" y="277"/>
                  </a:lnTo>
                  <a:lnTo>
                    <a:pt x="721" y="279"/>
                  </a:lnTo>
                  <a:lnTo>
                    <a:pt x="725" y="281"/>
                  </a:lnTo>
                  <a:lnTo>
                    <a:pt x="727" y="283"/>
                  </a:lnTo>
                  <a:lnTo>
                    <a:pt x="735" y="287"/>
                  </a:lnTo>
                  <a:lnTo>
                    <a:pt x="737" y="287"/>
                  </a:lnTo>
                  <a:lnTo>
                    <a:pt x="739" y="289"/>
                  </a:lnTo>
                  <a:lnTo>
                    <a:pt x="737" y="287"/>
                  </a:lnTo>
                  <a:lnTo>
                    <a:pt x="735" y="287"/>
                  </a:lnTo>
                  <a:lnTo>
                    <a:pt x="735" y="287"/>
                  </a:lnTo>
                  <a:lnTo>
                    <a:pt x="733" y="285"/>
                  </a:lnTo>
                  <a:lnTo>
                    <a:pt x="733" y="285"/>
                  </a:lnTo>
                  <a:lnTo>
                    <a:pt x="733" y="285"/>
                  </a:lnTo>
                  <a:lnTo>
                    <a:pt x="739" y="287"/>
                  </a:lnTo>
                  <a:lnTo>
                    <a:pt x="741" y="289"/>
                  </a:lnTo>
                  <a:lnTo>
                    <a:pt x="743" y="289"/>
                  </a:lnTo>
                  <a:lnTo>
                    <a:pt x="743" y="291"/>
                  </a:lnTo>
                  <a:lnTo>
                    <a:pt x="746" y="291"/>
                  </a:lnTo>
                  <a:lnTo>
                    <a:pt x="746" y="291"/>
                  </a:lnTo>
                  <a:lnTo>
                    <a:pt x="748" y="291"/>
                  </a:lnTo>
                  <a:lnTo>
                    <a:pt x="750" y="293"/>
                  </a:lnTo>
                  <a:lnTo>
                    <a:pt x="750" y="293"/>
                  </a:lnTo>
                  <a:lnTo>
                    <a:pt x="752" y="295"/>
                  </a:lnTo>
                  <a:lnTo>
                    <a:pt x="750" y="295"/>
                  </a:lnTo>
                  <a:lnTo>
                    <a:pt x="750" y="295"/>
                  </a:lnTo>
                  <a:lnTo>
                    <a:pt x="750" y="295"/>
                  </a:lnTo>
                  <a:lnTo>
                    <a:pt x="746" y="293"/>
                  </a:lnTo>
                  <a:lnTo>
                    <a:pt x="746" y="293"/>
                  </a:lnTo>
                  <a:lnTo>
                    <a:pt x="746" y="293"/>
                  </a:lnTo>
                  <a:lnTo>
                    <a:pt x="743" y="293"/>
                  </a:lnTo>
                  <a:lnTo>
                    <a:pt x="743" y="293"/>
                  </a:lnTo>
                  <a:lnTo>
                    <a:pt x="743" y="293"/>
                  </a:lnTo>
                  <a:lnTo>
                    <a:pt x="743" y="293"/>
                  </a:lnTo>
                  <a:lnTo>
                    <a:pt x="741" y="293"/>
                  </a:lnTo>
                  <a:lnTo>
                    <a:pt x="741" y="295"/>
                  </a:lnTo>
                  <a:lnTo>
                    <a:pt x="741" y="295"/>
                  </a:lnTo>
                  <a:lnTo>
                    <a:pt x="741" y="297"/>
                  </a:lnTo>
                  <a:lnTo>
                    <a:pt x="741" y="297"/>
                  </a:lnTo>
                  <a:lnTo>
                    <a:pt x="739" y="299"/>
                  </a:lnTo>
                  <a:lnTo>
                    <a:pt x="739" y="299"/>
                  </a:lnTo>
                  <a:lnTo>
                    <a:pt x="739" y="299"/>
                  </a:lnTo>
                  <a:lnTo>
                    <a:pt x="739" y="299"/>
                  </a:lnTo>
                  <a:lnTo>
                    <a:pt x="739" y="299"/>
                  </a:lnTo>
                  <a:lnTo>
                    <a:pt x="739" y="299"/>
                  </a:lnTo>
                  <a:lnTo>
                    <a:pt x="739" y="299"/>
                  </a:lnTo>
                  <a:lnTo>
                    <a:pt x="739" y="299"/>
                  </a:lnTo>
                  <a:lnTo>
                    <a:pt x="737" y="299"/>
                  </a:lnTo>
                  <a:lnTo>
                    <a:pt x="737" y="299"/>
                  </a:lnTo>
                  <a:lnTo>
                    <a:pt x="737" y="299"/>
                  </a:lnTo>
                  <a:lnTo>
                    <a:pt x="735" y="299"/>
                  </a:lnTo>
                  <a:lnTo>
                    <a:pt x="735" y="299"/>
                  </a:lnTo>
                  <a:lnTo>
                    <a:pt x="733" y="297"/>
                  </a:lnTo>
                  <a:lnTo>
                    <a:pt x="731" y="297"/>
                  </a:lnTo>
                  <a:lnTo>
                    <a:pt x="731" y="297"/>
                  </a:lnTo>
                  <a:lnTo>
                    <a:pt x="731" y="297"/>
                  </a:lnTo>
                  <a:lnTo>
                    <a:pt x="731" y="297"/>
                  </a:lnTo>
                  <a:lnTo>
                    <a:pt x="731" y="295"/>
                  </a:lnTo>
                  <a:lnTo>
                    <a:pt x="731" y="293"/>
                  </a:lnTo>
                  <a:lnTo>
                    <a:pt x="731" y="293"/>
                  </a:lnTo>
                  <a:lnTo>
                    <a:pt x="733" y="293"/>
                  </a:lnTo>
                  <a:lnTo>
                    <a:pt x="733" y="291"/>
                  </a:lnTo>
                  <a:lnTo>
                    <a:pt x="733" y="291"/>
                  </a:lnTo>
                  <a:lnTo>
                    <a:pt x="733" y="291"/>
                  </a:lnTo>
                  <a:lnTo>
                    <a:pt x="733" y="291"/>
                  </a:lnTo>
                  <a:lnTo>
                    <a:pt x="733" y="291"/>
                  </a:lnTo>
                  <a:lnTo>
                    <a:pt x="731" y="291"/>
                  </a:lnTo>
                  <a:lnTo>
                    <a:pt x="731" y="293"/>
                  </a:lnTo>
                  <a:lnTo>
                    <a:pt x="731" y="295"/>
                  </a:lnTo>
                  <a:lnTo>
                    <a:pt x="731" y="297"/>
                  </a:lnTo>
                  <a:lnTo>
                    <a:pt x="731" y="299"/>
                  </a:lnTo>
                  <a:lnTo>
                    <a:pt x="733" y="301"/>
                  </a:lnTo>
                  <a:lnTo>
                    <a:pt x="733" y="301"/>
                  </a:lnTo>
                  <a:lnTo>
                    <a:pt x="735" y="303"/>
                  </a:lnTo>
                  <a:lnTo>
                    <a:pt x="735" y="303"/>
                  </a:lnTo>
                  <a:lnTo>
                    <a:pt x="735" y="305"/>
                  </a:lnTo>
                  <a:lnTo>
                    <a:pt x="735" y="305"/>
                  </a:lnTo>
                  <a:lnTo>
                    <a:pt x="735" y="305"/>
                  </a:lnTo>
                  <a:lnTo>
                    <a:pt x="737" y="307"/>
                  </a:lnTo>
                  <a:lnTo>
                    <a:pt x="737" y="309"/>
                  </a:lnTo>
                  <a:lnTo>
                    <a:pt x="739" y="312"/>
                  </a:lnTo>
                  <a:lnTo>
                    <a:pt x="739" y="312"/>
                  </a:lnTo>
                  <a:lnTo>
                    <a:pt x="737" y="309"/>
                  </a:lnTo>
                  <a:lnTo>
                    <a:pt x="737" y="309"/>
                  </a:lnTo>
                  <a:lnTo>
                    <a:pt x="737" y="309"/>
                  </a:lnTo>
                  <a:lnTo>
                    <a:pt x="739" y="309"/>
                  </a:lnTo>
                  <a:lnTo>
                    <a:pt x="739" y="312"/>
                  </a:lnTo>
                  <a:lnTo>
                    <a:pt x="739" y="312"/>
                  </a:lnTo>
                  <a:lnTo>
                    <a:pt x="739" y="312"/>
                  </a:lnTo>
                  <a:lnTo>
                    <a:pt x="739" y="314"/>
                  </a:lnTo>
                  <a:lnTo>
                    <a:pt x="739" y="314"/>
                  </a:lnTo>
                  <a:lnTo>
                    <a:pt x="739" y="316"/>
                  </a:lnTo>
                  <a:lnTo>
                    <a:pt x="739" y="316"/>
                  </a:lnTo>
                  <a:lnTo>
                    <a:pt x="739" y="316"/>
                  </a:lnTo>
                  <a:lnTo>
                    <a:pt x="739" y="316"/>
                  </a:lnTo>
                  <a:lnTo>
                    <a:pt x="739" y="316"/>
                  </a:lnTo>
                  <a:lnTo>
                    <a:pt x="737" y="316"/>
                  </a:lnTo>
                  <a:lnTo>
                    <a:pt x="737" y="316"/>
                  </a:lnTo>
                  <a:lnTo>
                    <a:pt x="737" y="316"/>
                  </a:lnTo>
                  <a:lnTo>
                    <a:pt x="737" y="318"/>
                  </a:lnTo>
                  <a:lnTo>
                    <a:pt x="737" y="318"/>
                  </a:lnTo>
                  <a:lnTo>
                    <a:pt x="737" y="320"/>
                  </a:lnTo>
                  <a:lnTo>
                    <a:pt x="737" y="320"/>
                  </a:lnTo>
                  <a:lnTo>
                    <a:pt x="737" y="322"/>
                  </a:lnTo>
                  <a:lnTo>
                    <a:pt x="737" y="326"/>
                  </a:lnTo>
                  <a:lnTo>
                    <a:pt x="741" y="328"/>
                  </a:lnTo>
                  <a:lnTo>
                    <a:pt x="746" y="330"/>
                  </a:lnTo>
                  <a:lnTo>
                    <a:pt x="748" y="332"/>
                  </a:lnTo>
                  <a:lnTo>
                    <a:pt x="758" y="336"/>
                  </a:lnTo>
                  <a:lnTo>
                    <a:pt x="766" y="340"/>
                  </a:lnTo>
                  <a:lnTo>
                    <a:pt x="770" y="340"/>
                  </a:lnTo>
                  <a:lnTo>
                    <a:pt x="772" y="340"/>
                  </a:lnTo>
                  <a:lnTo>
                    <a:pt x="772" y="340"/>
                  </a:lnTo>
                  <a:lnTo>
                    <a:pt x="770" y="340"/>
                  </a:lnTo>
                  <a:lnTo>
                    <a:pt x="770" y="340"/>
                  </a:lnTo>
                  <a:lnTo>
                    <a:pt x="768" y="340"/>
                  </a:lnTo>
                  <a:lnTo>
                    <a:pt x="768" y="340"/>
                  </a:lnTo>
                  <a:lnTo>
                    <a:pt x="768" y="338"/>
                  </a:lnTo>
                  <a:lnTo>
                    <a:pt x="768" y="338"/>
                  </a:lnTo>
                  <a:lnTo>
                    <a:pt x="768" y="338"/>
                  </a:lnTo>
                  <a:lnTo>
                    <a:pt x="768" y="338"/>
                  </a:lnTo>
                  <a:lnTo>
                    <a:pt x="768" y="338"/>
                  </a:lnTo>
                  <a:lnTo>
                    <a:pt x="768" y="338"/>
                  </a:lnTo>
                  <a:lnTo>
                    <a:pt x="768" y="338"/>
                  </a:lnTo>
                  <a:lnTo>
                    <a:pt x="768" y="336"/>
                  </a:lnTo>
                  <a:lnTo>
                    <a:pt x="768" y="336"/>
                  </a:lnTo>
                  <a:lnTo>
                    <a:pt x="768" y="336"/>
                  </a:lnTo>
                  <a:lnTo>
                    <a:pt x="768" y="336"/>
                  </a:lnTo>
                  <a:lnTo>
                    <a:pt x="768" y="336"/>
                  </a:lnTo>
                  <a:lnTo>
                    <a:pt x="770" y="336"/>
                  </a:lnTo>
                  <a:lnTo>
                    <a:pt x="770" y="338"/>
                  </a:lnTo>
                  <a:lnTo>
                    <a:pt x="768" y="338"/>
                  </a:lnTo>
                  <a:lnTo>
                    <a:pt x="770" y="338"/>
                  </a:lnTo>
                  <a:lnTo>
                    <a:pt x="770" y="338"/>
                  </a:lnTo>
                  <a:lnTo>
                    <a:pt x="772" y="338"/>
                  </a:lnTo>
                  <a:lnTo>
                    <a:pt x="774" y="338"/>
                  </a:lnTo>
                  <a:lnTo>
                    <a:pt x="774" y="338"/>
                  </a:lnTo>
                  <a:lnTo>
                    <a:pt x="772" y="338"/>
                  </a:lnTo>
                  <a:lnTo>
                    <a:pt x="772" y="338"/>
                  </a:lnTo>
                  <a:lnTo>
                    <a:pt x="774" y="338"/>
                  </a:lnTo>
                  <a:lnTo>
                    <a:pt x="782" y="336"/>
                  </a:lnTo>
                  <a:lnTo>
                    <a:pt x="784" y="336"/>
                  </a:lnTo>
                  <a:lnTo>
                    <a:pt x="780" y="336"/>
                  </a:lnTo>
                  <a:lnTo>
                    <a:pt x="791" y="338"/>
                  </a:lnTo>
                  <a:lnTo>
                    <a:pt x="795" y="338"/>
                  </a:lnTo>
                  <a:lnTo>
                    <a:pt x="797" y="338"/>
                  </a:lnTo>
                  <a:lnTo>
                    <a:pt x="801" y="340"/>
                  </a:lnTo>
                  <a:lnTo>
                    <a:pt x="803" y="342"/>
                  </a:lnTo>
                  <a:lnTo>
                    <a:pt x="803" y="342"/>
                  </a:lnTo>
                  <a:lnTo>
                    <a:pt x="805" y="344"/>
                  </a:lnTo>
                  <a:lnTo>
                    <a:pt x="805" y="344"/>
                  </a:lnTo>
                  <a:lnTo>
                    <a:pt x="805" y="344"/>
                  </a:lnTo>
                  <a:lnTo>
                    <a:pt x="805" y="346"/>
                  </a:lnTo>
                  <a:lnTo>
                    <a:pt x="807" y="348"/>
                  </a:lnTo>
                  <a:lnTo>
                    <a:pt x="807" y="348"/>
                  </a:lnTo>
                  <a:lnTo>
                    <a:pt x="807" y="348"/>
                  </a:lnTo>
                  <a:lnTo>
                    <a:pt x="809" y="348"/>
                  </a:lnTo>
                  <a:lnTo>
                    <a:pt x="809" y="346"/>
                  </a:lnTo>
                  <a:lnTo>
                    <a:pt x="809" y="346"/>
                  </a:lnTo>
                  <a:lnTo>
                    <a:pt x="811" y="344"/>
                  </a:lnTo>
                  <a:lnTo>
                    <a:pt x="811" y="344"/>
                  </a:lnTo>
                  <a:lnTo>
                    <a:pt x="811" y="344"/>
                  </a:lnTo>
                  <a:lnTo>
                    <a:pt x="811" y="344"/>
                  </a:lnTo>
                  <a:lnTo>
                    <a:pt x="811" y="342"/>
                  </a:lnTo>
                  <a:lnTo>
                    <a:pt x="809" y="344"/>
                  </a:lnTo>
                  <a:lnTo>
                    <a:pt x="809" y="342"/>
                  </a:lnTo>
                  <a:lnTo>
                    <a:pt x="807" y="342"/>
                  </a:lnTo>
                  <a:lnTo>
                    <a:pt x="807" y="342"/>
                  </a:lnTo>
                  <a:lnTo>
                    <a:pt x="807" y="340"/>
                  </a:lnTo>
                  <a:lnTo>
                    <a:pt x="805" y="340"/>
                  </a:lnTo>
                  <a:lnTo>
                    <a:pt x="805" y="340"/>
                  </a:lnTo>
                  <a:lnTo>
                    <a:pt x="803" y="338"/>
                  </a:lnTo>
                  <a:lnTo>
                    <a:pt x="803" y="338"/>
                  </a:lnTo>
                  <a:lnTo>
                    <a:pt x="803" y="338"/>
                  </a:lnTo>
                  <a:lnTo>
                    <a:pt x="805" y="338"/>
                  </a:lnTo>
                  <a:lnTo>
                    <a:pt x="807" y="336"/>
                  </a:lnTo>
                  <a:lnTo>
                    <a:pt x="807" y="336"/>
                  </a:lnTo>
                  <a:lnTo>
                    <a:pt x="809" y="336"/>
                  </a:lnTo>
                  <a:lnTo>
                    <a:pt x="809" y="338"/>
                  </a:lnTo>
                  <a:lnTo>
                    <a:pt x="809" y="338"/>
                  </a:lnTo>
                  <a:lnTo>
                    <a:pt x="811" y="340"/>
                  </a:lnTo>
                  <a:lnTo>
                    <a:pt x="811" y="340"/>
                  </a:lnTo>
                  <a:lnTo>
                    <a:pt x="811" y="340"/>
                  </a:lnTo>
                  <a:lnTo>
                    <a:pt x="811" y="340"/>
                  </a:lnTo>
                  <a:lnTo>
                    <a:pt x="811" y="342"/>
                  </a:lnTo>
                  <a:lnTo>
                    <a:pt x="811" y="342"/>
                  </a:lnTo>
                  <a:lnTo>
                    <a:pt x="813" y="342"/>
                  </a:lnTo>
                  <a:lnTo>
                    <a:pt x="813" y="342"/>
                  </a:lnTo>
                  <a:lnTo>
                    <a:pt x="813" y="342"/>
                  </a:lnTo>
                  <a:lnTo>
                    <a:pt x="813" y="342"/>
                  </a:lnTo>
                  <a:lnTo>
                    <a:pt x="813" y="342"/>
                  </a:lnTo>
                  <a:lnTo>
                    <a:pt x="813" y="344"/>
                  </a:lnTo>
                  <a:lnTo>
                    <a:pt x="815" y="344"/>
                  </a:lnTo>
                  <a:lnTo>
                    <a:pt x="815" y="344"/>
                  </a:lnTo>
                  <a:lnTo>
                    <a:pt x="815" y="346"/>
                  </a:lnTo>
                  <a:lnTo>
                    <a:pt x="815" y="344"/>
                  </a:lnTo>
                  <a:lnTo>
                    <a:pt x="815" y="346"/>
                  </a:lnTo>
                  <a:lnTo>
                    <a:pt x="813" y="346"/>
                  </a:lnTo>
                  <a:lnTo>
                    <a:pt x="815" y="346"/>
                  </a:lnTo>
                  <a:lnTo>
                    <a:pt x="815" y="348"/>
                  </a:lnTo>
                  <a:lnTo>
                    <a:pt x="815" y="348"/>
                  </a:lnTo>
                  <a:lnTo>
                    <a:pt x="815" y="350"/>
                  </a:lnTo>
                  <a:lnTo>
                    <a:pt x="815" y="350"/>
                  </a:lnTo>
                  <a:lnTo>
                    <a:pt x="815" y="350"/>
                  </a:lnTo>
                  <a:lnTo>
                    <a:pt x="815" y="352"/>
                  </a:lnTo>
                  <a:lnTo>
                    <a:pt x="815" y="352"/>
                  </a:lnTo>
                  <a:lnTo>
                    <a:pt x="815" y="352"/>
                  </a:lnTo>
                  <a:lnTo>
                    <a:pt x="815" y="352"/>
                  </a:lnTo>
                  <a:lnTo>
                    <a:pt x="817" y="352"/>
                  </a:lnTo>
                  <a:lnTo>
                    <a:pt x="819" y="350"/>
                  </a:lnTo>
                  <a:lnTo>
                    <a:pt x="819" y="350"/>
                  </a:lnTo>
                  <a:lnTo>
                    <a:pt x="819" y="350"/>
                  </a:lnTo>
                  <a:lnTo>
                    <a:pt x="819" y="348"/>
                  </a:lnTo>
                  <a:lnTo>
                    <a:pt x="819" y="348"/>
                  </a:lnTo>
                  <a:lnTo>
                    <a:pt x="819" y="348"/>
                  </a:lnTo>
                  <a:lnTo>
                    <a:pt x="819" y="348"/>
                  </a:lnTo>
                  <a:lnTo>
                    <a:pt x="819" y="346"/>
                  </a:lnTo>
                  <a:lnTo>
                    <a:pt x="819" y="346"/>
                  </a:lnTo>
                  <a:lnTo>
                    <a:pt x="819" y="344"/>
                  </a:lnTo>
                  <a:lnTo>
                    <a:pt x="821" y="344"/>
                  </a:lnTo>
                  <a:lnTo>
                    <a:pt x="821" y="344"/>
                  </a:lnTo>
                  <a:lnTo>
                    <a:pt x="823" y="342"/>
                  </a:lnTo>
                  <a:lnTo>
                    <a:pt x="827" y="340"/>
                  </a:lnTo>
                  <a:lnTo>
                    <a:pt x="827" y="340"/>
                  </a:lnTo>
                  <a:lnTo>
                    <a:pt x="830" y="340"/>
                  </a:lnTo>
                  <a:lnTo>
                    <a:pt x="830" y="340"/>
                  </a:lnTo>
                  <a:lnTo>
                    <a:pt x="830" y="338"/>
                  </a:lnTo>
                  <a:lnTo>
                    <a:pt x="830" y="338"/>
                  </a:lnTo>
                  <a:lnTo>
                    <a:pt x="832" y="336"/>
                  </a:lnTo>
                  <a:lnTo>
                    <a:pt x="832" y="336"/>
                  </a:lnTo>
                  <a:lnTo>
                    <a:pt x="834" y="336"/>
                  </a:lnTo>
                  <a:lnTo>
                    <a:pt x="834" y="336"/>
                  </a:lnTo>
                  <a:lnTo>
                    <a:pt x="832" y="336"/>
                  </a:lnTo>
                  <a:lnTo>
                    <a:pt x="832" y="336"/>
                  </a:lnTo>
                  <a:lnTo>
                    <a:pt x="834" y="336"/>
                  </a:lnTo>
                  <a:lnTo>
                    <a:pt x="836" y="336"/>
                  </a:lnTo>
                  <a:lnTo>
                    <a:pt x="836" y="336"/>
                  </a:lnTo>
                  <a:lnTo>
                    <a:pt x="838" y="336"/>
                  </a:lnTo>
                  <a:lnTo>
                    <a:pt x="838" y="336"/>
                  </a:lnTo>
                  <a:lnTo>
                    <a:pt x="838" y="336"/>
                  </a:lnTo>
                  <a:lnTo>
                    <a:pt x="838" y="336"/>
                  </a:lnTo>
                  <a:lnTo>
                    <a:pt x="838" y="336"/>
                  </a:lnTo>
                  <a:lnTo>
                    <a:pt x="840" y="334"/>
                  </a:lnTo>
                  <a:lnTo>
                    <a:pt x="840" y="334"/>
                  </a:lnTo>
                  <a:lnTo>
                    <a:pt x="838" y="334"/>
                  </a:lnTo>
                  <a:lnTo>
                    <a:pt x="838" y="336"/>
                  </a:lnTo>
                  <a:lnTo>
                    <a:pt x="838" y="336"/>
                  </a:lnTo>
                  <a:lnTo>
                    <a:pt x="836" y="336"/>
                  </a:lnTo>
                  <a:lnTo>
                    <a:pt x="836" y="336"/>
                  </a:lnTo>
                  <a:lnTo>
                    <a:pt x="838" y="334"/>
                  </a:lnTo>
                  <a:lnTo>
                    <a:pt x="842" y="332"/>
                  </a:lnTo>
                  <a:lnTo>
                    <a:pt x="842" y="332"/>
                  </a:lnTo>
                  <a:lnTo>
                    <a:pt x="840" y="332"/>
                  </a:lnTo>
                  <a:lnTo>
                    <a:pt x="840" y="332"/>
                  </a:lnTo>
                  <a:lnTo>
                    <a:pt x="842" y="332"/>
                  </a:lnTo>
                  <a:lnTo>
                    <a:pt x="842" y="332"/>
                  </a:lnTo>
                  <a:lnTo>
                    <a:pt x="842" y="334"/>
                  </a:lnTo>
                  <a:lnTo>
                    <a:pt x="844" y="334"/>
                  </a:lnTo>
                  <a:lnTo>
                    <a:pt x="844" y="334"/>
                  </a:lnTo>
                  <a:lnTo>
                    <a:pt x="844" y="336"/>
                  </a:lnTo>
                  <a:lnTo>
                    <a:pt x="846" y="336"/>
                  </a:lnTo>
                  <a:lnTo>
                    <a:pt x="846" y="336"/>
                  </a:lnTo>
                  <a:lnTo>
                    <a:pt x="846" y="334"/>
                  </a:lnTo>
                  <a:lnTo>
                    <a:pt x="846" y="334"/>
                  </a:lnTo>
                  <a:lnTo>
                    <a:pt x="846" y="334"/>
                  </a:lnTo>
                  <a:lnTo>
                    <a:pt x="848" y="334"/>
                  </a:lnTo>
                  <a:lnTo>
                    <a:pt x="848" y="334"/>
                  </a:lnTo>
                  <a:lnTo>
                    <a:pt x="848" y="334"/>
                  </a:lnTo>
                  <a:lnTo>
                    <a:pt x="848" y="334"/>
                  </a:lnTo>
                  <a:lnTo>
                    <a:pt x="850" y="334"/>
                  </a:lnTo>
                  <a:lnTo>
                    <a:pt x="850" y="332"/>
                  </a:lnTo>
                  <a:lnTo>
                    <a:pt x="850" y="332"/>
                  </a:lnTo>
                  <a:lnTo>
                    <a:pt x="850" y="332"/>
                  </a:lnTo>
                  <a:lnTo>
                    <a:pt x="850" y="332"/>
                  </a:lnTo>
                  <a:lnTo>
                    <a:pt x="850" y="332"/>
                  </a:lnTo>
                  <a:lnTo>
                    <a:pt x="850" y="332"/>
                  </a:lnTo>
                  <a:lnTo>
                    <a:pt x="850" y="330"/>
                  </a:lnTo>
                  <a:lnTo>
                    <a:pt x="852" y="330"/>
                  </a:lnTo>
                  <a:lnTo>
                    <a:pt x="852" y="328"/>
                  </a:lnTo>
                  <a:lnTo>
                    <a:pt x="854" y="328"/>
                  </a:lnTo>
                  <a:lnTo>
                    <a:pt x="854" y="328"/>
                  </a:lnTo>
                  <a:lnTo>
                    <a:pt x="854" y="326"/>
                  </a:lnTo>
                  <a:lnTo>
                    <a:pt x="856" y="328"/>
                  </a:lnTo>
                  <a:lnTo>
                    <a:pt x="856" y="328"/>
                  </a:lnTo>
                  <a:lnTo>
                    <a:pt x="856" y="326"/>
                  </a:lnTo>
                  <a:lnTo>
                    <a:pt x="856" y="326"/>
                  </a:lnTo>
                  <a:lnTo>
                    <a:pt x="858" y="326"/>
                  </a:lnTo>
                  <a:lnTo>
                    <a:pt x="858" y="326"/>
                  </a:lnTo>
                  <a:lnTo>
                    <a:pt x="858" y="326"/>
                  </a:lnTo>
                  <a:lnTo>
                    <a:pt x="858" y="328"/>
                  </a:lnTo>
                  <a:lnTo>
                    <a:pt x="858" y="328"/>
                  </a:lnTo>
                  <a:lnTo>
                    <a:pt x="858" y="328"/>
                  </a:lnTo>
                  <a:lnTo>
                    <a:pt x="856" y="328"/>
                  </a:lnTo>
                  <a:lnTo>
                    <a:pt x="856" y="328"/>
                  </a:lnTo>
                  <a:lnTo>
                    <a:pt x="856" y="328"/>
                  </a:lnTo>
                  <a:lnTo>
                    <a:pt x="854" y="328"/>
                  </a:lnTo>
                  <a:lnTo>
                    <a:pt x="854" y="328"/>
                  </a:lnTo>
                  <a:lnTo>
                    <a:pt x="856" y="330"/>
                  </a:lnTo>
                  <a:lnTo>
                    <a:pt x="858" y="332"/>
                  </a:lnTo>
                  <a:lnTo>
                    <a:pt x="858" y="332"/>
                  </a:lnTo>
                  <a:lnTo>
                    <a:pt x="860" y="334"/>
                  </a:lnTo>
                  <a:lnTo>
                    <a:pt x="860" y="334"/>
                  </a:lnTo>
                  <a:lnTo>
                    <a:pt x="860" y="334"/>
                  </a:lnTo>
                  <a:lnTo>
                    <a:pt x="860" y="336"/>
                  </a:lnTo>
                  <a:lnTo>
                    <a:pt x="860" y="338"/>
                  </a:lnTo>
                  <a:lnTo>
                    <a:pt x="862" y="338"/>
                  </a:lnTo>
                  <a:lnTo>
                    <a:pt x="862" y="338"/>
                  </a:lnTo>
                  <a:lnTo>
                    <a:pt x="862" y="338"/>
                  </a:lnTo>
                  <a:lnTo>
                    <a:pt x="862" y="340"/>
                  </a:lnTo>
                  <a:lnTo>
                    <a:pt x="862" y="340"/>
                  </a:lnTo>
                  <a:lnTo>
                    <a:pt x="860" y="342"/>
                  </a:lnTo>
                  <a:lnTo>
                    <a:pt x="860" y="344"/>
                  </a:lnTo>
                  <a:lnTo>
                    <a:pt x="858" y="346"/>
                  </a:lnTo>
                  <a:lnTo>
                    <a:pt x="858" y="346"/>
                  </a:lnTo>
                  <a:lnTo>
                    <a:pt x="858" y="346"/>
                  </a:lnTo>
                  <a:lnTo>
                    <a:pt x="856" y="346"/>
                  </a:lnTo>
                  <a:lnTo>
                    <a:pt x="856" y="346"/>
                  </a:lnTo>
                  <a:lnTo>
                    <a:pt x="854" y="346"/>
                  </a:lnTo>
                  <a:lnTo>
                    <a:pt x="854" y="348"/>
                  </a:lnTo>
                  <a:lnTo>
                    <a:pt x="856" y="348"/>
                  </a:lnTo>
                  <a:lnTo>
                    <a:pt x="854" y="348"/>
                  </a:lnTo>
                  <a:lnTo>
                    <a:pt x="854" y="350"/>
                  </a:lnTo>
                  <a:lnTo>
                    <a:pt x="848" y="348"/>
                  </a:lnTo>
                  <a:lnTo>
                    <a:pt x="848" y="346"/>
                  </a:lnTo>
                  <a:lnTo>
                    <a:pt x="848" y="346"/>
                  </a:lnTo>
                  <a:lnTo>
                    <a:pt x="846" y="346"/>
                  </a:lnTo>
                  <a:lnTo>
                    <a:pt x="846" y="346"/>
                  </a:lnTo>
                  <a:lnTo>
                    <a:pt x="846" y="348"/>
                  </a:lnTo>
                  <a:lnTo>
                    <a:pt x="846" y="348"/>
                  </a:lnTo>
                  <a:lnTo>
                    <a:pt x="846" y="348"/>
                  </a:lnTo>
                  <a:lnTo>
                    <a:pt x="846" y="348"/>
                  </a:lnTo>
                  <a:lnTo>
                    <a:pt x="846" y="350"/>
                  </a:lnTo>
                  <a:lnTo>
                    <a:pt x="844" y="350"/>
                  </a:lnTo>
                  <a:lnTo>
                    <a:pt x="844" y="350"/>
                  </a:lnTo>
                  <a:lnTo>
                    <a:pt x="844" y="350"/>
                  </a:lnTo>
                  <a:lnTo>
                    <a:pt x="844" y="352"/>
                  </a:lnTo>
                  <a:lnTo>
                    <a:pt x="844" y="352"/>
                  </a:lnTo>
                  <a:lnTo>
                    <a:pt x="844" y="355"/>
                  </a:lnTo>
                  <a:lnTo>
                    <a:pt x="844" y="355"/>
                  </a:lnTo>
                  <a:lnTo>
                    <a:pt x="844" y="355"/>
                  </a:lnTo>
                  <a:lnTo>
                    <a:pt x="844" y="355"/>
                  </a:lnTo>
                  <a:lnTo>
                    <a:pt x="844" y="352"/>
                  </a:lnTo>
                  <a:lnTo>
                    <a:pt x="844" y="352"/>
                  </a:lnTo>
                  <a:lnTo>
                    <a:pt x="846" y="352"/>
                  </a:lnTo>
                  <a:lnTo>
                    <a:pt x="846" y="352"/>
                  </a:lnTo>
                  <a:lnTo>
                    <a:pt x="848" y="352"/>
                  </a:lnTo>
                  <a:lnTo>
                    <a:pt x="852" y="355"/>
                  </a:lnTo>
                  <a:lnTo>
                    <a:pt x="852" y="355"/>
                  </a:lnTo>
                  <a:lnTo>
                    <a:pt x="850" y="355"/>
                  </a:lnTo>
                  <a:lnTo>
                    <a:pt x="850" y="355"/>
                  </a:lnTo>
                  <a:lnTo>
                    <a:pt x="850" y="355"/>
                  </a:lnTo>
                  <a:lnTo>
                    <a:pt x="850" y="355"/>
                  </a:lnTo>
                  <a:lnTo>
                    <a:pt x="850" y="355"/>
                  </a:lnTo>
                  <a:lnTo>
                    <a:pt x="852" y="355"/>
                  </a:lnTo>
                  <a:lnTo>
                    <a:pt x="850" y="357"/>
                  </a:lnTo>
                  <a:lnTo>
                    <a:pt x="850" y="357"/>
                  </a:lnTo>
                  <a:lnTo>
                    <a:pt x="850" y="357"/>
                  </a:lnTo>
                  <a:lnTo>
                    <a:pt x="850" y="357"/>
                  </a:lnTo>
                  <a:lnTo>
                    <a:pt x="852" y="357"/>
                  </a:lnTo>
                  <a:lnTo>
                    <a:pt x="852" y="359"/>
                  </a:lnTo>
                  <a:lnTo>
                    <a:pt x="852" y="361"/>
                  </a:lnTo>
                  <a:lnTo>
                    <a:pt x="854" y="361"/>
                  </a:lnTo>
                  <a:lnTo>
                    <a:pt x="854" y="363"/>
                  </a:lnTo>
                  <a:lnTo>
                    <a:pt x="854" y="363"/>
                  </a:lnTo>
                  <a:lnTo>
                    <a:pt x="856" y="365"/>
                  </a:lnTo>
                  <a:lnTo>
                    <a:pt x="854" y="371"/>
                  </a:lnTo>
                  <a:lnTo>
                    <a:pt x="854" y="373"/>
                  </a:lnTo>
                  <a:lnTo>
                    <a:pt x="856" y="381"/>
                  </a:lnTo>
                  <a:lnTo>
                    <a:pt x="858" y="385"/>
                  </a:lnTo>
                  <a:lnTo>
                    <a:pt x="856" y="389"/>
                  </a:lnTo>
                  <a:lnTo>
                    <a:pt x="856" y="391"/>
                  </a:lnTo>
                  <a:lnTo>
                    <a:pt x="854" y="391"/>
                  </a:lnTo>
                  <a:lnTo>
                    <a:pt x="854" y="391"/>
                  </a:lnTo>
                  <a:lnTo>
                    <a:pt x="852" y="396"/>
                  </a:lnTo>
                  <a:lnTo>
                    <a:pt x="852" y="396"/>
                  </a:lnTo>
                  <a:lnTo>
                    <a:pt x="850" y="396"/>
                  </a:lnTo>
                  <a:lnTo>
                    <a:pt x="850" y="396"/>
                  </a:lnTo>
                  <a:lnTo>
                    <a:pt x="850" y="398"/>
                  </a:lnTo>
                  <a:lnTo>
                    <a:pt x="850" y="398"/>
                  </a:lnTo>
                  <a:lnTo>
                    <a:pt x="846" y="402"/>
                  </a:lnTo>
                  <a:lnTo>
                    <a:pt x="842" y="402"/>
                  </a:lnTo>
                  <a:lnTo>
                    <a:pt x="842" y="402"/>
                  </a:lnTo>
                  <a:lnTo>
                    <a:pt x="840" y="402"/>
                  </a:lnTo>
                  <a:lnTo>
                    <a:pt x="840" y="402"/>
                  </a:lnTo>
                  <a:lnTo>
                    <a:pt x="840" y="402"/>
                  </a:lnTo>
                  <a:lnTo>
                    <a:pt x="840" y="402"/>
                  </a:lnTo>
                  <a:lnTo>
                    <a:pt x="840" y="402"/>
                  </a:lnTo>
                  <a:lnTo>
                    <a:pt x="840" y="402"/>
                  </a:lnTo>
                  <a:lnTo>
                    <a:pt x="838" y="402"/>
                  </a:lnTo>
                  <a:lnTo>
                    <a:pt x="838" y="402"/>
                  </a:lnTo>
                  <a:lnTo>
                    <a:pt x="838" y="402"/>
                  </a:lnTo>
                  <a:lnTo>
                    <a:pt x="836" y="402"/>
                  </a:lnTo>
                  <a:lnTo>
                    <a:pt x="836" y="402"/>
                  </a:lnTo>
                  <a:lnTo>
                    <a:pt x="836" y="402"/>
                  </a:lnTo>
                  <a:lnTo>
                    <a:pt x="823" y="402"/>
                  </a:lnTo>
                  <a:lnTo>
                    <a:pt x="823" y="402"/>
                  </a:lnTo>
                  <a:lnTo>
                    <a:pt x="823" y="402"/>
                  </a:lnTo>
                  <a:lnTo>
                    <a:pt x="825" y="402"/>
                  </a:lnTo>
                  <a:lnTo>
                    <a:pt x="825" y="402"/>
                  </a:lnTo>
                  <a:lnTo>
                    <a:pt x="825" y="402"/>
                  </a:lnTo>
                  <a:lnTo>
                    <a:pt x="825" y="400"/>
                  </a:lnTo>
                  <a:lnTo>
                    <a:pt x="825" y="400"/>
                  </a:lnTo>
                  <a:lnTo>
                    <a:pt x="827" y="400"/>
                  </a:lnTo>
                  <a:lnTo>
                    <a:pt x="827" y="400"/>
                  </a:lnTo>
                  <a:lnTo>
                    <a:pt x="825" y="400"/>
                  </a:lnTo>
                  <a:lnTo>
                    <a:pt x="825" y="400"/>
                  </a:lnTo>
                  <a:lnTo>
                    <a:pt x="825" y="398"/>
                  </a:lnTo>
                  <a:lnTo>
                    <a:pt x="825" y="398"/>
                  </a:lnTo>
                  <a:lnTo>
                    <a:pt x="823" y="398"/>
                  </a:lnTo>
                  <a:lnTo>
                    <a:pt x="823" y="398"/>
                  </a:lnTo>
                  <a:lnTo>
                    <a:pt x="823" y="398"/>
                  </a:lnTo>
                  <a:lnTo>
                    <a:pt x="821" y="396"/>
                  </a:lnTo>
                  <a:lnTo>
                    <a:pt x="821" y="396"/>
                  </a:lnTo>
                  <a:lnTo>
                    <a:pt x="821" y="396"/>
                  </a:lnTo>
                  <a:lnTo>
                    <a:pt x="821" y="396"/>
                  </a:lnTo>
                  <a:lnTo>
                    <a:pt x="819" y="396"/>
                  </a:lnTo>
                  <a:lnTo>
                    <a:pt x="821" y="398"/>
                  </a:lnTo>
                  <a:lnTo>
                    <a:pt x="821" y="400"/>
                  </a:lnTo>
                  <a:lnTo>
                    <a:pt x="819" y="400"/>
                  </a:lnTo>
                  <a:lnTo>
                    <a:pt x="819" y="400"/>
                  </a:lnTo>
                  <a:lnTo>
                    <a:pt x="819" y="400"/>
                  </a:lnTo>
                  <a:lnTo>
                    <a:pt x="819" y="402"/>
                  </a:lnTo>
                  <a:lnTo>
                    <a:pt x="817" y="402"/>
                  </a:lnTo>
                  <a:lnTo>
                    <a:pt x="817" y="402"/>
                  </a:lnTo>
                  <a:lnTo>
                    <a:pt x="817" y="404"/>
                  </a:lnTo>
                  <a:lnTo>
                    <a:pt x="811" y="410"/>
                  </a:lnTo>
                  <a:lnTo>
                    <a:pt x="809" y="412"/>
                  </a:lnTo>
                  <a:lnTo>
                    <a:pt x="807" y="412"/>
                  </a:lnTo>
                  <a:lnTo>
                    <a:pt x="807" y="412"/>
                  </a:lnTo>
                  <a:lnTo>
                    <a:pt x="805" y="412"/>
                  </a:lnTo>
                  <a:lnTo>
                    <a:pt x="805" y="412"/>
                  </a:lnTo>
                  <a:lnTo>
                    <a:pt x="805" y="414"/>
                  </a:lnTo>
                  <a:lnTo>
                    <a:pt x="805" y="414"/>
                  </a:lnTo>
                  <a:lnTo>
                    <a:pt x="805" y="414"/>
                  </a:lnTo>
                  <a:lnTo>
                    <a:pt x="805" y="416"/>
                  </a:lnTo>
                  <a:lnTo>
                    <a:pt x="803" y="416"/>
                  </a:lnTo>
                  <a:lnTo>
                    <a:pt x="803" y="416"/>
                  </a:lnTo>
                  <a:lnTo>
                    <a:pt x="803" y="416"/>
                  </a:lnTo>
                  <a:lnTo>
                    <a:pt x="801" y="416"/>
                  </a:lnTo>
                  <a:lnTo>
                    <a:pt x="801" y="418"/>
                  </a:lnTo>
                  <a:lnTo>
                    <a:pt x="801" y="418"/>
                  </a:lnTo>
                  <a:lnTo>
                    <a:pt x="799" y="418"/>
                  </a:lnTo>
                  <a:lnTo>
                    <a:pt x="799" y="418"/>
                  </a:lnTo>
                  <a:lnTo>
                    <a:pt x="795" y="418"/>
                  </a:lnTo>
                  <a:lnTo>
                    <a:pt x="793" y="420"/>
                  </a:lnTo>
                  <a:lnTo>
                    <a:pt x="793" y="418"/>
                  </a:lnTo>
                  <a:lnTo>
                    <a:pt x="793" y="418"/>
                  </a:lnTo>
                  <a:lnTo>
                    <a:pt x="791" y="416"/>
                  </a:lnTo>
                  <a:lnTo>
                    <a:pt x="791" y="416"/>
                  </a:lnTo>
                  <a:lnTo>
                    <a:pt x="789" y="414"/>
                  </a:lnTo>
                  <a:lnTo>
                    <a:pt x="789" y="414"/>
                  </a:lnTo>
                  <a:lnTo>
                    <a:pt x="786" y="416"/>
                  </a:lnTo>
                  <a:lnTo>
                    <a:pt x="786" y="418"/>
                  </a:lnTo>
                  <a:lnTo>
                    <a:pt x="782" y="418"/>
                  </a:lnTo>
                  <a:lnTo>
                    <a:pt x="782" y="420"/>
                  </a:lnTo>
                  <a:lnTo>
                    <a:pt x="782" y="418"/>
                  </a:lnTo>
                  <a:lnTo>
                    <a:pt x="786" y="416"/>
                  </a:lnTo>
                  <a:lnTo>
                    <a:pt x="786" y="416"/>
                  </a:lnTo>
                  <a:lnTo>
                    <a:pt x="786" y="414"/>
                  </a:lnTo>
                  <a:lnTo>
                    <a:pt x="789" y="414"/>
                  </a:lnTo>
                  <a:lnTo>
                    <a:pt x="789" y="414"/>
                  </a:lnTo>
                  <a:lnTo>
                    <a:pt x="789" y="414"/>
                  </a:lnTo>
                  <a:lnTo>
                    <a:pt x="789" y="414"/>
                  </a:lnTo>
                  <a:lnTo>
                    <a:pt x="786" y="414"/>
                  </a:lnTo>
                  <a:lnTo>
                    <a:pt x="786" y="414"/>
                  </a:lnTo>
                  <a:lnTo>
                    <a:pt x="786" y="414"/>
                  </a:lnTo>
                  <a:lnTo>
                    <a:pt x="786" y="414"/>
                  </a:lnTo>
                  <a:lnTo>
                    <a:pt x="786" y="412"/>
                  </a:lnTo>
                  <a:lnTo>
                    <a:pt x="786" y="412"/>
                  </a:lnTo>
                  <a:lnTo>
                    <a:pt x="786" y="412"/>
                  </a:lnTo>
                  <a:lnTo>
                    <a:pt x="786" y="410"/>
                  </a:lnTo>
                  <a:lnTo>
                    <a:pt x="786" y="410"/>
                  </a:lnTo>
                  <a:lnTo>
                    <a:pt x="786" y="410"/>
                  </a:lnTo>
                  <a:lnTo>
                    <a:pt x="784" y="410"/>
                  </a:lnTo>
                  <a:lnTo>
                    <a:pt x="784" y="410"/>
                  </a:lnTo>
                  <a:lnTo>
                    <a:pt x="784" y="408"/>
                  </a:lnTo>
                  <a:lnTo>
                    <a:pt x="784" y="408"/>
                  </a:lnTo>
                  <a:lnTo>
                    <a:pt x="784" y="408"/>
                  </a:lnTo>
                  <a:lnTo>
                    <a:pt x="784" y="408"/>
                  </a:lnTo>
                  <a:lnTo>
                    <a:pt x="782" y="408"/>
                  </a:lnTo>
                  <a:lnTo>
                    <a:pt x="780" y="406"/>
                  </a:lnTo>
                  <a:lnTo>
                    <a:pt x="776" y="404"/>
                  </a:lnTo>
                  <a:lnTo>
                    <a:pt x="770" y="406"/>
                  </a:lnTo>
                  <a:lnTo>
                    <a:pt x="770" y="406"/>
                  </a:lnTo>
                  <a:lnTo>
                    <a:pt x="768" y="408"/>
                  </a:lnTo>
                  <a:lnTo>
                    <a:pt x="768" y="408"/>
                  </a:lnTo>
                  <a:lnTo>
                    <a:pt x="766" y="408"/>
                  </a:lnTo>
                  <a:lnTo>
                    <a:pt x="766" y="410"/>
                  </a:lnTo>
                  <a:lnTo>
                    <a:pt x="764" y="410"/>
                  </a:lnTo>
                  <a:lnTo>
                    <a:pt x="766" y="410"/>
                  </a:lnTo>
                  <a:lnTo>
                    <a:pt x="766" y="410"/>
                  </a:lnTo>
                  <a:lnTo>
                    <a:pt x="766" y="412"/>
                  </a:lnTo>
                  <a:lnTo>
                    <a:pt x="766" y="412"/>
                  </a:lnTo>
                  <a:lnTo>
                    <a:pt x="770" y="414"/>
                  </a:lnTo>
                  <a:lnTo>
                    <a:pt x="770" y="414"/>
                  </a:lnTo>
                  <a:lnTo>
                    <a:pt x="770" y="416"/>
                  </a:lnTo>
                  <a:lnTo>
                    <a:pt x="770" y="416"/>
                  </a:lnTo>
                  <a:lnTo>
                    <a:pt x="770" y="416"/>
                  </a:lnTo>
                  <a:lnTo>
                    <a:pt x="770" y="416"/>
                  </a:lnTo>
                  <a:lnTo>
                    <a:pt x="770" y="416"/>
                  </a:lnTo>
                  <a:lnTo>
                    <a:pt x="768" y="416"/>
                  </a:lnTo>
                  <a:lnTo>
                    <a:pt x="768" y="416"/>
                  </a:lnTo>
                  <a:lnTo>
                    <a:pt x="768" y="416"/>
                  </a:lnTo>
                  <a:lnTo>
                    <a:pt x="768" y="416"/>
                  </a:lnTo>
                  <a:lnTo>
                    <a:pt x="768" y="416"/>
                  </a:lnTo>
                  <a:lnTo>
                    <a:pt x="768" y="416"/>
                  </a:lnTo>
                  <a:lnTo>
                    <a:pt x="766" y="416"/>
                  </a:lnTo>
                  <a:lnTo>
                    <a:pt x="766" y="416"/>
                  </a:lnTo>
                  <a:lnTo>
                    <a:pt x="766" y="416"/>
                  </a:lnTo>
                  <a:lnTo>
                    <a:pt x="766" y="416"/>
                  </a:lnTo>
                  <a:lnTo>
                    <a:pt x="766" y="416"/>
                  </a:lnTo>
                  <a:lnTo>
                    <a:pt x="766" y="416"/>
                  </a:lnTo>
                  <a:lnTo>
                    <a:pt x="766" y="416"/>
                  </a:lnTo>
                  <a:lnTo>
                    <a:pt x="766" y="414"/>
                  </a:lnTo>
                  <a:lnTo>
                    <a:pt x="762" y="414"/>
                  </a:lnTo>
                  <a:lnTo>
                    <a:pt x="762" y="414"/>
                  </a:lnTo>
                  <a:lnTo>
                    <a:pt x="760" y="416"/>
                  </a:lnTo>
                  <a:lnTo>
                    <a:pt x="760" y="416"/>
                  </a:lnTo>
                  <a:lnTo>
                    <a:pt x="758" y="420"/>
                  </a:lnTo>
                  <a:lnTo>
                    <a:pt x="758" y="420"/>
                  </a:lnTo>
                  <a:lnTo>
                    <a:pt x="756" y="422"/>
                  </a:lnTo>
                  <a:lnTo>
                    <a:pt x="756" y="422"/>
                  </a:lnTo>
                  <a:lnTo>
                    <a:pt x="756" y="422"/>
                  </a:lnTo>
                  <a:lnTo>
                    <a:pt x="756" y="422"/>
                  </a:lnTo>
                  <a:lnTo>
                    <a:pt x="756" y="422"/>
                  </a:lnTo>
                  <a:lnTo>
                    <a:pt x="756" y="424"/>
                  </a:lnTo>
                  <a:lnTo>
                    <a:pt x="756" y="424"/>
                  </a:lnTo>
                  <a:lnTo>
                    <a:pt x="756" y="426"/>
                  </a:lnTo>
                  <a:lnTo>
                    <a:pt x="758" y="426"/>
                  </a:lnTo>
                  <a:lnTo>
                    <a:pt x="758" y="426"/>
                  </a:lnTo>
                  <a:lnTo>
                    <a:pt x="758" y="426"/>
                  </a:lnTo>
                  <a:lnTo>
                    <a:pt x="756" y="426"/>
                  </a:lnTo>
                  <a:lnTo>
                    <a:pt x="756" y="426"/>
                  </a:lnTo>
                  <a:lnTo>
                    <a:pt x="756" y="426"/>
                  </a:lnTo>
                  <a:lnTo>
                    <a:pt x="756" y="426"/>
                  </a:lnTo>
                  <a:lnTo>
                    <a:pt x="756" y="426"/>
                  </a:lnTo>
                  <a:lnTo>
                    <a:pt x="756" y="426"/>
                  </a:lnTo>
                  <a:lnTo>
                    <a:pt x="756" y="426"/>
                  </a:lnTo>
                  <a:lnTo>
                    <a:pt x="756" y="426"/>
                  </a:lnTo>
                  <a:lnTo>
                    <a:pt x="756" y="428"/>
                  </a:lnTo>
                  <a:lnTo>
                    <a:pt x="756" y="428"/>
                  </a:lnTo>
                  <a:lnTo>
                    <a:pt x="756" y="428"/>
                  </a:lnTo>
                  <a:lnTo>
                    <a:pt x="756" y="428"/>
                  </a:lnTo>
                  <a:lnTo>
                    <a:pt x="756" y="428"/>
                  </a:lnTo>
                  <a:lnTo>
                    <a:pt x="756" y="428"/>
                  </a:lnTo>
                  <a:lnTo>
                    <a:pt x="754" y="428"/>
                  </a:lnTo>
                  <a:lnTo>
                    <a:pt x="756" y="430"/>
                  </a:lnTo>
                  <a:lnTo>
                    <a:pt x="756" y="430"/>
                  </a:lnTo>
                  <a:lnTo>
                    <a:pt x="756" y="432"/>
                  </a:lnTo>
                  <a:lnTo>
                    <a:pt x="756" y="432"/>
                  </a:lnTo>
                  <a:lnTo>
                    <a:pt x="756" y="434"/>
                  </a:lnTo>
                  <a:lnTo>
                    <a:pt x="756" y="434"/>
                  </a:lnTo>
                  <a:lnTo>
                    <a:pt x="758" y="434"/>
                  </a:lnTo>
                  <a:lnTo>
                    <a:pt x="760" y="432"/>
                  </a:lnTo>
                  <a:lnTo>
                    <a:pt x="760" y="432"/>
                  </a:lnTo>
                  <a:lnTo>
                    <a:pt x="762" y="430"/>
                  </a:lnTo>
                  <a:lnTo>
                    <a:pt x="762" y="430"/>
                  </a:lnTo>
                  <a:lnTo>
                    <a:pt x="764" y="430"/>
                  </a:lnTo>
                  <a:lnTo>
                    <a:pt x="764" y="430"/>
                  </a:lnTo>
                  <a:lnTo>
                    <a:pt x="758" y="437"/>
                  </a:lnTo>
                  <a:lnTo>
                    <a:pt x="756" y="437"/>
                  </a:lnTo>
                  <a:lnTo>
                    <a:pt x="756" y="437"/>
                  </a:lnTo>
                  <a:lnTo>
                    <a:pt x="754" y="437"/>
                  </a:lnTo>
                  <a:lnTo>
                    <a:pt x="754" y="437"/>
                  </a:lnTo>
                  <a:lnTo>
                    <a:pt x="754" y="439"/>
                  </a:lnTo>
                  <a:lnTo>
                    <a:pt x="754" y="439"/>
                  </a:lnTo>
                  <a:lnTo>
                    <a:pt x="754" y="439"/>
                  </a:lnTo>
                  <a:lnTo>
                    <a:pt x="754" y="439"/>
                  </a:lnTo>
                  <a:lnTo>
                    <a:pt x="754" y="439"/>
                  </a:lnTo>
                  <a:lnTo>
                    <a:pt x="756" y="439"/>
                  </a:lnTo>
                  <a:lnTo>
                    <a:pt x="756" y="441"/>
                  </a:lnTo>
                  <a:lnTo>
                    <a:pt x="754" y="441"/>
                  </a:lnTo>
                  <a:lnTo>
                    <a:pt x="754" y="443"/>
                  </a:lnTo>
                  <a:lnTo>
                    <a:pt x="754" y="443"/>
                  </a:lnTo>
                  <a:lnTo>
                    <a:pt x="756" y="443"/>
                  </a:lnTo>
                  <a:lnTo>
                    <a:pt x="756" y="443"/>
                  </a:lnTo>
                  <a:lnTo>
                    <a:pt x="756" y="443"/>
                  </a:lnTo>
                  <a:lnTo>
                    <a:pt x="758" y="443"/>
                  </a:lnTo>
                  <a:lnTo>
                    <a:pt x="758" y="443"/>
                  </a:lnTo>
                  <a:lnTo>
                    <a:pt x="758" y="441"/>
                  </a:lnTo>
                  <a:lnTo>
                    <a:pt x="758" y="441"/>
                  </a:lnTo>
                  <a:lnTo>
                    <a:pt x="758" y="441"/>
                  </a:lnTo>
                  <a:lnTo>
                    <a:pt x="758" y="443"/>
                  </a:lnTo>
                  <a:lnTo>
                    <a:pt x="758" y="443"/>
                  </a:lnTo>
                  <a:lnTo>
                    <a:pt x="758" y="445"/>
                  </a:lnTo>
                  <a:lnTo>
                    <a:pt x="758" y="445"/>
                  </a:lnTo>
                  <a:lnTo>
                    <a:pt x="760" y="445"/>
                  </a:lnTo>
                  <a:lnTo>
                    <a:pt x="760" y="445"/>
                  </a:lnTo>
                  <a:lnTo>
                    <a:pt x="760" y="447"/>
                  </a:lnTo>
                  <a:lnTo>
                    <a:pt x="758" y="447"/>
                  </a:lnTo>
                  <a:lnTo>
                    <a:pt x="758" y="447"/>
                  </a:lnTo>
                  <a:lnTo>
                    <a:pt x="758" y="447"/>
                  </a:lnTo>
                  <a:lnTo>
                    <a:pt x="758" y="447"/>
                  </a:lnTo>
                  <a:lnTo>
                    <a:pt x="756" y="447"/>
                  </a:lnTo>
                  <a:lnTo>
                    <a:pt x="756" y="449"/>
                  </a:lnTo>
                  <a:lnTo>
                    <a:pt x="756" y="449"/>
                  </a:lnTo>
                  <a:lnTo>
                    <a:pt x="756" y="447"/>
                  </a:lnTo>
                  <a:lnTo>
                    <a:pt x="756" y="447"/>
                  </a:lnTo>
                  <a:lnTo>
                    <a:pt x="758" y="447"/>
                  </a:lnTo>
                  <a:lnTo>
                    <a:pt x="758" y="447"/>
                  </a:lnTo>
                  <a:lnTo>
                    <a:pt x="758" y="445"/>
                  </a:lnTo>
                  <a:lnTo>
                    <a:pt x="758" y="445"/>
                  </a:lnTo>
                  <a:lnTo>
                    <a:pt x="756" y="445"/>
                  </a:lnTo>
                  <a:lnTo>
                    <a:pt x="756" y="445"/>
                  </a:lnTo>
                  <a:lnTo>
                    <a:pt x="756" y="445"/>
                  </a:lnTo>
                  <a:lnTo>
                    <a:pt x="756" y="443"/>
                  </a:lnTo>
                  <a:lnTo>
                    <a:pt x="754" y="443"/>
                  </a:lnTo>
                  <a:lnTo>
                    <a:pt x="754" y="443"/>
                  </a:lnTo>
                  <a:lnTo>
                    <a:pt x="754" y="441"/>
                  </a:lnTo>
                  <a:lnTo>
                    <a:pt x="754" y="441"/>
                  </a:lnTo>
                  <a:lnTo>
                    <a:pt x="754" y="441"/>
                  </a:lnTo>
                  <a:lnTo>
                    <a:pt x="754" y="441"/>
                  </a:lnTo>
                  <a:lnTo>
                    <a:pt x="754" y="441"/>
                  </a:lnTo>
                  <a:lnTo>
                    <a:pt x="754" y="439"/>
                  </a:lnTo>
                  <a:lnTo>
                    <a:pt x="754" y="439"/>
                  </a:lnTo>
                  <a:lnTo>
                    <a:pt x="752" y="439"/>
                  </a:lnTo>
                  <a:lnTo>
                    <a:pt x="750" y="439"/>
                  </a:lnTo>
                  <a:lnTo>
                    <a:pt x="750" y="439"/>
                  </a:lnTo>
                  <a:lnTo>
                    <a:pt x="748" y="439"/>
                  </a:lnTo>
                  <a:lnTo>
                    <a:pt x="748" y="439"/>
                  </a:lnTo>
                  <a:lnTo>
                    <a:pt x="746" y="441"/>
                  </a:lnTo>
                  <a:lnTo>
                    <a:pt x="743" y="443"/>
                  </a:lnTo>
                  <a:lnTo>
                    <a:pt x="741" y="443"/>
                  </a:lnTo>
                  <a:lnTo>
                    <a:pt x="741" y="445"/>
                  </a:lnTo>
                  <a:lnTo>
                    <a:pt x="741" y="445"/>
                  </a:lnTo>
                  <a:lnTo>
                    <a:pt x="741" y="447"/>
                  </a:lnTo>
                  <a:lnTo>
                    <a:pt x="737" y="449"/>
                  </a:lnTo>
                  <a:lnTo>
                    <a:pt x="733" y="455"/>
                  </a:lnTo>
                  <a:lnTo>
                    <a:pt x="731" y="455"/>
                  </a:lnTo>
                  <a:lnTo>
                    <a:pt x="731" y="457"/>
                  </a:lnTo>
                  <a:lnTo>
                    <a:pt x="729" y="457"/>
                  </a:lnTo>
                  <a:lnTo>
                    <a:pt x="729" y="457"/>
                  </a:lnTo>
                  <a:lnTo>
                    <a:pt x="729" y="457"/>
                  </a:lnTo>
                  <a:lnTo>
                    <a:pt x="729" y="459"/>
                  </a:lnTo>
                  <a:lnTo>
                    <a:pt x="729" y="459"/>
                  </a:lnTo>
                  <a:lnTo>
                    <a:pt x="729" y="459"/>
                  </a:lnTo>
                  <a:lnTo>
                    <a:pt x="727" y="461"/>
                  </a:lnTo>
                  <a:lnTo>
                    <a:pt x="727" y="463"/>
                  </a:lnTo>
                  <a:lnTo>
                    <a:pt x="727" y="463"/>
                  </a:lnTo>
                  <a:lnTo>
                    <a:pt x="727" y="465"/>
                  </a:lnTo>
                  <a:lnTo>
                    <a:pt x="727" y="467"/>
                  </a:lnTo>
                  <a:lnTo>
                    <a:pt x="729" y="467"/>
                  </a:lnTo>
                  <a:lnTo>
                    <a:pt x="729" y="469"/>
                  </a:lnTo>
                  <a:lnTo>
                    <a:pt x="729" y="471"/>
                  </a:lnTo>
                  <a:lnTo>
                    <a:pt x="729" y="471"/>
                  </a:lnTo>
                  <a:lnTo>
                    <a:pt x="729" y="471"/>
                  </a:lnTo>
                  <a:lnTo>
                    <a:pt x="727" y="471"/>
                  </a:lnTo>
                  <a:lnTo>
                    <a:pt x="727" y="471"/>
                  </a:lnTo>
                  <a:lnTo>
                    <a:pt x="725" y="471"/>
                  </a:lnTo>
                  <a:lnTo>
                    <a:pt x="725" y="471"/>
                  </a:lnTo>
                  <a:lnTo>
                    <a:pt x="725" y="471"/>
                  </a:lnTo>
                  <a:lnTo>
                    <a:pt x="723" y="471"/>
                  </a:lnTo>
                  <a:lnTo>
                    <a:pt x="723" y="471"/>
                  </a:lnTo>
                  <a:lnTo>
                    <a:pt x="721" y="471"/>
                  </a:lnTo>
                  <a:lnTo>
                    <a:pt x="717" y="471"/>
                  </a:lnTo>
                  <a:lnTo>
                    <a:pt x="717" y="473"/>
                  </a:lnTo>
                  <a:lnTo>
                    <a:pt x="719" y="473"/>
                  </a:lnTo>
                  <a:lnTo>
                    <a:pt x="719" y="475"/>
                  </a:lnTo>
                  <a:lnTo>
                    <a:pt x="719" y="475"/>
                  </a:lnTo>
                  <a:lnTo>
                    <a:pt x="719" y="477"/>
                  </a:lnTo>
                  <a:lnTo>
                    <a:pt x="721" y="477"/>
                  </a:lnTo>
                  <a:lnTo>
                    <a:pt x="721" y="477"/>
                  </a:lnTo>
                  <a:lnTo>
                    <a:pt x="721" y="477"/>
                  </a:lnTo>
                  <a:lnTo>
                    <a:pt x="721" y="477"/>
                  </a:lnTo>
                  <a:lnTo>
                    <a:pt x="721" y="477"/>
                  </a:lnTo>
                  <a:lnTo>
                    <a:pt x="723" y="477"/>
                  </a:lnTo>
                  <a:lnTo>
                    <a:pt x="723" y="480"/>
                  </a:lnTo>
                  <a:lnTo>
                    <a:pt x="723" y="480"/>
                  </a:lnTo>
                  <a:lnTo>
                    <a:pt x="723" y="480"/>
                  </a:lnTo>
                  <a:lnTo>
                    <a:pt x="725" y="480"/>
                  </a:lnTo>
                  <a:lnTo>
                    <a:pt x="723" y="480"/>
                  </a:lnTo>
                  <a:lnTo>
                    <a:pt x="717" y="480"/>
                  </a:lnTo>
                  <a:lnTo>
                    <a:pt x="717" y="480"/>
                  </a:lnTo>
                  <a:lnTo>
                    <a:pt x="717" y="480"/>
                  </a:lnTo>
                  <a:lnTo>
                    <a:pt x="715" y="480"/>
                  </a:lnTo>
                  <a:lnTo>
                    <a:pt x="715" y="480"/>
                  </a:lnTo>
                  <a:lnTo>
                    <a:pt x="715" y="480"/>
                  </a:lnTo>
                  <a:lnTo>
                    <a:pt x="715" y="480"/>
                  </a:lnTo>
                  <a:lnTo>
                    <a:pt x="715" y="480"/>
                  </a:lnTo>
                  <a:lnTo>
                    <a:pt x="715" y="475"/>
                  </a:lnTo>
                  <a:lnTo>
                    <a:pt x="715" y="475"/>
                  </a:lnTo>
                  <a:lnTo>
                    <a:pt x="715" y="477"/>
                  </a:lnTo>
                  <a:lnTo>
                    <a:pt x="715" y="477"/>
                  </a:lnTo>
                  <a:lnTo>
                    <a:pt x="715" y="480"/>
                  </a:lnTo>
                  <a:lnTo>
                    <a:pt x="713" y="482"/>
                  </a:lnTo>
                  <a:lnTo>
                    <a:pt x="713" y="482"/>
                  </a:lnTo>
                  <a:lnTo>
                    <a:pt x="713" y="482"/>
                  </a:lnTo>
                  <a:lnTo>
                    <a:pt x="713" y="482"/>
                  </a:lnTo>
                  <a:lnTo>
                    <a:pt x="713" y="482"/>
                  </a:lnTo>
                  <a:lnTo>
                    <a:pt x="713" y="486"/>
                  </a:lnTo>
                  <a:lnTo>
                    <a:pt x="715" y="488"/>
                  </a:lnTo>
                  <a:lnTo>
                    <a:pt x="715" y="488"/>
                  </a:lnTo>
                  <a:lnTo>
                    <a:pt x="715" y="488"/>
                  </a:lnTo>
                  <a:lnTo>
                    <a:pt x="715" y="488"/>
                  </a:lnTo>
                  <a:lnTo>
                    <a:pt x="715" y="486"/>
                  </a:lnTo>
                  <a:lnTo>
                    <a:pt x="715" y="486"/>
                  </a:lnTo>
                  <a:lnTo>
                    <a:pt x="717" y="486"/>
                  </a:lnTo>
                  <a:lnTo>
                    <a:pt x="719" y="486"/>
                  </a:lnTo>
                  <a:lnTo>
                    <a:pt x="719" y="486"/>
                  </a:lnTo>
                  <a:lnTo>
                    <a:pt x="721" y="486"/>
                  </a:lnTo>
                  <a:lnTo>
                    <a:pt x="721" y="486"/>
                  </a:lnTo>
                  <a:lnTo>
                    <a:pt x="721" y="486"/>
                  </a:lnTo>
                  <a:lnTo>
                    <a:pt x="721" y="488"/>
                  </a:lnTo>
                  <a:lnTo>
                    <a:pt x="723" y="488"/>
                  </a:lnTo>
                  <a:lnTo>
                    <a:pt x="723" y="490"/>
                  </a:lnTo>
                  <a:lnTo>
                    <a:pt x="723" y="490"/>
                  </a:lnTo>
                  <a:lnTo>
                    <a:pt x="723" y="490"/>
                  </a:lnTo>
                  <a:lnTo>
                    <a:pt x="723" y="490"/>
                  </a:lnTo>
                  <a:lnTo>
                    <a:pt x="721" y="492"/>
                  </a:lnTo>
                  <a:lnTo>
                    <a:pt x="721" y="492"/>
                  </a:lnTo>
                  <a:lnTo>
                    <a:pt x="721" y="492"/>
                  </a:lnTo>
                  <a:lnTo>
                    <a:pt x="721" y="492"/>
                  </a:lnTo>
                  <a:lnTo>
                    <a:pt x="719" y="492"/>
                  </a:lnTo>
                  <a:lnTo>
                    <a:pt x="719" y="492"/>
                  </a:lnTo>
                  <a:lnTo>
                    <a:pt x="717" y="494"/>
                  </a:lnTo>
                  <a:lnTo>
                    <a:pt x="719" y="496"/>
                  </a:lnTo>
                  <a:lnTo>
                    <a:pt x="719" y="498"/>
                  </a:lnTo>
                  <a:lnTo>
                    <a:pt x="719" y="498"/>
                  </a:lnTo>
                  <a:lnTo>
                    <a:pt x="723" y="500"/>
                  </a:lnTo>
                  <a:lnTo>
                    <a:pt x="723" y="500"/>
                  </a:lnTo>
                  <a:lnTo>
                    <a:pt x="725" y="500"/>
                  </a:lnTo>
                  <a:lnTo>
                    <a:pt x="723" y="500"/>
                  </a:lnTo>
                  <a:lnTo>
                    <a:pt x="723" y="502"/>
                  </a:lnTo>
                  <a:lnTo>
                    <a:pt x="723" y="502"/>
                  </a:lnTo>
                  <a:lnTo>
                    <a:pt x="725" y="502"/>
                  </a:lnTo>
                  <a:lnTo>
                    <a:pt x="723" y="502"/>
                  </a:lnTo>
                  <a:lnTo>
                    <a:pt x="723" y="502"/>
                  </a:lnTo>
                  <a:lnTo>
                    <a:pt x="723" y="502"/>
                  </a:lnTo>
                  <a:lnTo>
                    <a:pt x="723" y="504"/>
                  </a:lnTo>
                  <a:lnTo>
                    <a:pt x="723" y="504"/>
                  </a:lnTo>
                  <a:lnTo>
                    <a:pt x="723" y="504"/>
                  </a:lnTo>
                  <a:lnTo>
                    <a:pt x="723" y="504"/>
                  </a:lnTo>
                  <a:lnTo>
                    <a:pt x="723" y="504"/>
                  </a:lnTo>
                  <a:lnTo>
                    <a:pt x="723" y="506"/>
                  </a:lnTo>
                  <a:lnTo>
                    <a:pt x="723" y="506"/>
                  </a:lnTo>
                  <a:lnTo>
                    <a:pt x="723" y="506"/>
                  </a:lnTo>
                  <a:lnTo>
                    <a:pt x="723" y="506"/>
                  </a:lnTo>
                  <a:lnTo>
                    <a:pt x="723" y="506"/>
                  </a:lnTo>
                  <a:lnTo>
                    <a:pt x="723" y="508"/>
                  </a:lnTo>
                  <a:lnTo>
                    <a:pt x="723" y="508"/>
                  </a:lnTo>
                  <a:lnTo>
                    <a:pt x="723" y="510"/>
                  </a:lnTo>
                  <a:lnTo>
                    <a:pt x="725" y="510"/>
                  </a:lnTo>
                  <a:lnTo>
                    <a:pt x="725" y="510"/>
                  </a:lnTo>
                  <a:lnTo>
                    <a:pt x="727" y="512"/>
                  </a:lnTo>
                  <a:lnTo>
                    <a:pt x="727" y="512"/>
                  </a:lnTo>
                  <a:lnTo>
                    <a:pt x="729" y="512"/>
                  </a:lnTo>
                  <a:lnTo>
                    <a:pt x="729" y="512"/>
                  </a:lnTo>
                  <a:lnTo>
                    <a:pt x="729" y="510"/>
                  </a:lnTo>
                  <a:lnTo>
                    <a:pt x="729" y="510"/>
                  </a:lnTo>
                  <a:lnTo>
                    <a:pt x="729" y="510"/>
                  </a:lnTo>
                  <a:lnTo>
                    <a:pt x="729" y="508"/>
                  </a:lnTo>
                  <a:lnTo>
                    <a:pt x="729" y="508"/>
                  </a:lnTo>
                  <a:lnTo>
                    <a:pt x="729" y="506"/>
                  </a:lnTo>
                  <a:lnTo>
                    <a:pt x="729" y="504"/>
                  </a:lnTo>
                  <a:lnTo>
                    <a:pt x="731" y="504"/>
                  </a:lnTo>
                  <a:lnTo>
                    <a:pt x="731" y="504"/>
                  </a:lnTo>
                  <a:lnTo>
                    <a:pt x="733" y="502"/>
                  </a:lnTo>
                  <a:lnTo>
                    <a:pt x="733" y="502"/>
                  </a:lnTo>
                  <a:lnTo>
                    <a:pt x="733" y="502"/>
                  </a:lnTo>
                  <a:lnTo>
                    <a:pt x="733" y="502"/>
                  </a:lnTo>
                  <a:lnTo>
                    <a:pt x="733" y="502"/>
                  </a:lnTo>
                  <a:lnTo>
                    <a:pt x="733" y="500"/>
                  </a:lnTo>
                  <a:lnTo>
                    <a:pt x="733" y="500"/>
                  </a:lnTo>
                  <a:lnTo>
                    <a:pt x="733" y="500"/>
                  </a:lnTo>
                  <a:lnTo>
                    <a:pt x="733" y="500"/>
                  </a:lnTo>
                  <a:lnTo>
                    <a:pt x="733" y="500"/>
                  </a:lnTo>
                  <a:lnTo>
                    <a:pt x="733" y="500"/>
                  </a:lnTo>
                  <a:lnTo>
                    <a:pt x="733" y="498"/>
                  </a:lnTo>
                  <a:lnTo>
                    <a:pt x="733" y="498"/>
                  </a:lnTo>
                  <a:lnTo>
                    <a:pt x="733" y="498"/>
                  </a:lnTo>
                  <a:lnTo>
                    <a:pt x="733" y="498"/>
                  </a:lnTo>
                  <a:lnTo>
                    <a:pt x="735" y="498"/>
                  </a:lnTo>
                  <a:lnTo>
                    <a:pt x="735" y="498"/>
                  </a:lnTo>
                  <a:lnTo>
                    <a:pt x="735" y="498"/>
                  </a:lnTo>
                  <a:lnTo>
                    <a:pt x="735" y="496"/>
                  </a:lnTo>
                  <a:lnTo>
                    <a:pt x="735" y="496"/>
                  </a:lnTo>
                  <a:lnTo>
                    <a:pt x="737" y="496"/>
                  </a:lnTo>
                  <a:lnTo>
                    <a:pt x="737" y="494"/>
                  </a:lnTo>
                  <a:lnTo>
                    <a:pt x="737" y="496"/>
                  </a:lnTo>
                  <a:lnTo>
                    <a:pt x="737" y="496"/>
                  </a:lnTo>
                  <a:lnTo>
                    <a:pt x="737" y="496"/>
                  </a:lnTo>
                  <a:lnTo>
                    <a:pt x="739" y="496"/>
                  </a:lnTo>
                  <a:lnTo>
                    <a:pt x="739" y="496"/>
                  </a:lnTo>
                  <a:lnTo>
                    <a:pt x="739" y="494"/>
                  </a:lnTo>
                  <a:lnTo>
                    <a:pt x="739" y="494"/>
                  </a:lnTo>
                  <a:lnTo>
                    <a:pt x="739" y="494"/>
                  </a:lnTo>
                  <a:lnTo>
                    <a:pt x="739" y="494"/>
                  </a:lnTo>
                  <a:lnTo>
                    <a:pt x="739" y="494"/>
                  </a:lnTo>
                  <a:lnTo>
                    <a:pt x="739" y="494"/>
                  </a:lnTo>
                  <a:lnTo>
                    <a:pt x="739" y="494"/>
                  </a:lnTo>
                  <a:lnTo>
                    <a:pt x="739" y="494"/>
                  </a:lnTo>
                  <a:lnTo>
                    <a:pt x="739" y="494"/>
                  </a:lnTo>
                  <a:lnTo>
                    <a:pt x="739" y="494"/>
                  </a:lnTo>
                  <a:lnTo>
                    <a:pt x="741" y="492"/>
                  </a:lnTo>
                  <a:lnTo>
                    <a:pt x="741" y="492"/>
                  </a:lnTo>
                  <a:lnTo>
                    <a:pt x="741" y="492"/>
                  </a:lnTo>
                  <a:lnTo>
                    <a:pt x="741" y="492"/>
                  </a:lnTo>
                  <a:lnTo>
                    <a:pt x="741" y="492"/>
                  </a:lnTo>
                  <a:lnTo>
                    <a:pt x="743" y="492"/>
                  </a:lnTo>
                  <a:lnTo>
                    <a:pt x="743" y="492"/>
                  </a:lnTo>
                  <a:lnTo>
                    <a:pt x="746" y="490"/>
                  </a:lnTo>
                  <a:lnTo>
                    <a:pt x="748" y="488"/>
                  </a:lnTo>
                  <a:lnTo>
                    <a:pt x="748" y="488"/>
                  </a:lnTo>
                  <a:lnTo>
                    <a:pt x="748" y="488"/>
                  </a:lnTo>
                  <a:lnTo>
                    <a:pt x="748" y="488"/>
                  </a:lnTo>
                  <a:lnTo>
                    <a:pt x="748" y="488"/>
                  </a:lnTo>
                  <a:lnTo>
                    <a:pt x="748" y="488"/>
                  </a:lnTo>
                  <a:lnTo>
                    <a:pt x="748" y="488"/>
                  </a:lnTo>
                  <a:lnTo>
                    <a:pt x="748" y="488"/>
                  </a:lnTo>
                  <a:lnTo>
                    <a:pt x="748" y="486"/>
                  </a:lnTo>
                  <a:lnTo>
                    <a:pt x="748" y="486"/>
                  </a:lnTo>
                  <a:lnTo>
                    <a:pt x="748" y="486"/>
                  </a:lnTo>
                  <a:lnTo>
                    <a:pt x="750" y="488"/>
                  </a:lnTo>
                  <a:lnTo>
                    <a:pt x="750" y="488"/>
                  </a:lnTo>
                  <a:lnTo>
                    <a:pt x="750" y="488"/>
                  </a:lnTo>
                  <a:lnTo>
                    <a:pt x="748" y="488"/>
                  </a:lnTo>
                  <a:lnTo>
                    <a:pt x="748" y="490"/>
                  </a:lnTo>
                  <a:lnTo>
                    <a:pt x="748" y="490"/>
                  </a:lnTo>
                  <a:lnTo>
                    <a:pt x="748" y="492"/>
                  </a:lnTo>
                  <a:lnTo>
                    <a:pt x="748" y="492"/>
                  </a:lnTo>
                  <a:lnTo>
                    <a:pt x="746" y="492"/>
                  </a:lnTo>
                  <a:lnTo>
                    <a:pt x="746" y="492"/>
                  </a:lnTo>
                  <a:lnTo>
                    <a:pt x="746" y="492"/>
                  </a:lnTo>
                  <a:lnTo>
                    <a:pt x="746" y="492"/>
                  </a:lnTo>
                  <a:lnTo>
                    <a:pt x="746" y="492"/>
                  </a:lnTo>
                  <a:lnTo>
                    <a:pt x="746" y="492"/>
                  </a:lnTo>
                  <a:lnTo>
                    <a:pt x="746" y="494"/>
                  </a:lnTo>
                  <a:lnTo>
                    <a:pt x="743" y="492"/>
                  </a:lnTo>
                  <a:lnTo>
                    <a:pt x="741" y="492"/>
                  </a:lnTo>
                  <a:lnTo>
                    <a:pt x="741" y="494"/>
                  </a:lnTo>
                  <a:lnTo>
                    <a:pt x="741" y="494"/>
                  </a:lnTo>
                  <a:lnTo>
                    <a:pt x="741" y="494"/>
                  </a:lnTo>
                  <a:lnTo>
                    <a:pt x="741" y="494"/>
                  </a:lnTo>
                  <a:lnTo>
                    <a:pt x="741" y="494"/>
                  </a:lnTo>
                  <a:lnTo>
                    <a:pt x="739" y="494"/>
                  </a:lnTo>
                  <a:lnTo>
                    <a:pt x="739" y="494"/>
                  </a:lnTo>
                  <a:lnTo>
                    <a:pt x="739" y="496"/>
                  </a:lnTo>
                  <a:lnTo>
                    <a:pt x="739" y="496"/>
                  </a:lnTo>
                  <a:lnTo>
                    <a:pt x="737" y="496"/>
                  </a:lnTo>
                  <a:lnTo>
                    <a:pt x="735" y="496"/>
                  </a:lnTo>
                  <a:lnTo>
                    <a:pt x="735" y="498"/>
                  </a:lnTo>
                  <a:lnTo>
                    <a:pt x="735" y="498"/>
                  </a:lnTo>
                  <a:lnTo>
                    <a:pt x="735" y="498"/>
                  </a:lnTo>
                  <a:lnTo>
                    <a:pt x="735" y="498"/>
                  </a:lnTo>
                  <a:lnTo>
                    <a:pt x="735" y="500"/>
                  </a:lnTo>
                  <a:lnTo>
                    <a:pt x="735" y="500"/>
                  </a:lnTo>
                  <a:lnTo>
                    <a:pt x="733" y="500"/>
                  </a:lnTo>
                  <a:lnTo>
                    <a:pt x="733" y="500"/>
                  </a:lnTo>
                  <a:lnTo>
                    <a:pt x="735" y="500"/>
                  </a:lnTo>
                  <a:lnTo>
                    <a:pt x="735" y="500"/>
                  </a:lnTo>
                  <a:lnTo>
                    <a:pt x="735" y="502"/>
                  </a:lnTo>
                  <a:lnTo>
                    <a:pt x="735" y="502"/>
                  </a:lnTo>
                  <a:lnTo>
                    <a:pt x="733" y="502"/>
                  </a:lnTo>
                  <a:lnTo>
                    <a:pt x="733" y="504"/>
                  </a:lnTo>
                  <a:lnTo>
                    <a:pt x="733" y="504"/>
                  </a:lnTo>
                  <a:lnTo>
                    <a:pt x="733" y="504"/>
                  </a:lnTo>
                  <a:lnTo>
                    <a:pt x="731" y="504"/>
                  </a:lnTo>
                  <a:lnTo>
                    <a:pt x="731" y="504"/>
                  </a:lnTo>
                  <a:lnTo>
                    <a:pt x="729" y="506"/>
                  </a:lnTo>
                  <a:lnTo>
                    <a:pt x="729" y="506"/>
                  </a:lnTo>
                  <a:lnTo>
                    <a:pt x="729" y="506"/>
                  </a:lnTo>
                  <a:lnTo>
                    <a:pt x="733" y="510"/>
                  </a:lnTo>
                  <a:lnTo>
                    <a:pt x="735" y="508"/>
                  </a:lnTo>
                  <a:lnTo>
                    <a:pt x="735" y="508"/>
                  </a:lnTo>
                  <a:lnTo>
                    <a:pt x="735" y="508"/>
                  </a:lnTo>
                  <a:lnTo>
                    <a:pt x="735" y="508"/>
                  </a:lnTo>
                  <a:lnTo>
                    <a:pt x="735" y="508"/>
                  </a:lnTo>
                  <a:lnTo>
                    <a:pt x="735" y="506"/>
                  </a:lnTo>
                  <a:lnTo>
                    <a:pt x="735" y="506"/>
                  </a:lnTo>
                  <a:lnTo>
                    <a:pt x="735" y="506"/>
                  </a:lnTo>
                  <a:lnTo>
                    <a:pt x="737" y="506"/>
                  </a:lnTo>
                  <a:lnTo>
                    <a:pt x="735" y="506"/>
                  </a:lnTo>
                  <a:lnTo>
                    <a:pt x="735" y="506"/>
                  </a:lnTo>
                  <a:lnTo>
                    <a:pt x="735" y="504"/>
                  </a:lnTo>
                  <a:lnTo>
                    <a:pt x="735" y="504"/>
                  </a:lnTo>
                  <a:lnTo>
                    <a:pt x="737" y="506"/>
                  </a:lnTo>
                  <a:lnTo>
                    <a:pt x="735" y="506"/>
                  </a:lnTo>
                  <a:lnTo>
                    <a:pt x="735" y="508"/>
                  </a:lnTo>
                  <a:lnTo>
                    <a:pt x="735" y="510"/>
                  </a:lnTo>
                  <a:lnTo>
                    <a:pt x="735" y="510"/>
                  </a:lnTo>
                  <a:lnTo>
                    <a:pt x="733" y="510"/>
                  </a:lnTo>
                  <a:lnTo>
                    <a:pt x="733" y="510"/>
                  </a:lnTo>
                  <a:lnTo>
                    <a:pt x="733" y="510"/>
                  </a:lnTo>
                  <a:lnTo>
                    <a:pt x="735" y="512"/>
                  </a:lnTo>
                  <a:lnTo>
                    <a:pt x="735" y="512"/>
                  </a:lnTo>
                  <a:lnTo>
                    <a:pt x="735" y="512"/>
                  </a:lnTo>
                  <a:lnTo>
                    <a:pt x="735" y="514"/>
                  </a:lnTo>
                  <a:lnTo>
                    <a:pt x="735" y="514"/>
                  </a:lnTo>
                  <a:lnTo>
                    <a:pt x="737" y="514"/>
                  </a:lnTo>
                  <a:lnTo>
                    <a:pt x="737" y="514"/>
                  </a:lnTo>
                  <a:lnTo>
                    <a:pt x="737" y="514"/>
                  </a:lnTo>
                  <a:lnTo>
                    <a:pt x="737" y="512"/>
                  </a:lnTo>
                  <a:lnTo>
                    <a:pt x="737" y="512"/>
                  </a:lnTo>
                  <a:lnTo>
                    <a:pt x="739" y="512"/>
                  </a:lnTo>
                  <a:lnTo>
                    <a:pt x="741" y="512"/>
                  </a:lnTo>
                  <a:lnTo>
                    <a:pt x="743" y="512"/>
                  </a:lnTo>
                  <a:lnTo>
                    <a:pt x="743" y="512"/>
                  </a:lnTo>
                  <a:lnTo>
                    <a:pt x="743" y="512"/>
                  </a:lnTo>
                  <a:lnTo>
                    <a:pt x="743" y="514"/>
                  </a:lnTo>
                  <a:lnTo>
                    <a:pt x="741" y="514"/>
                  </a:lnTo>
                  <a:lnTo>
                    <a:pt x="741" y="514"/>
                  </a:lnTo>
                  <a:lnTo>
                    <a:pt x="741" y="514"/>
                  </a:lnTo>
                  <a:lnTo>
                    <a:pt x="741" y="514"/>
                  </a:lnTo>
                  <a:lnTo>
                    <a:pt x="739" y="514"/>
                  </a:lnTo>
                  <a:lnTo>
                    <a:pt x="739" y="514"/>
                  </a:lnTo>
                  <a:lnTo>
                    <a:pt x="739" y="514"/>
                  </a:lnTo>
                  <a:lnTo>
                    <a:pt x="739" y="514"/>
                  </a:lnTo>
                  <a:lnTo>
                    <a:pt x="737" y="516"/>
                  </a:lnTo>
                  <a:lnTo>
                    <a:pt x="737" y="516"/>
                  </a:lnTo>
                  <a:lnTo>
                    <a:pt x="735" y="516"/>
                  </a:lnTo>
                  <a:lnTo>
                    <a:pt x="733" y="516"/>
                  </a:lnTo>
                  <a:lnTo>
                    <a:pt x="731" y="518"/>
                  </a:lnTo>
                  <a:lnTo>
                    <a:pt x="731" y="521"/>
                  </a:lnTo>
                  <a:lnTo>
                    <a:pt x="733" y="521"/>
                  </a:lnTo>
                  <a:lnTo>
                    <a:pt x="733" y="523"/>
                  </a:lnTo>
                  <a:lnTo>
                    <a:pt x="735" y="523"/>
                  </a:lnTo>
                  <a:lnTo>
                    <a:pt x="735" y="523"/>
                  </a:lnTo>
                  <a:lnTo>
                    <a:pt x="737" y="521"/>
                  </a:lnTo>
                  <a:lnTo>
                    <a:pt x="737" y="521"/>
                  </a:lnTo>
                  <a:lnTo>
                    <a:pt x="739" y="521"/>
                  </a:lnTo>
                  <a:lnTo>
                    <a:pt x="739" y="521"/>
                  </a:lnTo>
                  <a:lnTo>
                    <a:pt x="739" y="521"/>
                  </a:lnTo>
                  <a:lnTo>
                    <a:pt x="739" y="523"/>
                  </a:lnTo>
                  <a:lnTo>
                    <a:pt x="741" y="523"/>
                  </a:lnTo>
                  <a:lnTo>
                    <a:pt x="741" y="525"/>
                  </a:lnTo>
                  <a:lnTo>
                    <a:pt x="741" y="525"/>
                  </a:lnTo>
                  <a:lnTo>
                    <a:pt x="741" y="523"/>
                  </a:lnTo>
                  <a:lnTo>
                    <a:pt x="743" y="523"/>
                  </a:lnTo>
                  <a:lnTo>
                    <a:pt x="743" y="523"/>
                  </a:lnTo>
                  <a:lnTo>
                    <a:pt x="743" y="523"/>
                  </a:lnTo>
                  <a:lnTo>
                    <a:pt x="746" y="523"/>
                  </a:lnTo>
                  <a:lnTo>
                    <a:pt x="746" y="523"/>
                  </a:lnTo>
                  <a:lnTo>
                    <a:pt x="746" y="525"/>
                  </a:lnTo>
                  <a:lnTo>
                    <a:pt x="746" y="525"/>
                  </a:lnTo>
                  <a:lnTo>
                    <a:pt x="746" y="527"/>
                  </a:lnTo>
                  <a:lnTo>
                    <a:pt x="746" y="527"/>
                  </a:lnTo>
                  <a:lnTo>
                    <a:pt x="746" y="527"/>
                  </a:lnTo>
                  <a:lnTo>
                    <a:pt x="746" y="527"/>
                  </a:lnTo>
                  <a:lnTo>
                    <a:pt x="752" y="527"/>
                  </a:lnTo>
                  <a:lnTo>
                    <a:pt x="758" y="529"/>
                  </a:lnTo>
                  <a:lnTo>
                    <a:pt x="760" y="529"/>
                  </a:lnTo>
                  <a:lnTo>
                    <a:pt x="762" y="529"/>
                  </a:lnTo>
                  <a:lnTo>
                    <a:pt x="764" y="529"/>
                  </a:lnTo>
                  <a:lnTo>
                    <a:pt x="764" y="527"/>
                  </a:lnTo>
                  <a:lnTo>
                    <a:pt x="764" y="527"/>
                  </a:lnTo>
                  <a:lnTo>
                    <a:pt x="764" y="527"/>
                  </a:lnTo>
                  <a:lnTo>
                    <a:pt x="764" y="527"/>
                  </a:lnTo>
                  <a:lnTo>
                    <a:pt x="764" y="527"/>
                  </a:lnTo>
                  <a:lnTo>
                    <a:pt x="764" y="525"/>
                  </a:lnTo>
                  <a:lnTo>
                    <a:pt x="766" y="525"/>
                  </a:lnTo>
                  <a:lnTo>
                    <a:pt x="766" y="525"/>
                  </a:lnTo>
                  <a:lnTo>
                    <a:pt x="766" y="525"/>
                  </a:lnTo>
                  <a:lnTo>
                    <a:pt x="766" y="525"/>
                  </a:lnTo>
                  <a:lnTo>
                    <a:pt x="768" y="525"/>
                  </a:lnTo>
                  <a:lnTo>
                    <a:pt x="770" y="523"/>
                  </a:lnTo>
                  <a:lnTo>
                    <a:pt x="770" y="523"/>
                  </a:lnTo>
                  <a:lnTo>
                    <a:pt x="770" y="525"/>
                  </a:lnTo>
                  <a:lnTo>
                    <a:pt x="768" y="525"/>
                  </a:lnTo>
                  <a:lnTo>
                    <a:pt x="768" y="525"/>
                  </a:lnTo>
                  <a:lnTo>
                    <a:pt x="768" y="525"/>
                  </a:lnTo>
                  <a:lnTo>
                    <a:pt x="768" y="525"/>
                  </a:lnTo>
                  <a:lnTo>
                    <a:pt x="768" y="527"/>
                  </a:lnTo>
                  <a:lnTo>
                    <a:pt x="772" y="527"/>
                  </a:lnTo>
                  <a:lnTo>
                    <a:pt x="772" y="529"/>
                  </a:lnTo>
                  <a:lnTo>
                    <a:pt x="772" y="529"/>
                  </a:lnTo>
                  <a:lnTo>
                    <a:pt x="772" y="529"/>
                  </a:lnTo>
                  <a:lnTo>
                    <a:pt x="772" y="529"/>
                  </a:lnTo>
                  <a:lnTo>
                    <a:pt x="768" y="531"/>
                  </a:lnTo>
                  <a:lnTo>
                    <a:pt x="768" y="529"/>
                  </a:lnTo>
                  <a:lnTo>
                    <a:pt x="766" y="529"/>
                  </a:lnTo>
                  <a:lnTo>
                    <a:pt x="766" y="529"/>
                  </a:lnTo>
                  <a:lnTo>
                    <a:pt x="764" y="529"/>
                  </a:lnTo>
                  <a:lnTo>
                    <a:pt x="762" y="529"/>
                  </a:lnTo>
                  <a:lnTo>
                    <a:pt x="762" y="531"/>
                  </a:lnTo>
                  <a:lnTo>
                    <a:pt x="764" y="531"/>
                  </a:lnTo>
                  <a:lnTo>
                    <a:pt x="772" y="533"/>
                  </a:lnTo>
                  <a:lnTo>
                    <a:pt x="774" y="537"/>
                  </a:lnTo>
                  <a:lnTo>
                    <a:pt x="774" y="537"/>
                  </a:lnTo>
                  <a:lnTo>
                    <a:pt x="774" y="537"/>
                  </a:lnTo>
                  <a:lnTo>
                    <a:pt x="772" y="537"/>
                  </a:lnTo>
                  <a:lnTo>
                    <a:pt x="774" y="537"/>
                  </a:lnTo>
                  <a:lnTo>
                    <a:pt x="774" y="539"/>
                  </a:lnTo>
                  <a:lnTo>
                    <a:pt x="774" y="539"/>
                  </a:lnTo>
                  <a:lnTo>
                    <a:pt x="772" y="541"/>
                  </a:lnTo>
                  <a:lnTo>
                    <a:pt x="768" y="543"/>
                  </a:lnTo>
                  <a:lnTo>
                    <a:pt x="766" y="545"/>
                  </a:lnTo>
                  <a:lnTo>
                    <a:pt x="766" y="545"/>
                  </a:lnTo>
                  <a:lnTo>
                    <a:pt x="764" y="545"/>
                  </a:lnTo>
                  <a:lnTo>
                    <a:pt x="764" y="545"/>
                  </a:lnTo>
                  <a:lnTo>
                    <a:pt x="764" y="543"/>
                  </a:lnTo>
                  <a:lnTo>
                    <a:pt x="764" y="543"/>
                  </a:lnTo>
                  <a:lnTo>
                    <a:pt x="762" y="543"/>
                  </a:lnTo>
                  <a:lnTo>
                    <a:pt x="764" y="541"/>
                  </a:lnTo>
                  <a:lnTo>
                    <a:pt x="764" y="541"/>
                  </a:lnTo>
                  <a:lnTo>
                    <a:pt x="764" y="541"/>
                  </a:lnTo>
                  <a:lnTo>
                    <a:pt x="764" y="539"/>
                  </a:lnTo>
                  <a:lnTo>
                    <a:pt x="764" y="539"/>
                  </a:lnTo>
                  <a:lnTo>
                    <a:pt x="764" y="539"/>
                  </a:lnTo>
                  <a:lnTo>
                    <a:pt x="764" y="537"/>
                  </a:lnTo>
                  <a:lnTo>
                    <a:pt x="764" y="537"/>
                  </a:lnTo>
                  <a:lnTo>
                    <a:pt x="764" y="535"/>
                  </a:lnTo>
                  <a:lnTo>
                    <a:pt x="764" y="535"/>
                  </a:lnTo>
                  <a:lnTo>
                    <a:pt x="764" y="535"/>
                  </a:lnTo>
                  <a:lnTo>
                    <a:pt x="762" y="533"/>
                  </a:lnTo>
                  <a:lnTo>
                    <a:pt x="762" y="533"/>
                  </a:lnTo>
                  <a:lnTo>
                    <a:pt x="760" y="533"/>
                  </a:lnTo>
                  <a:lnTo>
                    <a:pt x="760" y="535"/>
                  </a:lnTo>
                  <a:lnTo>
                    <a:pt x="758" y="535"/>
                  </a:lnTo>
                  <a:lnTo>
                    <a:pt x="758" y="535"/>
                  </a:lnTo>
                  <a:lnTo>
                    <a:pt x="758" y="537"/>
                  </a:lnTo>
                  <a:lnTo>
                    <a:pt x="756" y="537"/>
                  </a:lnTo>
                  <a:lnTo>
                    <a:pt x="756" y="539"/>
                  </a:lnTo>
                  <a:lnTo>
                    <a:pt x="756" y="539"/>
                  </a:lnTo>
                  <a:lnTo>
                    <a:pt x="754" y="539"/>
                  </a:lnTo>
                  <a:lnTo>
                    <a:pt x="752" y="539"/>
                  </a:lnTo>
                  <a:lnTo>
                    <a:pt x="752" y="539"/>
                  </a:lnTo>
                  <a:lnTo>
                    <a:pt x="752" y="539"/>
                  </a:lnTo>
                  <a:lnTo>
                    <a:pt x="750" y="541"/>
                  </a:lnTo>
                  <a:lnTo>
                    <a:pt x="748" y="543"/>
                  </a:lnTo>
                  <a:lnTo>
                    <a:pt x="748" y="543"/>
                  </a:lnTo>
                  <a:lnTo>
                    <a:pt x="748" y="543"/>
                  </a:lnTo>
                  <a:lnTo>
                    <a:pt x="748" y="543"/>
                  </a:lnTo>
                  <a:lnTo>
                    <a:pt x="748" y="541"/>
                  </a:lnTo>
                  <a:lnTo>
                    <a:pt x="748" y="541"/>
                  </a:lnTo>
                  <a:lnTo>
                    <a:pt x="748" y="541"/>
                  </a:lnTo>
                  <a:lnTo>
                    <a:pt x="750" y="541"/>
                  </a:lnTo>
                  <a:lnTo>
                    <a:pt x="750" y="541"/>
                  </a:lnTo>
                  <a:lnTo>
                    <a:pt x="750" y="541"/>
                  </a:lnTo>
                  <a:lnTo>
                    <a:pt x="750" y="541"/>
                  </a:lnTo>
                  <a:lnTo>
                    <a:pt x="750" y="541"/>
                  </a:lnTo>
                  <a:lnTo>
                    <a:pt x="750" y="541"/>
                  </a:lnTo>
                  <a:lnTo>
                    <a:pt x="750" y="541"/>
                  </a:lnTo>
                  <a:lnTo>
                    <a:pt x="750" y="539"/>
                  </a:lnTo>
                  <a:lnTo>
                    <a:pt x="750" y="539"/>
                  </a:lnTo>
                  <a:lnTo>
                    <a:pt x="750" y="539"/>
                  </a:lnTo>
                  <a:lnTo>
                    <a:pt x="750" y="539"/>
                  </a:lnTo>
                  <a:lnTo>
                    <a:pt x="752" y="539"/>
                  </a:lnTo>
                  <a:lnTo>
                    <a:pt x="752" y="539"/>
                  </a:lnTo>
                  <a:lnTo>
                    <a:pt x="752" y="539"/>
                  </a:lnTo>
                  <a:lnTo>
                    <a:pt x="754" y="537"/>
                  </a:lnTo>
                  <a:lnTo>
                    <a:pt x="754" y="537"/>
                  </a:lnTo>
                  <a:lnTo>
                    <a:pt x="754" y="535"/>
                  </a:lnTo>
                  <a:lnTo>
                    <a:pt x="754" y="535"/>
                  </a:lnTo>
                  <a:lnTo>
                    <a:pt x="754" y="535"/>
                  </a:lnTo>
                  <a:lnTo>
                    <a:pt x="754" y="535"/>
                  </a:lnTo>
                  <a:lnTo>
                    <a:pt x="754" y="535"/>
                  </a:lnTo>
                  <a:lnTo>
                    <a:pt x="754" y="535"/>
                  </a:lnTo>
                  <a:lnTo>
                    <a:pt x="754" y="533"/>
                  </a:lnTo>
                  <a:lnTo>
                    <a:pt x="754" y="533"/>
                  </a:lnTo>
                  <a:lnTo>
                    <a:pt x="754" y="533"/>
                  </a:lnTo>
                  <a:lnTo>
                    <a:pt x="754" y="531"/>
                  </a:lnTo>
                  <a:lnTo>
                    <a:pt x="754" y="531"/>
                  </a:lnTo>
                  <a:lnTo>
                    <a:pt x="752" y="531"/>
                  </a:lnTo>
                  <a:lnTo>
                    <a:pt x="752" y="531"/>
                  </a:lnTo>
                  <a:lnTo>
                    <a:pt x="752" y="531"/>
                  </a:lnTo>
                  <a:lnTo>
                    <a:pt x="750" y="531"/>
                  </a:lnTo>
                  <a:lnTo>
                    <a:pt x="750" y="531"/>
                  </a:lnTo>
                  <a:lnTo>
                    <a:pt x="750" y="529"/>
                  </a:lnTo>
                  <a:lnTo>
                    <a:pt x="746" y="529"/>
                  </a:lnTo>
                  <a:lnTo>
                    <a:pt x="743" y="529"/>
                  </a:lnTo>
                  <a:lnTo>
                    <a:pt x="743" y="527"/>
                  </a:lnTo>
                  <a:lnTo>
                    <a:pt x="743" y="527"/>
                  </a:lnTo>
                  <a:lnTo>
                    <a:pt x="746" y="525"/>
                  </a:lnTo>
                  <a:lnTo>
                    <a:pt x="746" y="525"/>
                  </a:lnTo>
                  <a:lnTo>
                    <a:pt x="743" y="523"/>
                  </a:lnTo>
                  <a:lnTo>
                    <a:pt x="743" y="523"/>
                  </a:lnTo>
                  <a:lnTo>
                    <a:pt x="741" y="525"/>
                  </a:lnTo>
                  <a:lnTo>
                    <a:pt x="741" y="525"/>
                  </a:lnTo>
                  <a:lnTo>
                    <a:pt x="739" y="525"/>
                  </a:lnTo>
                  <a:lnTo>
                    <a:pt x="739" y="525"/>
                  </a:lnTo>
                  <a:lnTo>
                    <a:pt x="739" y="525"/>
                  </a:lnTo>
                  <a:lnTo>
                    <a:pt x="739" y="525"/>
                  </a:lnTo>
                  <a:lnTo>
                    <a:pt x="739" y="525"/>
                  </a:lnTo>
                  <a:lnTo>
                    <a:pt x="739" y="523"/>
                  </a:lnTo>
                  <a:lnTo>
                    <a:pt x="737" y="523"/>
                  </a:lnTo>
                  <a:lnTo>
                    <a:pt x="737" y="521"/>
                  </a:lnTo>
                  <a:lnTo>
                    <a:pt x="737" y="523"/>
                  </a:lnTo>
                  <a:lnTo>
                    <a:pt x="737" y="525"/>
                  </a:lnTo>
                  <a:lnTo>
                    <a:pt x="737" y="525"/>
                  </a:lnTo>
                  <a:lnTo>
                    <a:pt x="739" y="527"/>
                  </a:lnTo>
                  <a:lnTo>
                    <a:pt x="737" y="527"/>
                  </a:lnTo>
                  <a:lnTo>
                    <a:pt x="735" y="529"/>
                  </a:lnTo>
                  <a:lnTo>
                    <a:pt x="735" y="529"/>
                  </a:lnTo>
                  <a:lnTo>
                    <a:pt x="735" y="529"/>
                  </a:lnTo>
                  <a:lnTo>
                    <a:pt x="735" y="529"/>
                  </a:lnTo>
                  <a:lnTo>
                    <a:pt x="735" y="529"/>
                  </a:lnTo>
                  <a:lnTo>
                    <a:pt x="733" y="529"/>
                  </a:lnTo>
                  <a:lnTo>
                    <a:pt x="735" y="531"/>
                  </a:lnTo>
                  <a:lnTo>
                    <a:pt x="735" y="533"/>
                  </a:lnTo>
                  <a:lnTo>
                    <a:pt x="735" y="533"/>
                  </a:lnTo>
                  <a:lnTo>
                    <a:pt x="733" y="533"/>
                  </a:lnTo>
                  <a:lnTo>
                    <a:pt x="731" y="535"/>
                  </a:lnTo>
                  <a:lnTo>
                    <a:pt x="731" y="535"/>
                  </a:lnTo>
                  <a:lnTo>
                    <a:pt x="729" y="535"/>
                  </a:lnTo>
                  <a:lnTo>
                    <a:pt x="729" y="537"/>
                  </a:lnTo>
                  <a:lnTo>
                    <a:pt x="727" y="537"/>
                  </a:lnTo>
                  <a:lnTo>
                    <a:pt x="727" y="537"/>
                  </a:lnTo>
                  <a:lnTo>
                    <a:pt x="727" y="537"/>
                  </a:lnTo>
                  <a:lnTo>
                    <a:pt x="727" y="537"/>
                  </a:lnTo>
                  <a:lnTo>
                    <a:pt x="725" y="539"/>
                  </a:lnTo>
                  <a:lnTo>
                    <a:pt x="725" y="539"/>
                  </a:lnTo>
                  <a:lnTo>
                    <a:pt x="725" y="537"/>
                  </a:lnTo>
                  <a:lnTo>
                    <a:pt x="723" y="537"/>
                  </a:lnTo>
                  <a:lnTo>
                    <a:pt x="723" y="539"/>
                  </a:lnTo>
                  <a:lnTo>
                    <a:pt x="723" y="539"/>
                  </a:lnTo>
                  <a:lnTo>
                    <a:pt x="723" y="541"/>
                  </a:lnTo>
                  <a:lnTo>
                    <a:pt x="723" y="541"/>
                  </a:lnTo>
                  <a:lnTo>
                    <a:pt x="727" y="543"/>
                  </a:lnTo>
                  <a:lnTo>
                    <a:pt x="727" y="543"/>
                  </a:lnTo>
                  <a:lnTo>
                    <a:pt x="729" y="543"/>
                  </a:lnTo>
                  <a:lnTo>
                    <a:pt x="729" y="541"/>
                  </a:lnTo>
                  <a:lnTo>
                    <a:pt x="733" y="541"/>
                  </a:lnTo>
                  <a:lnTo>
                    <a:pt x="733" y="541"/>
                  </a:lnTo>
                  <a:lnTo>
                    <a:pt x="733" y="543"/>
                  </a:lnTo>
                  <a:lnTo>
                    <a:pt x="733" y="543"/>
                  </a:lnTo>
                  <a:lnTo>
                    <a:pt x="733" y="543"/>
                  </a:lnTo>
                  <a:lnTo>
                    <a:pt x="733" y="543"/>
                  </a:lnTo>
                  <a:lnTo>
                    <a:pt x="733" y="543"/>
                  </a:lnTo>
                  <a:lnTo>
                    <a:pt x="731" y="543"/>
                  </a:lnTo>
                  <a:lnTo>
                    <a:pt x="731" y="545"/>
                  </a:lnTo>
                  <a:lnTo>
                    <a:pt x="731" y="545"/>
                  </a:lnTo>
                  <a:lnTo>
                    <a:pt x="731" y="545"/>
                  </a:lnTo>
                  <a:lnTo>
                    <a:pt x="731" y="545"/>
                  </a:lnTo>
                  <a:lnTo>
                    <a:pt x="731" y="545"/>
                  </a:lnTo>
                  <a:lnTo>
                    <a:pt x="729" y="545"/>
                  </a:lnTo>
                  <a:lnTo>
                    <a:pt x="729" y="545"/>
                  </a:lnTo>
                  <a:lnTo>
                    <a:pt x="729" y="547"/>
                  </a:lnTo>
                  <a:lnTo>
                    <a:pt x="729" y="547"/>
                  </a:lnTo>
                  <a:lnTo>
                    <a:pt x="729" y="549"/>
                  </a:lnTo>
                  <a:lnTo>
                    <a:pt x="731" y="549"/>
                  </a:lnTo>
                  <a:lnTo>
                    <a:pt x="731" y="551"/>
                  </a:lnTo>
                  <a:lnTo>
                    <a:pt x="731" y="551"/>
                  </a:lnTo>
                  <a:lnTo>
                    <a:pt x="735" y="555"/>
                  </a:lnTo>
                  <a:lnTo>
                    <a:pt x="737" y="555"/>
                  </a:lnTo>
                  <a:lnTo>
                    <a:pt x="737" y="555"/>
                  </a:lnTo>
                  <a:lnTo>
                    <a:pt x="737" y="555"/>
                  </a:lnTo>
                  <a:lnTo>
                    <a:pt x="739" y="553"/>
                  </a:lnTo>
                  <a:lnTo>
                    <a:pt x="739" y="555"/>
                  </a:lnTo>
                  <a:lnTo>
                    <a:pt x="739" y="555"/>
                  </a:lnTo>
                  <a:lnTo>
                    <a:pt x="739" y="555"/>
                  </a:lnTo>
                  <a:lnTo>
                    <a:pt x="739" y="555"/>
                  </a:lnTo>
                  <a:lnTo>
                    <a:pt x="739" y="557"/>
                  </a:lnTo>
                  <a:lnTo>
                    <a:pt x="739" y="557"/>
                  </a:lnTo>
                  <a:lnTo>
                    <a:pt x="739" y="557"/>
                  </a:lnTo>
                  <a:lnTo>
                    <a:pt x="739" y="559"/>
                  </a:lnTo>
                  <a:lnTo>
                    <a:pt x="741" y="559"/>
                  </a:lnTo>
                  <a:lnTo>
                    <a:pt x="741" y="562"/>
                  </a:lnTo>
                  <a:lnTo>
                    <a:pt x="743" y="562"/>
                  </a:lnTo>
                  <a:lnTo>
                    <a:pt x="743" y="562"/>
                  </a:lnTo>
                  <a:lnTo>
                    <a:pt x="743" y="564"/>
                  </a:lnTo>
                  <a:lnTo>
                    <a:pt x="743" y="564"/>
                  </a:lnTo>
                  <a:lnTo>
                    <a:pt x="743" y="564"/>
                  </a:lnTo>
                  <a:lnTo>
                    <a:pt x="743" y="564"/>
                  </a:lnTo>
                  <a:lnTo>
                    <a:pt x="743" y="566"/>
                  </a:lnTo>
                  <a:lnTo>
                    <a:pt x="743" y="566"/>
                  </a:lnTo>
                  <a:lnTo>
                    <a:pt x="743" y="566"/>
                  </a:lnTo>
                  <a:lnTo>
                    <a:pt x="743" y="568"/>
                  </a:lnTo>
                  <a:lnTo>
                    <a:pt x="743" y="568"/>
                  </a:lnTo>
                  <a:lnTo>
                    <a:pt x="746" y="568"/>
                  </a:lnTo>
                  <a:lnTo>
                    <a:pt x="746" y="570"/>
                  </a:lnTo>
                  <a:lnTo>
                    <a:pt x="750" y="572"/>
                  </a:lnTo>
                  <a:lnTo>
                    <a:pt x="750" y="572"/>
                  </a:lnTo>
                  <a:lnTo>
                    <a:pt x="752" y="574"/>
                  </a:lnTo>
                  <a:lnTo>
                    <a:pt x="750" y="574"/>
                  </a:lnTo>
                  <a:lnTo>
                    <a:pt x="750" y="574"/>
                  </a:lnTo>
                  <a:lnTo>
                    <a:pt x="750" y="574"/>
                  </a:lnTo>
                  <a:lnTo>
                    <a:pt x="752" y="574"/>
                  </a:lnTo>
                  <a:lnTo>
                    <a:pt x="752" y="574"/>
                  </a:lnTo>
                  <a:lnTo>
                    <a:pt x="752" y="574"/>
                  </a:lnTo>
                  <a:lnTo>
                    <a:pt x="752" y="574"/>
                  </a:lnTo>
                  <a:lnTo>
                    <a:pt x="750" y="574"/>
                  </a:lnTo>
                  <a:lnTo>
                    <a:pt x="748" y="576"/>
                  </a:lnTo>
                  <a:lnTo>
                    <a:pt x="748" y="578"/>
                  </a:lnTo>
                  <a:lnTo>
                    <a:pt x="748" y="578"/>
                  </a:lnTo>
                  <a:lnTo>
                    <a:pt x="750" y="580"/>
                  </a:lnTo>
                  <a:lnTo>
                    <a:pt x="750" y="582"/>
                  </a:lnTo>
                  <a:lnTo>
                    <a:pt x="750" y="582"/>
                  </a:lnTo>
                  <a:lnTo>
                    <a:pt x="756" y="584"/>
                  </a:lnTo>
                  <a:lnTo>
                    <a:pt x="762" y="586"/>
                  </a:lnTo>
                  <a:lnTo>
                    <a:pt x="770" y="584"/>
                  </a:lnTo>
                  <a:lnTo>
                    <a:pt x="776" y="584"/>
                  </a:lnTo>
                  <a:lnTo>
                    <a:pt x="784" y="580"/>
                  </a:lnTo>
                  <a:lnTo>
                    <a:pt x="786" y="580"/>
                  </a:lnTo>
                  <a:lnTo>
                    <a:pt x="786" y="578"/>
                  </a:lnTo>
                  <a:lnTo>
                    <a:pt x="786" y="578"/>
                  </a:lnTo>
                  <a:lnTo>
                    <a:pt x="789" y="580"/>
                  </a:lnTo>
                  <a:lnTo>
                    <a:pt x="791" y="580"/>
                  </a:lnTo>
                  <a:lnTo>
                    <a:pt x="793" y="580"/>
                  </a:lnTo>
                  <a:lnTo>
                    <a:pt x="793" y="578"/>
                  </a:lnTo>
                  <a:lnTo>
                    <a:pt x="793" y="578"/>
                  </a:lnTo>
                  <a:lnTo>
                    <a:pt x="793" y="578"/>
                  </a:lnTo>
                  <a:lnTo>
                    <a:pt x="793" y="576"/>
                  </a:lnTo>
                  <a:lnTo>
                    <a:pt x="793" y="576"/>
                  </a:lnTo>
                  <a:lnTo>
                    <a:pt x="793" y="574"/>
                  </a:lnTo>
                  <a:lnTo>
                    <a:pt x="793" y="574"/>
                  </a:lnTo>
                  <a:lnTo>
                    <a:pt x="793" y="574"/>
                  </a:lnTo>
                  <a:lnTo>
                    <a:pt x="793" y="572"/>
                  </a:lnTo>
                  <a:lnTo>
                    <a:pt x="795" y="572"/>
                  </a:lnTo>
                  <a:lnTo>
                    <a:pt x="795" y="570"/>
                  </a:lnTo>
                  <a:lnTo>
                    <a:pt x="795" y="570"/>
                  </a:lnTo>
                  <a:lnTo>
                    <a:pt x="795" y="568"/>
                  </a:lnTo>
                  <a:lnTo>
                    <a:pt x="793" y="566"/>
                  </a:lnTo>
                  <a:lnTo>
                    <a:pt x="791" y="566"/>
                  </a:lnTo>
                  <a:lnTo>
                    <a:pt x="789" y="564"/>
                  </a:lnTo>
                  <a:lnTo>
                    <a:pt x="793" y="566"/>
                  </a:lnTo>
                  <a:lnTo>
                    <a:pt x="793" y="566"/>
                  </a:lnTo>
                  <a:lnTo>
                    <a:pt x="793" y="566"/>
                  </a:lnTo>
                  <a:lnTo>
                    <a:pt x="793" y="564"/>
                  </a:lnTo>
                  <a:lnTo>
                    <a:pt x="793" y="564"/>
                  </a:lnTo>
                  <a:lnTo>
                    <a:pt x="793" y="564"/>
                  </a:lnTo>
                  <a:lnTo>
                    <a:pt x="793" y="564"/>
                  </a:lnTo>
                  <a:lnTo>
                    <a:pt x="793" y="564"/>
                  </a:lnTo>
                  <a:lnTo>
                    <a:pt x="793" y="562"/>
                  </a:lnTo>
                  <a:lnTo>
                    <a:pt x="793" y="562"/>
                  </a:lnTo>
                  <a:lnTo>
                    <a:pt x="793" y="562"/>
                  </a:lnTo>
                  <a:lnTo>
                    <a:pt x="793" y="562"/>
                  </a:lnTo>
                  <a:lnTo>
                    <a:pt x="793" y="562"/>
                  </a:lnTo>
                  <a:lnTo>
                    <a:pt x="793" y="562"/>
                  </a:lnTo>
                  <a:lnTo>
                    <a:pt x="793" y="562"/>
                  </a:lnTo>
                  <a:lnTo>
                    <a:pt x="793" y="562"/>
                  </a:lnTo>
                  <a:lnTo>
                    <a:pt x="793" y="562"/>
                  </a:lnTo>
                  <a:lnTo>
                    <a:pt x="793" y="562"/>
                  </a:lnTo>
                  <a:lnTo>
                    <a:pt x="793" y="562"/>
                  </a:lnTo>
                  <a:lnTo>
                    <a:pt x="793" y="562"/>
                  </a:lnTo>
                  <a:lnTo>
                    <a:pt x="795" y="562"/>
                  </a:lnTo>
                  <a:lnTo>
                    <a:pt x="795" y="562"/>
                  </a:lnTo>
                  <a:lnTo>
                    <a:pt x="795" y="559"/>
                  </a:lnTo>
                  <a:lnTo>
                    <a:pt x="795" y="559"/>
                  </a:lnTo>
                  <a:lnTo>
                    <a:pt x="795" y="559"/>
                  </a:lnTo>
                  <a:lnTo>
                    <a:pt x="797" y="559"/>
                  </a:lnTo>
                  <a:lnTo>
                    <a:pt x="797" y="559"/>
                  </a:lnTo>
                  <a:lnTo>
                    <a:pt x="797" y="559"/>
                  </a:lnTo>
                  <a:lnTo>
                    <a:pt x="797" y="559"/>
                  </a:lnTo>
                  <a:lnTo>
                    <a:pt x="797" y="559"/>
                  </a:lnTo>
                  <a:lnTo>
                    <a:pt x="797" y="557"/>
                  </a:lnTo>
                  <a:lnTo>
                    <a:pt x="797" y="557"/>
                  </a:lnTo>
                  <a:lnTo>
                    <a:pt x="797" y="557"/>
                  </a:lnTo>
                  <a:lnTo>
                    <a:pt x="797" y="557"/>
                  </a:lnTo>
                  <a:lnTo>
                    <a:pt x="799" y="557"/>
                  </a:lnTo>
                  <a:lnTo>
                    <a:pt x="799" y="557"/>
                  </a:lnTo>
                  <a:lnTo>
                    <a:pt x="799" y="555"/>
                  </a:lnTo>
                  <a:lnTo>
                    <a:pt x="799" y="555"/>
                  </a:lnTo>
                  <a:lnTo>
                    <a:pt x="799" y="555"/>
                  </a:lnTo>
                  <a:lnTo>
                    <a:pt x="799" y="555"/>
                  </a:lnTo>
                  <a:lnTo>
                    <a:pt x="801" y="551"/>
                  </a:lnTo>
                  <a:lnTo>
                    <a:pt x="801" y="551"/>
                  </a:lnTo>
                  <a:lnTo>
                    <a:pt x="801" y="551"/>
                  </a:lnTo>
                  <a:lnTo>
                    <a:pt x="801" y="549"/>
                  </a:lnTo>
                  <a:lnTo>
                    <a:pt x="803" y="549"/>
                  </a:lnTo>
                  <a:lnTo>
                    <a:pt x="803" y="547"/>
                  </a:lnTo>
                  <a:lnTo>
                    <a:pt x="803" y="547"/>
                  </a:lnTo>
                  <a:lnTo>
                    <a:pt x="803" y="547"/>
                  </a:lnTo>
                  <a:lnTo>
                    <a:pt x="805" y="547"/>
                  </a:lnTo>
                  <a:lnTo>
                    <a:pt x="807" y="547"/>
                  </a:lnTo>
                  <a:lnTo>
                    <a:pt x="807" y="545"/>
                  </a:lnTo>
                  <a:lnTo>
                    <a:pt x="807" y="545"/>
                  </a:lnTo>
                  <a:lnTo>
                    <a:pt x="807" y="545"/>
                  </a:lnTo>
                  <a:lnTo>
                    <a:pt x="807" y="543"/>
                  </a:lnTo>
                  <a:lnTo>
                    <a:pt x="805" y="543"/>
                  </a:lnTo>
                  <a:lnTo>
                    <a:pt x="807" y="543"/>
                  </a:lnTo>
                  <a:lnTo>
                    <a:pt x="807" y="543"/>
                  </a:lnTo>
                  <a:lnTo>
                    <a:pt x="807" y="545"/>
                  </a:lnTo>
                  <a:lnTo>
                    <a:pt x="807" y="545"/>
                  </a:lnTo>
                  <a:lnTo>
                    <a:pt x="807" y="545"/>
                  </a:lnTo>
                  <a:lnTo>
                    <a:pt x="811" y="545"/>
                  </a:lnTo>
                  <a:lnTo>
                    <a:pt x="811" y="543"/>
                  </a:lnTo>
                  <a:lnTo>
                    <a:pt x="811" y="543"/>
                  </a:lnTo>
                  <a:lnTo>
                    <a:pt x="813" y="545"/>
                  </a:lnTo>
                  <a:lnTo>
                    <a:pt x="811" y="545"/>
                  </a:lnTo>
                  <a:lnTo>
                    <a:pt x="811" y="545"/>
                  </a:lnTo>
                  <a:lnTo>
                    <a:pt x="811" y="545"/>
                  </a:lnTo>
                  <a:lnTo>
                    <a:pt x="811" y="545"/>
                  </a:lnTo>
                  <a:lnTo>
                    <a:pt x="811" y="547"/>
                  </a:lnTo>
                  <a:lnTo>
                    <a:pt x="807" y="547"/>
                  </a:lnTo>
                  <a:lnTo>
                    <a:pt x="807" y="547"/>
                  </a:lnTo>
                  <a:lnTo>
                    <a:pt x="807" y="547"/>
                  </a:lnTo>
                  <a:lnTo>
                    <a:pt x="805" y="549"/>
                  </a:lnTo>
                  <a:lnTo>
                    <a:pt x="803" y="549"/>
                  </a:lnTo>
                  <a:lnTo>
                    <a:pt x="803" y="549"/>
                  </a:lnTo>
                  <a:lnTo>
                    <a:pt x="803" y="549"/>
                  </a:lnTo>
                  <a:lnTo>
                    <a:pt x="803" y="551"/>
                  </a:lnTo>
                  <a:lnTo>
                    <a:pt x="803" y="551"/>
                  </a:lnTo>
                  <a:lnTo>
                    <a:pt x="803" y="551"/>
                  </a:lnTo>
                  <a:lnTo>
                    <a:pt x="803" y="551"/>
                  </a:lnTo>
                  <a:lnTo>
                    <a:pt x="803" y="553"/>
                  </a:lnTo>
                  <a:lnTo>
                    <a:pt x="803" y="553"/>
                  </a:lnTo>
                  <a:lnTo>
                    <a:pt x="803" y="553"/>
                  </a:lnTo>
                  <a:lnTo>
                    <a:pt x="801" y="555"/>
                  </a:lnTo>
                  <a:lnTo>
                    <a:pt x="801" y="555"/>
                  </a:lnTo>
                  <a:lnTo>
                    <a:pt x="801" y="555"/>
                  </a:lnTo>
                  <a:lnTo>
                    <a:pt x="801" y="557"/>
                  </a:lnTo>
                  <a:lnTo>
                    <a:pt x="799" y="559"/>
                  </a:lnTo>
                  <a:lnTo>
                    <a:pt x="797" y="562"/>
                  </a:lnTo>
                  <a:lnTo>
                    <a:pt x="797" y="562"/>
                  </a:lnTo>
                  <a:lnTo>
                    <a:pt x="795" y="564"/>
                  </a:lnTo>
                  <a:lnTo>
                    <a:pt x="795" y="564"/>
                  </a:lnTo>
                  <a:lnTo>
                    <a:pt x="797" y="566"/>
                  </a:lnTo>
                  <a:lnTo>
                    <a:pt x="797" y="566"/>
                  </a:lnTo>
                  <a:lnTo>
                    <a:pt x="797" y="568"/>
                  </a:lnTo>
                  <a:lnTo>
                    <a:pt x="799" y="568"/>
                  </a:lnTo>
                  <a:lnTo>
                    <a:pt x="799" y="568"/>
                  </a:lnTo>
                  <a:lnTo>
                    <a:pt x="799" y="568"/>
                  </a:lnTo>
                  <a:lnTo>
                    <a:pt x="797" y="570"/>
                  </a:lnTo>
                  <a:lnTo>
                    <a:pt x="797" y="570"/>
                  </a:lnTo>
                  <a:lnTo>
                    <a:pt x="797" y="570"/>
                  </a:lnTo>
                  <a:lnTo>
                    <a:pt x="797" y="570"/>
                  </a:lnTo>
                  <a:lnTo>
                    <a:pt x="797" y="570"/>
                  </a:lnTo>
                  <a:lnTo>
                    <a:pt x="797" y="570"/>
                  </a:lnTo>
                  <a:lnTo>
                    <a:pt x="797" y="572"/>
                  </a:lnTo>
                  <a:lnTo>
                    <a:pt x="797" y="572"/>
                  </a:lnTo>
                  <a:lnTo>
                    <a:pt x="797" y="572"/>
                  </a:lnTo>
                  <a:lnTo>
                    <a:pt x="799" y="572"/>
                  </a:lnTo>
                  <a:lnTo>
                    <a:pt x="799" y="572"/>
                  </a:lnTo>
                  <a:lnTo>
                    <a:pt x="799" y="572"/>
                  </a:lnTo>
                  <a:lnTo>
                    <a:pt x="799" y="572"/>
                  </a:lnTo>
                  <a:lnTo>
                    <a:pt x="799" y="572"/>
                  </a:lnTo>
                  <a:lnTo>
                    <a:pt x="799" y="572"/>
                  </a:lnTo>
                  <a:lnTo>
                    <a:pt x="799" y="572"/>
                  </a:lnTo>
                  <a:lnTo>
                    <a:pt x="799" y="570"/>
                  </a:lnTo>
                  <a:lnTo>
                    <a:pt x="799" y="570"/>
                  </a:lnTo>
                  <a:lnTo>
                    <a:pt x="799" y="570"/>
                  </a:lnTo>
                  <a:lnTo>
                    <a:pt x="799" y="570"/>
                  </a:lnTo>
                  <a:lnTo>
                    <a:pt x="799" y="570"/>
                  </a:lnTo>
                  <a:lnTo>
                    <a:pt x="799" y="570"/>
                  </a:lnTo>
                  <a:lnTo>
                    <a:pt x="799" y="570"/>
                  </a:lnTo>
                  <a:lnTo>
                    <a:pt x="799" y="568"/>
                  </a:lnTo>
                  <a:lnTo>
                    <a:pt x="799" y="570"/>
                  </a:lnTo>
                  <a:lnTo>
                    <a:pt x="799" y="568"/>
                  </a:lnTo>
                  <a:lnTo>
                    <a:pt x="799" y="568"/>
                  </a:lnTo>
                  <a:lnTo>
                    <a:pt x="799" y="568"/>
                  </a:lnTo>
                  <a:lnTo>
                    <a:pt x="799" y="568"/>
                  </a:lnTo>
                  <a:lnTo>
                    <a:pt x="799" y="568"/>
                  </a:lnTo>
                  <a:lnTo>
                    <a:pt x="799" y="568"/>
                  </a:lnTo>
                  <a:lnTo>
                    <a:pt x="801" y="568"/>
                  </a:lnTo>
                  <a:lnTo>
                    <a:pt x="799" y="568"/>
                  </a:lnTo>
                  <a:lnTo>
                    <a:pt x="801" y="568"/>
                  </a:lnTo>
                  <a:lnTo>
                    <a:pt x="801" y="568"/>
                  </a:lnTo>
                  <a:lnTo>
                    <a:pt x="803" y="568"/>
                  </a:lnTo>
                  <a:lnTo>
                    <a:pt x="801" y="568"/>
                  </a:lnTo>
                  <a:lnTo>
                    <a:pt x="801" y="568"/>
                  </a:lnTo>
                  <a:lnTo>
                    <a:pt x="801" y="568"/>
                  </a:lnTo>
                  <a:lnTo>
                    <a:pt x="801" y="568"/>
                  </a:lnTo>
                  <a:lnTo>
                    <a:pt x="803" y="568"/>
                  </a:lnTo>
                  <a:lnTo>
                    <a:pt x="803" y="568"/>
                  </a:lnTo>
                  <a:lnTo>
                    <a:pt x="803" y="568"/>
                  </a:lnTo>
                  <a:lnTo>
                    <a:pt x="803" y="568"/>
                  </a:lnTo>
                  <a:lnTo>
                    <a:pt x="803" y="568"/>
                  </a:lnTo>
                  <a:lnTo>
                    <a:pt x="803" y="568"/>
                  </a:lnTo>
                  <a:lnTo>
                    <a:pt x="803" y="570"/>
                  </a:lnTo>
                  <a:lnTo>
                    <a:pt x="801" y="570"/>
                  </a:lnTo>
                  <a:lnTo>
                    <a:pt x="801" y="570"/>
                  </a:lnTo>
                  <a:lnTo>
                    <a:pt x="801" y="570"/>
                  </a:lnTo>
                  <a:lnTo>
                    <a:pt x="801" y="572"/>
                  </a:lnTo>
                  <a:lnTo>
                    <a:pt x="801" y="572"/>
                  </a:lnTo>
                  <a:lnTo>
                    <a:pt x="801" y="572"/>
                  </a:lnTo>
                  <a:lnTo>
                    <a:pt x="801" y="572"/>
                  </a:lnTo>
                  <a:lnTo>
                    <a:pt x="801" y="574"/>
                  </a:lnTo>
                  <a:lnTo>
                    <a:pt x="801" y="574"/>
                  </a:lnTo>
                  <a:lnTo>
                    <a:pt x="801" y="574"/>
                  </a:lnTo>
                  <a:lnTo>
                    <a:pt x="801" y="574"/>
                  </a:lnTo>
                  <a:lnTo>
                    <a:pt x="799" y="576"/>
                  </a:lnTo>
                  <a:lnTo>
                    <a:pt x="799" y="576"/>
                  </a:lnTo>
                  <a:lnTo>
                    <a:pt x="801" y="578"/>
                  </a:lnTo>
                  <a:lnTo>
                    <a:pt x="801" y="580"/>
                  </a:lnTo>
                  <a:lnTo>
                    <a:pt x="801" y="580"/>
                  </a:lnTo>
                  <a:lnTo>
                    <a:pt x="801" y="582"/>
                  </a:lnTo>
                  <a:lnTo>
                    <a:pt x="803" y="582"/>
                  </a:lnTo>
                  <a:lnTo>
                    <a:pt x="803" y="582"/>
                  </a:lnTo>
                  <a:lnTo>
                    <a:pt x="803" y="584"/>
                  </a:lnTo>
                  <a:lnTo>
                    <a:pt x="803" y="586"/>
                  </a:lnTo>
                  <a:lnTo>
                    <a:pt x="803" y="586"/>
                  </a:lnTo>
                  <a:lnTo>
                    <a:pt x="805" y="590"/>
                  </a:lnTo>
                  <a:lnTo>
                    <a:pt x="805" y="596"/>
                  </a:lnTo>
                  <a:lnTo>
                    <a:pt x="807" y="596"/>
                  </a:lnTo>
                  <a:lnTo>
                    <a:pt x="807" y="596"/>
                  </a:lnTo>
                  <a:lnTo>
                    <a:pt x="807" y="596"/>
                  </a:lnTo>
                  <a:lnTo>
                    <a:pt x="807" y="598"/>
                  </a:lnTo>
                  <a:lnTo>
                    <a:pt x="807" y="598"/>
                  </a:lnTo>
                  <a:lnTo>
                    <a:pt x="807" y="598"/>
                  </a:lnTo>
                  <a:lnTo>
                    <a:pt x="807" y="600"/>
                  </a:lnTo>
                  <a:lnTo>
                    <a:pt x="809" y="607"/>
                  </a:lnTo>
                  <a:lnTo>
                    <a:pt x="809" y="607"/>
                  </a:lnTo>
                  <a:lnTo>
                    <a:pt x="809" y="609"/>
                  </a:lnTo>
                  <a:lnTo>
                    <a:pt x="809" y="609"/>
                  </a:lnTo>
                  <a:lnTo>
                    <a:pt x="809" y="609"/>
                  </a:lnTo>
                  <a:lnTo>
                    <a:pt x="809" y="609"/>
                  </a:lnTo>
                  <a:lnTo>
                    <a:pt x="807" y="609"/>
                  </a:lnTo>
                  <a:lnTo>
                    <a:pt x="807" y="609"/>
                  </a:lnTo>
                  <a:lnTo>
                    <a:pt x="807" y="611"/>
                  </a:lnTo>
                  <a:lnTo>
                    <a:pt x="805" y="611"/>
                  </a:lnTo>
                  <a:lnTo>
                    <a:pt x="805" y="611"/>
                  </a:lnTo>
                  <a:lnTo>
                    <a:pt x="805" y="611"/>
                  </a:lnTo>
                  <a:lnTo>
                    <a:pt x="805" y="611"/>
                  </a:lnTo>
                  <a:lnTo>
                    <a:pt x="805" y="613"/>
                  </a:lnTo>
                  <a:lnTo>
                    <a:pt x="803" y="613"/>
                  </a:lnTo>
                  <a:lnTo>
                    <a:pt x="803" y="613"/>
                  </a:lnTo>
                  <a:lnTo>
                    <a:pt x="803" y="613"/>
                  </a:lnTo>
                  <a:lnTo>
                    <a:pt x="803" y="615"/>
                  </a:lnTo>
                  <a:lnTo>
                    <a:pt x="803" y="615"/>
                  </a:lnTo>
                  <a:lnTo>
                    <a:pt x="803" y="615"/>
                  </a:lnTo>
                  <a:lnTo>
                    <a:pt x="803" y="617"/>
                  </a:lnTo>
                  <a:lnTo>
                    <a:pt x="801" y="617"/>
                  </a:lnTo>
                  <a:lnTo>
                    <a:pt x="801" y="619"/>
                  </a:lnTo>
                  <a:lnTo>
                    <a:pt x="801" y="619"/>
                  </a:lnTo>
                  <a:lnTo>
                    <a:pt x="801" y="621"/>
                  </a:lnTo>
                  <a:lnTo>
                    <a:pt x="799" y="619"/>
                  </a:lnTo>
                  <a:lnTo>
                    <a:pt x="799" y="619"/>
                  </a:lnTo>
                  <a:lnTo>
                    <a:pt x="801" y="617"/>
                  </a:lnTo>
                  <a:lnTo>
                    <a:pt x="801" y="617"/>
                  </a:lnTo>
                  <a:lnTo>
                    <a:pt x="801" y="617"/>
                  </a:lnTo>
                  <a:lnTo>
                    <a:pt x="801" y="617"/>
                  </a:lnTo>
                  <a:lnTo>
                    <a:pt x="799" y="619"/>
                  </a:lnTo>
                  <a:lnTo>
                    <a:pt x="799" y="619"/>
                  </a:lnTo>
                  <a:lnTo>
                    <a:pt x="799" y="621"/>
                  </a:lnTo>
                  <a:lnTo>
                    <a:pt x="801" y="625"/>
                  </a:lnTo>
                  <a:lnTo>
                    <a:pt x="801" y="627"/>
                  </a:lnTo>
                  <a:lnTo>
                    <a:pt x="803" y="629"/>
                  </a:lnTo>
                  <a:lnTo>
                    <a:pt x="803" y="629"/>
                  </a:lnTo>
                  <a:lnTo>
                    <a:pt x="803" y="629"/>
                  </a:lnTo>
                  <a:lnTo>
                    <a:pt x="803" y="629"/>
                  </a:lnTo>
                  <a:lnTo>
                    <a:pt x="803" y="627"/>
                  </a:lnTo>
                  <a:lnTo>
                    <a:pt x="803" y="627"/>
                  </a:lnTo>
                  <a:lnTo>
                    <a:pt x="805" y="627"/>
                  </a:lnTo>
                  <a:lnTo>
                    <a:pt x="807" y="627"/>
                  </a:lnTo>
                  <a:lnTo>
                    <a:pt x="809" y="627"/>
                  </a:lnTo>
                  <a:lnTo>
                    <a:pt x="809" y="627"/>
                  </a:lnTo>
                  <a:lnTo>
                    <a:pt x="809" y="627"/>
                  </a:lnTo>
                  <a:lnTo>
                    <a:pt x="809" y="627"/>
                  </a:lnTo>
                  <a:lnTo>
                    <a:pt x="809" y="627"/>
                  </a:lnTo>
                  <a:lnTo>
                    <a:pt x="809" y="627"/>
                  </a:lnTo>
                  <a:lnTo>
                    <a:pt x="811" y="627"/>
                  </a:lnTo>
                  <a:lnTo>
                    <a:pt x="811" y="627"/>
                  </a:lnTo>
                  <a:lnTo>
                    <a:pt x="811" y="627"/>
                  </a:lnTo>
                  <a:lnTo>
                    <a:pt x="811" y="627"/>
                  </a:lnTo>
                  <a:lnTo>
                    <a:pt x="811" y="629"/>
                  </a:lnTo>
                  <a:lnTo>
                    <a:pt x="811" y="629"/>
                  </a:lnTo>
                  <a:lnTo>
                    <a:pt x="811" y="629"/>
                  </a:lnTo>
                  <a:lnTo>
                    <a:pt x="811" y="629"/>
                  </a:lnTo>
                  <a:lnTo>
                    <a:pt x="811" y="629"/>
                  </a:lnTo>
                  <a:lnTo>
                    <a:pt x="809" y="629"/>
                  </a:lnTo>
                  <a:lnTo>
                    <a:pt x="809" y="629"/>
                  </a:lnTo>
                  <a:lnTo>
                    <a:pt x="807" y="631"/>
                  </a:lnTo>
                  <a:lnTo>
                    <a:pt x="807" y="631"/>
                  </a:lnTo>
                  <a:lnTo>
                    <a:pt x="807" y="631"/>
                  </a:lnTo>
                  <a:lnTo>
                    <a:pt x="805" y="631"/>
                  </a:lnTo>
                  <a:lnTo>
                    <a:pt x="805" y="631"/>
                  </a:lnTo>
                  <a:lnTo>
                    <a:pt x="805" y="631"/>
                  </a:lnTo>
                  <a:lnTo>
                    <a:pt x="805" y="631"/>
                  </a:lnTo>
                  <a:lnTo>
                    <a:pt x="805" y="631"/>
                  </a:lnTo>
                  <a:lnTo>
                    <a:pt x="805" y="631"/>
                  </a:lnTo>
                  <a:lnTo>
                    <a:pt x="805" y="631"/>
                  </a:lnTo>
                  <a:lnTo>
                    <a:pt x="805" y="631"/>
                  </a:lnTo>
                  <a:lnTo>
                    <a:pt x="805" y="631"/>
                  </a:lnTo>
                  <a:lnTo>
                    <a:pt x="805" y="631"/>
                  </a:lnTo>
                  <a:lnTo>
                    <a:pt x="803" y="631"/>
                  </a:lnTo>
                  <a:lnTo>
                    <a:pt x="803" y="631"/>
                  </a:lnTo>
                  <a:lnTo>
                    <a:pt x="803" y="631"/>
                  </a:lnTo>
                  <a:lnTo>
                    <a:pt x="803" y="631"/>
                  </a:lnTo>
                  <a:lnTo>
                    <a:pt x="803" y="631"/>
                  </a:lnTo>
                  <a:lnTo>
                    <a:pt x="803" y="631"/>
                  </a:lnTo>
                  <a:lnTo>
                    <a:pt x="803" y="633"/>
                  </a:lnTo>
                  <a:lnTo>
                    <a:pt x="803" y="633"/>
                  </a:lnTo>
                  <a:lnTo>
                    <a:pt x="805" y="633"/>
                  </a:lnTo>
                  <a:lnTo>
                    <a:pt x="805" y="633"/>
                  </a:lnTo>
                  <a:lnTo>
                    <a:pt x="805" y="635"/>
                  </a:lnTo>
                  <a:lnTo>
                    <a:pt x="805" y="635"/>
                  </a:lnTo>
                  <a:lnTo>
                    <a:pt x="803" y="639"/>
                  </a:lnTo>
                  <a:lnTo>
                    <a:pt x="803" y="639"/>
                  </a:lnTo>
                  <a:lnTo>
                    <a:pt x="805" y="641"/>
                  </a:lnTo>
                  <a:lnTo>
                    <a:pt x="805" y="641"/>
                  </a:lnTo>
                  <a:lnTo>
                    <a:pt x="805" y="641"/>
                  </a:lnTo>
                  <a:lnTo>
                    <a:pt x="805" y="641"/>
                  </a:lnTo>
                  <a:lnTo>
                    <a:pt x="805" y="643"/>
                  </a:lnTo>
                  <a:lnTo>
                    <a:pt x="805" y="643"/>
                  </a:lnTo>
                  <a:lnTo>
                    <a:pt x="803" y="643"/>
                  </a:lnTo>
                  <a:lnTo>
                    <a:pt x="805" y="643"/>
                  </a:lnTo>
                  <a:lnTo>
                    <a:pt x="805" y="643"/>
                  </a:lnTo>
                  <a:lnTo>
                    <a:pt x="805" y="641"/>
                  </a:lnTo>
                  <a:lnTo>
                    <a:pt x="807" y="641"/>
                  </a:lnTo>
                  <a:lnTo>
                    <a:pt x="807" y="643"/>
                  </a:lnTo>
                  <a:lnTo>
                    <a:pt x="805" y="646"/>
                  </a:lnTo>
                  <a:lnTo>
                    <a:pt x="805" y="646"/>
                  </a:lnTo>
                  <a:lnTo>
                    <a:pt x="805" y="646"/>
                  </a:lnTo>
                  <a:lnTo>
                    <a:pt x="803" y="646"/>
                  </a:lnTo>
                  <a:lnTo>
                    <a:pt x="803" y="646"/>
                  </a:lnTo>
                  <a:lnTo>
                    <a:pt x="803" y="646"/>
                  </a:lnTo>
                  <a:lnTo>
                    <a:pt x="803" y="648"/>
                  </a:lnTo>
                  <a:lnTo>
                    <a:pt x="801" y="648"/>
                  </a:lnTo>
                  <a:lnTo>
                    <a:pt x="801" y="648"/>
                  </a:lnTo>
                  <a:lnTo>
                    <a:pt x="801" y="650"/>
                  </a:lnTo>
                  <a:lnTo>
                    <a:pt x="801" y="650"/>
                  </a:lnTo>
                  <a:lnTo>
                    <a:pt x="801" y="652"/>
                  </a:lnTo>
                  <a:lnTo>
                    <a:pt x="799" y="652"/>
                  </a:lnTo>
                  <a:lnTo>
                    <a:pt x="799" y="652"/>
                  </a:lnTo>
                  <a:lnTo>
                    <a:pt x="799" y="650"/>
                  </a:lnTo>
                  <a:lnTo>
                    <a:pt x="799" y="650"/>
                  </a:lnTo>
                  <a:lnTo>
                    <a:pt x="799" y="650"/>
                  </a:lnTo>
                  <a:lnTo>
                    <a:pt x="799" y="650"/>
                  </a:lnTo>
                  <a:lnTo>
                    <a:pt x="799" y="650"/>
                  </a:lnTo>
                  <a:lnTo>
                    <a:pt x="799" y="650"/>
                  </a:lnTo>
                  <a:lnTo>
                    <a:pt x="799" y="650"/>
                  </a:lnTo>
                  <a:lnTo>
                    <a:pt x="799" y="650"/>
                  </a:lnTo>
                  <a:lnTo>
                    <a:pt x="797" y="650"/>
                  </a:lnTo>
                  <a:lnTo>
                    <a:pt x="797" y="650"/>
                  </a:lnTo>
                  <a:lnTo>
                    <a:pt x="797" y="650"/>
                  </a:lnTo>
                  <a:lnTo>
                    <a:pt x="795" y="650"/>
                  </a:lnTo>
                  <a:lnTo>
                    <a:pt x="795" y="650"/>
                  </a:lnTo>
                  <a:lnTo>
                    <a:pt x="793" y="650"/>
                  </a:lnTo>
                  <a:lnTo>
                    <a:pt x="793" y="652"/>
                  </a:lnTo>
                  <a:lnTo>
                    <a:pt x="795" y="652"/>
                  </a:lnTo>
                  <a:lnTo>
                    <a:pt x="801" y="652"/>
                  </a:lnTo>
                  <a:lnTo>
                    <a:pt x="803" y="652"/>
                  </a:lnTo>
                  <a:lnTo>
                    <a:pt x="803" y="654"/>
                  </a:lnTo>
                  <a:lnTo>
                    <a:pt x="803" y="654"/>
                  </a:lnTo>
                  <a:lnTo>
                    <a:pt x="803" y="654"/>
                  </a:lnTo>
                  <a:lnTo>
                    <a:pt x="803" y="652"/>
                  </a:lnTo>
                  <a:lnTo>
                    <a:pt x="803" y="652"/>
                  </a:lnTo>
                  <a:lnTo>
                    <a:pt x="803" y="652"/>
                  </a:lnTo>
                  <a:lnTo>
                    <a:pt x="803" y="652"/>
                  </a:lnTo>
                  <a:lnTo>
                    <a:pt x="803" y="652"/>
                  </a:lnTo>
                  <a:lnTo>
                    <a:pt x="805" y="652"/>
                  </a:lnTo>
                  <a:lnTo>
                    <a:pt x="805" y="654"/>
                  </a:lnTo>
                  <a:lnTo>
                    <a:pt x="805" y="654"/>
                  </a:lnTo>
                  <a:lnTo>
                    <a:pt x="803" y="656"/>
                  </a:lnTo>
                  <a:lnTo>
                    <a:pt x="803" y="656"/>
                  </a:lnTo>
                  <a:lnTo>
                    <a:pt x="803" y="656"/>
                  </a:lnTo>
                  <a:lnTo>
                    <a:pt x="805" y="656"/>
                  </a:lnTo>
                  <a:lnTo>
                    <a:pt x="805" y="656"/>
                  </a:lnTo>
                  <a:lnTo>
                    <a:pt x="805" y="656"/>
                  </a:lnTo>
                  <a:lnTo>
                    <a:pt x="805" y="656"/>
                  </a:lnTo>
                  <a:lnTo>
                    <a:pt x="805" y="654"/>
                  </a:lnTo>
                  <a:lnTo>
                    <a:pt x="807" y="654"/>
                  </a:lnTo>
                  <a:lnTo>
                    <a:pt x="807" y="654"/>
                  </a:lnTo>
                  <a:lnTo>
                    <a:pt x="807" y="654"/>
                  </a:lnTo>
                  <a:lnTo>
                    <a:pt x="807" y="654"/>
                  </a:lnTo>
                  <a:lnTo>
                    <a:pt x="809" y="654"/>
                  </a:lnTo>
                  <a:lnTo>
                    <a:pt x="809" y="654"/>
                  </a:lnTo>
                  <a:lnTo>
                    <a:pt x="809" y="654"/>
                  </a:lnTo>
                  <a:lnTo>
                    <a:pt x="809" y="652"/>
                  </a:lnTo>
                  <a:lnTo>
                    <a:pt x="813" y="652"/>
                  </a:lnTo>
                  <a:lnTo>
                    <a:pt x="815" y="652"/>
                  </a:lnTo>
                  <a:lnTo>
                    <a:pt x="815" y="652"/>
                  </a:lnTo>
                  <a:lnTo>
                    <a:pt x="815" y="652"/>
                  </a:lnTo>
                  <a:lnTo>
                    <a:pt x="813" y="652"/>
                  </a:lnTo>
                  <a:lnTo>
                    <a:pt x="813" y="652"/>
                  </a:lnTo>
                  <a:lnTo>
                    <a:pt x="813" y="650"/>
                  </a:lnTo>
                  <a:lnTo>
                    <a:pt x="813" y="650"/>
                  </a:lnTo>
                  <a:lnTo>
                    <a:pt x="815" y="650"/>
                  </a:lnTo>
                  <a:lnTo>
                    <a:pt x="815" y="648"/>
                  </a:lnTo>
                  <a:lnTo>
                    <a:pt x="817" y="646"/>
                  </a:lnTo>
                  <a:lnTo>
                    <a:pt x="817" y="646"/>
                  </a:lnTo>
                  <a:lnTo>
                    <a:pt x="819" y="646"/>
                  </a:lnTo>
                  <a:lnTo>
                    <a:pt x="817" y="646"/>
                  </a:lnTo>
                  <a:lnTo>
                    <a:pt x="815" y="646"/>
                  </a:lnTo>
                  <a:lnTo>
                    <a:pt x="815" y="646"/>
                  </a:lnTo>
                  <a:lnTo>
                    <a:pt x="817" y="646"/>
                  </a:lnTo>
                  <a:lnTo>
                    <a:pt x="817" y="643"/>
                  </a:lnTo>
                  <a:lnTo>
                    <a:pt x="817" y="643"/>
                  </a:lnTo>
                  <a:lnTo>
                    <a:pt x="817" y="643"/>
                  </a:lnTo>
                  <a:lnTo>
                    <a:pt x="817" y="643"/>
                  </a:lnTo>
                  <a:lnTo>
                    <a:pt x="817" y="643"/>
                  </a:lnTo>
                  <a:lnTo>
                    <a:pt x="817" y="646"/>
                  </a:lnTo>
                  <a:lnTo>
                    <a:pt x="817" y="646"/>
                  </a:lnTo>
                  <a:lnTo>
                    <a:pt x="819" y="646"/>
                  </a:lnTo>
                  <a:lnTo>
                    <a:pt x="819" y="646"/>
                  </a:lnTo>
                  <a:lnTo>
                    <a:pt x="819" y="646"/>
                  </a:lnTo>
                  <a:lnTo>
                    <a:pt x="821" y="646"/>
                  </a:lnTo>
                  <a:lnTo>
                    <a:pt x="823" y="643"/>
                  </a:lnTo>
                  <a:lnTo>
                    <a:pt x="823" y="643"/>
                  </a:lnTo>
                  <a:lnTo>
                    <a:pt x="825" y="643"/>
                  </a:lnTo>
                  <a:lnTo>
                    <a:pt x="825" y="641"/>
                  </a:lnTo>
                  <a:lnTo>
                    <a:pt x="825" y="641"/>
                  </a:lnTo>
                  <a:lnTo>
                    <a:pt x="827" y="641"/>
                  </a:lnTo>
                  <a:lnTo>
                    <a:pt x="827" y="641"/>
                  </a:lnTo>
                  <a:lnTo>
                    <a:pt x="830" y="641"/>
                  </a:lnTo>
                  <a:lnTo>
                    <a:pt x="830" y="643"/>
                  </a:lnTo>
                  <a:lnTo>
                    <a:pt x="830" y="643"/>
                  </a:lnTo>
                  <a:lnTo>
                    <a:pt x="830" y="643"/>
                  </a:lnTo>
                  <a:lnTo>
                    <a:pt x="830" y="646"/>
                  </a:lnTo>
                  <a:lnTo>
                    <a:pt x="832" y="641"/>
                  </a:lnTo>
                  <a:lnTo>
                    <a:pt x="834" y="639"/>
                  </a:lnTo>
                  <a:lnTo>
                    <a:pt x="842" y="633"/>
                  </a:lnTo>
                  <a:lnTo>
                    <a:pt x="842" y="633"/>
                  </a:lnTo>
                  <a:lnTo>
                    <a:pt x="844" y="633"/>
                  </a:lnTo>
                  <a:lnTo>
                    <a:pt x="844" y="633"/>
                  </a:lnTo>
                  <a:lnTo>
                    <a:pt x="844" y="635"/>
                  </a:lnTo>
                  <a:lnTo>
                    <a:pt x="844" y="635"/>
                  </a:lnTo>
                  <a:lnTo>
                    <a:pt x="844" y="635"/>
                  </a:lnTo>
                  <a:lnTo>
                    <a:pt x="844" y="635"/>
                  </a:lnTo>
                  <a:lnTo>
                    <a:pt x="844" y="635"/>
                  </a:lnTo>
                  <a:lnTo>
                    <a:pt x="844" y="635"/>
                  </a:lnTo>
                  <a:lnTo>
                    <a:pt x="844" y="637"/>
                  </a:lnTo>
                  <a:lnTo>
                    <a:pt x="846" y="637"/>
                  </a:lnTo>
                  <a:lnTo>
                    <a:pt x="846" y="637"/>
                  </a:lnTo>
                  <a:lnTo>
                    <a:pt x="846" y="637"/>
                  </a:lnTo>
                  <a:lnTo>
                    <a:pt x="846" y="637"/>
                  </a:lnTo>
                  <a:lnTo>
                    <a:pt x="846" y="637"/>
                  </a:lnTo>
                  <a:lnTo>
                    <a:pt x="846" y="637"/>
                  </a:lnTo>
                  <a:lnTo>
                    <a:pt x="844" y="637"/>
                  </a:lnTo>
                  <a:lnTo>
                    <a:pt x="844" y="637"/>
                  </a:lnTo>
                  <a:lnTo>
                    <a:pt x="844" y="639"/>
                  </a:lnTo>
                  <a:lnTo>
                    <a:pt x="844" y="639"/>
                  </a:lnTo>
                  <a:lnTo>
                    <a:pt x="844" y="639"/>
                  </a:lnTo>
                  <a:lnTo>
                    <a:pt x="844" y="639"/>
                  </a:lnTo>
                  <a:lnTo>
                    <a:pt x="844" y="639"/>
                  </a:lnTo>
                  <a:lnTo>
                    <a:pt x="844" y="639"/>
                  </a:lnTo>
                  <a:lnTo>
                    <a:pt x="846" y="639"/>
                  </a:lnTo>
                  <a:lnTo>
                    <a:pt x="846" y="641"/>
                  </a:lnTo>
                  <a:lnTo>
                    <a:pt x="846" y="641"/>
                  </a:lnTo>
                  <a:lnTo>
                    <a:pt x="846" y="641"/>
                  </a:lnTo>
                  <a:lnTo>
                    <a:pt x="846" y="641"/>
                  </a:lnTo>
                  <a:lnTo>
                    <a:pt x="848" y="641"/>
                  </a:lnTo>
                  <a:lnTo>
                    <a:pt x="848" y="643"/>
                  </a:lnTo>
                  <a:lnTo>
                    <a:pt x="848" y="643"/>
                  </a:lnTo>
                  <a:lnTo>
                    <a:pt x="848" y="643"/>
                  </a:lnTo>
                  <a:lnTo>
                    <a:pt x="848" y="646"/>
                  </a:lnTo>
                  <a:lnTo>
                    <a:pt x="848" y="646"/>
                  </a:lnTo>
                  <a:lnTo>
                    <a:pt x="848" y="646"/>
                  </a:lnTo>
                  <a:lnTo>
                    <a:pt x="848" y="643"/>
                  </a:lnTo>
                  <a:lnTo>
                    <a:pt x="848" y="643"/>
                  </a:lnTo>
                  <a:lnTo>
                    <a:pt x="850" y="643"/>
                  </a:lnTo>
                  <a:lnTo>
                    <a:pt x="850" y="643"/>
                  </a:lnTo>
                  <a:lnTo>
                    <a:pt x="850" y="643"/>
                  </a:lnTo>
                  <a:lnTo>
                    <a:pt x="850" y="643"/>
                  </a:lnTo>
                  <a:lnTo>
                    <a:pt x="852" y="643"/>
                  </a:lnTo>
                  <a:lnTo>
                    <a:pt x="852" y="646"/>
                  </a:lnTo>
                  <a:lnTo>
                    <a:pt x="852" y="646"/>
                  </a:lnTo>
                  <a:lnTo>
                    <a:pt x="852" y="646"/>
                  </a:lnTo>
                  <a:lnTo>
                    <a:pt x="852" y="646"/>
                  </a:lnTo>
                  <a:lnTo>
                    <a:pt x="852" y="648"/>
                  </a:lnTo>
                  <a:lnTo>
                    <a:pt x="852" y="648"/>
                  </a:lnTo>
                  <a:lnTo>
                    <a:pt x="852" y="650"/>
                  </a:lnTo>
                  <a:lnTo>
                    <a:pt x="854" y="650"/>
                  </a:lnTo>
                  <a:lnTo>
                    <a:pt x="854" y="650"/>
                  </a:lnTo>
                  <a:lnTo>
                    <a:pt x="854" y="650"/>
                  </a:lnTo>
                  <a:lnTo>
                    <a:pt x="856" y="650"/>
                  </a:lnTo>
                  <a:lnTo>
                    <a:pt x="856" y="650"/>
                  </a:lnTo>
                  <a:lnTo>
                    <a:pt x="856" y="648"/>
                  </a:lnTo>
                  <a:lnTo>
                    <a:pt x="856" y="648"/>
                  </a:lnTo>
                  <a:lnTo>
                    <a:pt x="856" y="648"/>
                  </a:lnTo>
                  <a:lnTo>
                    <a:pt x="856" y="648"/>
                  </a:lnTo>
                  <a:lnTo>
                    <a:pt x="856" y="648"/>
                  </a:lnTo>
                  <a:lnTo>
                    <a:pt x="856" y="646"/>
                  </a:lnTo>
                  <a:lnTo>
                    <a:pt x="856" y="646"/>
                  </a:lnTo>
                  <a:lnTo>
                    <a:pt x="856" y="646"/>
                  </a:lnTo>
                  <a:lnTo>
                    <a:pt x="858" y="646"/>
                  </a:lnTo>
                  <a:lnTo>
                    <a:pt x="858" y="646"/>
                  </a:lnTo>
                  <a:lnTo>
                    <a:pt x="858" y="646"/>
                  </a:lnTo>
                  <a:lnTo>
                    <a:pt x="858" y="646"/>
                  </a:lnTo>
                  <a:lnTo>
                    <a:pt x="858" y="646"/>
                  </a:lnTo>
                  <a:lnTo>
                    <a:pt x="858" y="643"/>
                  </a:lnTo>
                  <a:lnTo>
                    <a:pt x="858" y="643"/>
                  </a:lnTo>
                  <a:lnTo>
                    <a:pt x="858" y="643"/>
                  </a:lnTo>
                  <a:lnTo>
                    <a:pt x="858" y="641"/>
                  </a:lnTo>
                  <a:lnTo>
                    <a:pt x="858" y="641"/>
                  </a:lnTo>
                  <a:lnTo>
                    <a:pt x="862" y="641"/>
                  </a:lnTo>
                  <a:lnTo>
                    <a:pt x="862" y="641"/>
                  </a:lnTo>
                  <a:lnTo>
                    <a:pt x="862" y="641"/>
                  </a:lnTo>
                  <a:lnTo>
                    <a:pt x="862" y="641"/>
                  </a:lnTo>
                  <a:lnTo>
                    <a:pt x="862" y="643"/>
                  </a:lnTo>
                  <a:lnTo>
                    <a:pt x="862" y="646"/>
                  </a:lnTo>
                  <a:lnTo>
                    <a:pt x="860" y="646"/>
                  </a:lnTo>
                  <a:lnTo>
                    <a:pt x="860" y="648"/>
                  </a:lnTo>
                  <a:lnTo>
                    <a:pt x="860" y="648"/>
                  </a:lnTo>
                  <a:lnTo>
                    <a:pt x="862" y="648"/>
                  </a:lnTo>
                  <a:lnTo>
                    <a:pt x="862" y="648"/>
                  </a:lnTo>
                  <a:lnTo>
                    <a:pt x="864" y="648"/>
                  </a:lnTo>
                  <a:lnTo>
                    <a:pt x="864" y="648"/>
                  </a:lnTo>
                  <a:lnTo>
                    <a:pt x="864" y="648"/>
                  </a:lnTo>
                  <a:lnTo>
                    <a:pt x="864" y="648"/>
                  </a:lnTo>
                  <a:lnTo>
                    <a:pt x="864" y="650"/>
                  </a:lnTo>
                  <a:lnTo>
                    <a:pt x="866" y="652"/>
                  </a:lnTo>
                  <a:lnTo>
                    <a:pt x="870" y="656"/>
                  </a:lnTo>
                  <a:lnTo>
                    <a:pt x="873" y="662"/>
                  </a:lnTo>
                  <a:lnTo>
                    <a:pt x="873" y="664"/>
                  </a:lnTo>
                  <a:lnTo>
                    <a:pt x="875" y="666"/>
                  </a:lnTo>
                  <a:lnTo>
                    <a:pt x="875" y="666"/>
                  </a:lnTo>
                  <a:lnTo>
                    <a:pt x="875" y="668"/>
                  </a:lnTo>
                  <a:lnTo>
                    <a:pt x="875" y="668"/>
                  </a:lnTo>
                  <a:lnTo>
                    <a:pt x="875" y="668"/>
                  </a:lnTo>
                  <a:lnTo>
                    <a:pt x="877" y="668"/>
                  </a:lnTo>
                  <a:lnTo>
                    <a:pt x="877" y="668"/>
                  </a:lnTo>
                  <a:lnTo>
                    <a:pt x="875" y="670"/>
                  </a:lnTo>
                  <a:lnTo>
                    <a:pt x="875" y="670"/>
                  </a:lnTo>
                  <a:lnTo>
                    <a:pt x="875" y="668"/>
                  </a:lnTo>
                  <a:lnTo>
                    <a:pt x="875" y="670"/>
                  </a:lnTo>
                  <a:lnTo>
                    <a:pt x="877" y="670"/>
                  </a:lnTo>
                  <a:lnTo>
                    <a:pt x="881" y="672"/>
                  </a:lnTo>
                  <a:lnTo>
                    <a:pt x="881" y="672"/>
                  </a:lnTo>
                  <a:lnTo>
                    <a:pt x="883" y="670"/>
                  </a:lnTo>
                  <a:lnTo>
                    <a:pt x="881" y="670"/>
                  </a:lnTo>
                  <a:lnTo>
                    <a:pt x="881" y="670"/>
                  </a:lnTo>
                  <a:lnTo>
                    <a:pt x="883" y="670"/>
                  </a:lnTo>
                  <a:lnTo>
                    <a:pt x="883" y="670"/>
                  </a:lnTo>
                  <a:lnTo>
                    <a:pt x="883" y="670"/>
                  </a:lnTo>
                  <a:lnTo>
                    <a:pt x="885" y="668"/>
                  </a:lnTo>
                  <a:lnTo>
                    <a:pt x="885" y="668"/>
                  </a:lnTo>
                  <a:lnTo>
                    <a:pt x="885" y="668"/>
                  </a:lnTo>
                  <a:lnTo>
                    <a:pt x="885" y="666"/>
                  </a:lnTo>
                  <a:lnTo>
                    <a:pt x="885" y="666"/>
                  </a:lnTo>
                  <a:lnTo>
                    <a:pt x="885" y="666"/>
                  </a:lnTo>
                  <a:lnTo>
                    <a:pt x="883" y="666"/>
                  </a:lnTo>
                  <a:lnTo>
                    <a:pt x="883" y="666"/>
                  </a:lnTo>
                  <a:lnTo>
                    <a:pt x="883" y="666"/>
                  </a:lnTo>
                  <a:lnTo>
                    <a:pt x="883" y="664"/>
                  </a:lnTo>
                  <a:lnTo>
                    <a:pt x="883" y="664"/>
                  </a:lnTo>
                  <a:lnTo>
                    <a:pt x="883" y="664"/>
                  </a:lnTo>
                  <a:lnTo>
                    <a:pt x="883" y="664"/>
                  </a:lnTo>
                  <a:lnTo>
                    <a:pt x="883" y="664"/>
                  </a:lnTo>
                  <a:lnTo>
                    <a:pt x="881" y="656"/>
                  </a:lnTo>
                  <a:lnTo>
                    <a:pt x="881" y="654"/>
                  </a:lnTo>
                  <a:lnTo>
                    <a:pt x="881" y="654"/>
                  </a:lnTo>
                  <a:lnTo>
                    <a:pt x="881" y="652"/>
                  </a:lnTo>
                  <a:lnTo>
                    <a:pt x="881" y="652"/>
                  </a:lnTo>
                  <a:lnTo>
                    <a:pt x="881" y="652"/>
                  </a:lnTo>
                  <a:lnTo>
                    <a:pt x="883" y="652"/>
                  </a:lnTo>
                  <a:lnTo>
                    <a:pt x="881" y="652"/>
                  </a:lnTo>
                  <a:lnTo>
                    <a:pt x="881" y="650"/>
                  </a:lnTo>
                  <a:lnTo>
                    <a:pt x="883" y="650"/>
                  </a:lnTo>
                  <a:lnTo>
                    <a:pt x="883" y="650"/>
                  </a:lnTo>
                  <a:lnTo>
                    <a:pt x="883" y="650"/>
                  </a:lnTo>
                  <a:lnTo>
                    <a:pt x="883" y="652"/>
                  </a:lnTo>
                  <a:lnTo>
                    <a:pt x="883" y="652"/>
                  </a:lnTo>
                  <a:lnTo>
                    <a:pt x="883" y="652"/>
                  </a:lnTo>
                  <a:lnTo>
                    <a:pt x="881" y="652"/>
                  </a:lnTo>
                  <a:lnTo>
                    <a:pt x="881" y="654"/>
                  </a:lnTo>
                  <a:lnTo>
                    <a:pt x="881" y="654"/>
                  </a:lnTo>
                  <a:lnTo>
                    <a:pt x="881" y="654"/>
                  </a:lnTo>
                  <a:lnTo>
                    <a:pt x="881" y="654"/>
                  </a:lnTo>
                  <a:lnTo>
                    <a:pt x="881" y="654"/>
                  </a:lnTo>
                  <a:lnTo>
                    <a:pt x="881" y="654"/>
                  </a:lnTo>
                  <a:lnTo>
                    <a:pt x="883" y="654"/>
                  </a:lnTo>
                  <a:lnTo>
                    <a:pt x="883" y="654"/>
                  </a:lnTo>
                  <a:lnTo>
                    <a:pt x="883" y="654"/>
                  </a:lnTo>
                  <a:lnTo>
                    <a:pt x="883" y="654"/>
                  </a:lnTo>
                  <a:lnTo>
                    <a:pt x="883" y="652"/>
                  </a:lnTo>
                  <a:lnTo>
                    <a:pt x="885" y="652"/>
                  </a:lnTo>
                  <a:lnTo>
                    <a:pt x="885" y="652"/>
                  </a:lnTo>
                  <a:lnTo>
                    <a:pt x="883" y="650"/>
                  </a:lnTo>
                  <a:lnTo>
                    <a:pt x="885" y="646"/>
                  </a:lnTo>
                  <a:lnTo>
                    <a:pt x="885" y="646"/>
                  </a:lnTo>
                  <a:lnTo>
                    <a:pt x="885" y="641"/>
                  </a:lnTo>
                  <a:lnTo>
                    <a:pt x="883" y="641"/>
                  </a:lnTo>
                  <a:lnTo>
                    <a:pt x="885" y="641"/>
                  </a:lnTo>
                  <a:lnTo>
                    <a:pt x="885" y="641"/>
                  </a:lnTo>
                  <a:lnTo>
                    <a:pt x="885" y="641"/>
                  </a:lnTo>
                  <a:lnTo>
                    <a:pt x="885" y="643"/>
                  </a:lnTo>
                  <a:lnTo>
                    <a:pt x="885" y="643"/>
                  </a:lnTo>
                  <a:lnTo>
                    <a:pt x="885" y="643"/>
                  </a:lnTo>
                  <a:lnTo>
                    <a:pt x="887" y="643"/>
                  </a:lnTo>
                  <a:lnTo>
                    <a:pt x="885" y="646"/>
                  </a:lnTo>
                  <a:lnTo>
                    <a:pt x="885" y="646"/>
                  </a:lnTo>
                  <a:lnTo>
                    <a:pt x="885" y="646"/>
                  </a:lnTo>
                  <a:lnTo>
                    <a:pt x="885" y="648"/>
                  </a:lnTo>
                  <a:lnTo>
                    <a:pt x="885" y="648"/>
                  </a:lnTo>
                  <a:lnTo>
                    <a:pt x="887" y="648"/>
                  </a:lnTo>
                  <a:lnTo>
                    <a:pt x="887" y="646"/>
                  </a:lnTo>
                  <a:lnTo>
                    <a:pt x="889" y="646"/>
                  </a:lnTo>
                  <a:lnTo>
                    <a:pt x="889" y="643"/>
                  </a:lnTo>
                  <a:lnTo>
                    <a:pt x="891" y="643"/>
                  </a:lnTo>
                  <a:lnTo>
                    <a:pt x="891" y="641"/>
                  </a:lnTo>
                  <a:lnTo>
                    <a:pt x="891" y="641"/>
                  </a:lnTo>
                  <a:lnTo>
                    <a:pt x="891" y="641"/>
                  </a:lnTo>
                  <a:lnTo>
                    <a:pt x="891" y="641"/>
                  </a:lnTo>
                  <a:lnTo>
                    <a:pt x="891" y="641"/>
                  </a:lnTo>
                  <a:lnTo>
                    <a:pt x="891" y="639"/>
                  </a:lnTo>
                  <a:lnTo>
                    <a:pt x="891" y="639"/>
                  </a:lnTo>
                  <a:lnTo>
                    <a:pt x="891" y="639"/>
                  </a:lnTo>
                  <a:lnTo>
                    <a:pt x="891" y="639"/>
                  </a:lnTo>
                  <a:lnTo>
                    <a:pt x="893" y="639"/>
                  </a:lnTo>
                  <a:lnTo>
                    <a:pt x="893" y="639"/>
                  </a:lnTo>
                  <a:lnTo>
                    <a:pt x="893" y="637"/>
                  </a:lnTo>
                  <a:lnTo>
                    <a:pt x="893" y="635"/>
                  </a:lnTo>
                  <a:lnTo>
                    <a:pt x="893" y="633"/>
                  </a:lnTo>
                  <a:lnTo>
                    <a:pt x="891" y="633"/>
                  </a:lnTo>
                  <a:lnTo>
                    <a:pt x="891" y="633"/>
                  </a:lnTo>
                  <a:lnTo>
                    <a:pt x="891" y="633"/>
                  </a:lnTo>
                  <a:lnTo>
                    <a:pt x="891" y="631"/>
                  </a:lnTo>
                  <a:lnTo>
                    <a:pt x="891" y="633"/>
                  </a:lnTo>
                  <a:lnTo>
                    <a:pt x="891" y="633"/>
                  </a:lnTo>
                  <a:lnTo>
                    <a:pt x="893" y="633"/>
                  </a:lnTo>
                  <a:lnTo>
                    <a:pt x="893" y="633"/>
                  </a:lnTo>
                  <a:lnTo>
                    <a:pt x="893" y="633"/>
                  </a:lnTo>
                  <a:lnTo>
                    <a:pt x="893" y="633"/>
                  </a:lnTo>
                  <a:lnTo>
                    <a:pt x="893" y="633"/>
                  </a:lnTo>
                  <a:lnTo>
                    <a:pt x="893" y="635"/>
                  </a:lnTo>
                  <a:lnTo>
                    <a:pt x="893" y="635"/>
                  </a:lnTo>
                  <a:lnTo>
                    <a:pt x="893" y="635"/>
                  </a:lnTo>
                  <a:lnTo>
                    <a:pt x="895" y="637"/>
                  </a:lnTo>
                  <a:lnTo>
                    <a:pt x="895" y="637"/>
                  </a:lnTo>
                  <a:lnTo>
                    <a:pt x="897" y="637"/>
                  </a:lnTo>
                  <a:lnTo>
                    <a:pt x="899" y="639"/>
                  </a:lnTo>
                  <a:lnTo>
                    <a:pt x="901" y="639"/>
                  </a:lnTo>
                  <a:lnTo>
                    <a:pt x="903" y="641"/>
                  </a:lnTo>
                  <a:lnTo>
                    <a:pt x="903" y="643"/>
                  </a:lnTo>
                  <a:lnTo>
                    <a:pt x="905" y="646"/>
                  </a:lnTo>
                  <a:lnTo>
                    <a:pt x="903" y="646"/>
                  </a:lnTo>
                  <a:lnTo>
                    <a:pt x="903" y="648"/>
                  </a:lnTo>
                  <a:lnTo>
                    <a:pt x="905" y="648"/>
                  </a:lnTo>
                  <a:lnTo>
                    <a:pt x="905" y="648"/>
                  </a:lnTo>
                  <a:lnTo>
                    <a:pt x="905" y="648"/>
                  </a:lnTo>
                  <a:lnTo>
                    <a:pt x="905" y="648"/>
                  </a:lnTo>
                  <a:lnTo>
                    <a:pt x="905" y="648"/>
                  </a:lnTo>
                  <a:lnTo>
                    <a:pt x="905" y="648"/>
                  </a:lnTo>
                  <a:lnTo>
                    <a:pt x="905" y="648"/>
                  </a:lnTo>
                  <a:lnTo>
                    <a:pt x="905" y="648"/>
                  </a:lnTo>
                  <a:lnTo>
                    <a:pt x="903" y="648"/>
                  </a:lnTo>
                  <a:lnTo>
                    <a:pt x="903" y="648"/>
                  </a:lnTo>
                  <a:lnTo>
                    <a:pt x="903" y="648"/>
                  </a:lnTo>
                  <a:lnTo>
                    <a:pt x="903" y="646"/>
                  </a:lnTo>
                  <a:lnTo>
                    <a:pt x="903" y="646"/>
                  </a:lnTo>
                  <a:lnTo>
                    <a:pt x="903" y="643"/>
                  </a:lnTo>
                  <a:lnTo>
                    <a:pt x="903" y="643"/>
                  </a:lnTo>
                  <a:lnTo>
                    <a:pt x="901" y="641"/>
                  </a:lnTo>
                  <a:lnTo>
                    <a:pt x="901" y="641"/>
                  </a:lnTo>
                  <a:lnTo>
                    <a:pt x="895" y="639"/>
                  </a:lnTo>
                  <a:lnTo>
                    <a:pt x="895" y="639"/>
                  </a:lnTo>
                  <a:lnTo>
                    <a:pt x="895" y="639"/>
                  </a:lnTo>
                  <a:lnTo>
                    <a:pt x="893" y="639"/>
                  </a:lnTo>
                  <a:lnTo>
                    <a:pt x="893" y="641"/>
                  </a:lnTo>
                  <a:lnTo>
                    <a:pt x="893" y="641"/>
                  </a:lnTo>
                  <a:lnTo>
                    <a:pt x="893" y="641"/>
                  </a:lnTo>
                  <a:lnTo>
                    <a:pt x="893" y="641"/>
                  </a:lnTo>
                  <a:lnTo>
                    <a:pt x="893" y="641"/>
                  </a:lnTo>
                  <a:lnTo>
                    <a:pt x="893" y="641"/>
                  </a:lnTo>
                  <a:lnTo>
                    <a:pt x="893" y="641"/>
                  </a:lnTo>
                  <a:lnTo>
                    <a:pt x="893" y="641"/>
                  </a:lnTo>
                  <a:lnTo>
                    <a:pt x="893" y="641"/>
                  </a:lnTo>
                  <a:lnTo>
                    <a:pt x="893" y="641"/>
                  </a:lnTo>
                  <a:lnTo>
                    <a:pt x="893" y="641"/>
                  </a:lnTo>
                  <a:lnTo>
                    <a:pt x="895" y="643"/>
                  </a:lnTo>
                  <a:lnTo>
                    <a:pt x="893" y="643"/>
                  </a:lnTo>
                  <a:lnTo>
                    <a:pt x="893" y="643"/>
                  </a:lnTo>
                  <a:lnTo>
                    <a:pt x="893" y="646"/>
                  </a:lnTo>
                  <a:lnTo>
                    <a:pt x="893" y="646"/>
                  </a:lnTo>
                  <a:lnTo>
                    <a:pt x="891" y="648"/>
                  </a:lnTo>
                  <a:lnTo>
                    <a:pt x="891" y="648"/>
                  </a:lnTo>
                  <a:lnTo>
                    <a:pt x="891" y="648"/>
                  </a:lnTo>
                  <a:lnTo>
                    <a:pt x="891" y="648"/>
                  </a:lnTo>
                  <a:lnTo>
                    <a:pt x="891" y="650"/>
                  </a:lnTo>
                  <a:lnTo>
                    <a:pt x="891" y="650"/>
                  </a:lnTo>
                  <a:lnTo>
                    <a:pt x="889" y="650"/>
                  </a:lnTo>
                  <a:lnTo>
                    <a:pt x="889" y="650"/>
                  </a:lnTo>
                  <a:lnTo>
                    <a:pt x="891" y="652"/>
                  </a:lnTo>
                  <a:lnTo>
                    <a:pt x="891" y="652"/>
                  </a:lnTo>
                  <a:lnTo>
                    <a:pt x="893" y="654"/>
                  </a:lnTo>
                  <a:lnTo>
                    <a:pt x="895" y="654"/>
                  </a:lnTo>
                  <a:lnTo>
                    <a:pt x="895" y="654"/>
                  </a:lnTo>
                  <a:lnTo>
                    <a:pt x="895" y="656"/>
                  </a:lnTo>
                  <a:lnTo>
                    <a:pt x="895" y="658"/>
                  </a:lnTo>
                  <a:lnTo>
                    <a:pt x="895" y="658"/>
                  </a:lnTo>
                  <a:lnTo>
                    <a:pt x="895" y="660"/>
                  </a:lnTo>
                  <a:lnTo>
                    <a:pt x="897" y="662"/>
                  </a:lnTo>
                  <a:lnTo>
                    <a:pt x="899" y="662"/>
                  </a:lnTo>
                  <a:lnTo>
                    <a:pt x="901" y="662"/>
                  </a:lnTo>
                  <a:lnTo>
                    <a:pt x="905" y="660"/>
                  </a:lnTo>
                  <a:lnTo>
                    <a:pt x="909" y="658"/>
                  </a:lnTo>
                  <a:lnTo>
                    <a:pt x="916" y="656"/>
                  </a:lnTo>
                  <a:lnTo>
                    <a:pt x="918" y="654"/>
                  </a:lnTo>
                  <a:lnTo>
                    <a:pt x="920" y="654"/>
                  </a:lnTo>
                  <a:lnTo>
                    <a:pt x="920" y="654"/>
                  </a:lnTo>
                  <a:lnTo>
                    <a:pt x="922" y="654"/>
                  </a:lnTo>
                  <a:lnTo>
                    <a:pt x="922" y="652"/>
                  </a:lnTo>
                  <a:lnTo>
                    <a:pt x="922" y="652"/>
                  </a:lnTo>
                  <a:lnTo>
                    <a:pt x="922" y="652"/>
                  </a:lnTo>
                  <a:lnTo>
                    <a:pt x="926" y="652"/>
                  </a:lnTo>
                  <a:lnTo>
                    <a:pt x="928" y="650"/>
                  </a:lnTo>
                  <a:lnTo>
                    <a:pt x="930" y="650"/>
                  </a:lnTo>
                  <a:lnTo>
                    <a:pt x="930" y="648"/>
                  </a:lnTo>
                  <a:lnTo>
                    <a:pt x="930" y="648"/>
                  </a:lnTo>
                  <a:lnTo>
                    <a:pt x="932" y="646"/>
                  </a:lnTo>
                  <a:lnTo>
                    <a:pt x="932" y="646"/>
                  </a:lnTo>
                  <a:lnTo>
                    <a:pt x="932" y="643"/>
                  </a:lnTo>
                  <a:lnTo>
                    <a:pt x="934" y="643"/>
                  </a:lnTo>
                  <a:lnTo>
                    <a:pt x="934" y="643"/>
                  </a:lnTo>
                  <a:lnTo>
                    <a:pt x="936" y="643"/>
                  </a:lnTo>
                  <a:lnTo>
                    <a:pt x="936" y="641"/>
                  </a:lnTo>
                  <a:lnTo>
                    <a:pt x="936" y="641"/>
                  </a:lnTo>
                  <a:lnTo>
                    <a:pt x="936" y="641"/>
                  </a:lnTo>
                  <a:lnTo>
                    <a:pt x="936" y="639"/>
                  </a:lnTo>
                  <a:lnTo>
                    <a:pt x="936" y="639"/>
                  </a:lnTo>
                  <a:lnTo>
                    <a:pt x="936" y="637"/>
                  </a:lnTo>
                  <a:lnTo>
                    <a:pt x="936" y="637"/>
                  </a:lnTo>
                  <a:lnTo>
                    <a:pt x="936" y="637"/>
                  </a:lnTo>
                  <a:lnTo>
                    <a:pt x="938" y="635"/>
                  </a:lnTo>
                  <a:lnTo>
                    <a:pt x="938" y="637"/>
                  </a:lnTo>
                  <a:lnTo>
                    <a:pt x="938" y="637"/>
                  </a:lnTo>
                  <a:lnTo>
                    <a:pt x="936" y="637"/>
                  </a:lnTo>
                  <a:lnTo>
                    <a:pt x="936" y="639"/>
                  </a:lnTo>
                  <a:lnTo>
                    <a:pt x="936" y="643"/>
                  </a:lnTo>
                  <a:lnTo>
                    <a:pt x="936" y="643"/>
                  </a:lnTo>
                  <a:lnTo>
                    <a:pt x="936" y="643"/>
                  </a:lnTo>
                  <a:lnTo>
                    <a:pt x="934" y="646"/>
                  </a:lnTo>
                  <a:lnTo>
                    <a:pt x="934" y="646"/>
                  </a:lnTo>
                  <a:lnTo>
                    <a:pt x="932" y="646"/>
                  </a:lnTo>
                  <a:lnTo>
                    <a:pt x="932" y="646"/>
                  </a:lnTo>
                  <a:lnTo>
                    <a:pt x="932" y="648"/>
                  </a:lnTo>
                  <a:lnTo>
                    <a:pt x="932" y="648"/>
                  </a:lnTo>
                  <a:lnTo>
                    <a:pt x="932" y="648"/>
                  </a:lnTo>
                  <a:lnTo>
                    <a:pt x="932" y="648"/>
                  </a:lnTo>
                  <a:lnTo>
                    <a:pt x="932" y="650"/>
                  </a:lnTo>
                  <a:lnTo>
                    <a:pt x="932" y="650"/>
                  </a:lnTo>
                  <a:lnTo>
                    <a:pt x="932" y="650"/>
                  </a:lnTo>
                  <a:lnTo>
                    <a:pt x="932" y="650"/>
                  </a:lnTo>
                  <a:lnTo>
                    <a:pt x="932" y="652"/>
                  </a:lnTo>
                  <a:lnTo>
                    <a:pt x="930" y="656"/>
                  </a:lnTo>
                  <a:lnTo>
                    <a:pt x="930" y="656"/>
                  </a:lnTo>
                  <a:lnTo>
                    <a:pt x="930" y="658"/>
                  </a:lnTo>
                  <a:lnTo>
                    <a:pt x="932" y="658"/>
                  </a:lnTo>
                  <a:lnTo>
                    <a:pt x="932" y="658"/>
                  </a:lnTo>
                  <a:lnTo>
                    <a:pt x="934" y="658"/>
                  </a:lnTo>
                  <a:lnTo>
                    <a:pt x="934" y="658"/>
                  </a:lnTo>
                  <a:lnTo>
                    <a:pt x="932" y="658"/>
                  </a:lnTo>
                  <a:lnTo>
                    <a:pt x="932" y="658"/>
                  </a:lnTo>
                  <a:lnTo>
                    <a:pt x="930" y="658"/>
                  </a:lnTo>
                  <a:lnTo>
                    <a:pt x="928" y="660"/>
                  </a:lnTo>
                  <a:lnTo>
                    <a:pt x="928" y="660"/>
                  </a:lnTo>
                  <a:lnTo>
                    <a:pt x="924" y="662"/>
                  </a:lnTo>
                  <a:lnTo>
                    <a:pt x="922" y="666"/>
                  </a:lnTo>
                  <a:lnTo>
                    <a:pt x="922" y="668"/>
                  </a:lnTo>
                  <a:lnTo>
                    <a:pt x="920" y="668"/>
                  </a:lnTo>
                  <a:lnTo>
                    <a:pt x="920" y="668"/>
                  </a:lnTo>
                  <a:lnTo>
                    <a:pt x="918" y="670"/>
                  </a:lnTo>
                  <a:lnTo>
                    <a:pt x="916" y="676"/>
                  </a:lnTo>
                  <a:lnTo>
                    <a:pt x="916" y="678"/>
                  </a:lnTo>
                  <a:lnTo>
                    <a:pt x="916" y="680"/>
                  </a:lnTo>
                  <a:lnTo>
                    <a:pt x="916" y="680"/>
                  </a:lnTo>
                  <a:lnTo>
                    <a:pt x="916" y="682"/>
                  </a:lnTo>
                  <a:lnTo>
                    <a:pt x="918" y="682"/>
                  </a:lnTo>
                  <a:lnTo>
                    <a:pt x="918" y="684"/>
                  </a:lnTo>
                  <a:lnTo>
                    <a:pt x="918" y="682"/>
                  </a:lnTo>
                  <a:lnTo>
                    <a:pt x="920" y="682"/>
                  </a:lnTo>
                  <a:lnTo>
                    <a:pt x="922" y="682"/>
                  </a:lnTo>
                  <a:lnTo>
                    <a:pt x="926" y="684"/>
                  </a:lnTo>
                  <a:lnTo>
                    <a:pt x="926" y="684"/>
                  </a:lnTo>
                  <a:lnTo>
                    <a:pt x="926" y="687"/>
                  </a:lnTo>
                  <a:lnTo>
                    <a:pt x="926" y="687"/>
                  </a:lnTo>
                  <a:lnTo>
                    <a:pt x="926" y="687"/>
                  </a:lnTo>
                  <a:lnTo>
                    <a:pt x="926" y="687"/>
                  </a:lnTo>
                  <a:lnTo>
                    <a:pt x="926" y="684"/>
                  </a:lnTo>
                  <a:lnTo>
                    <a:pt x="926" y="684"/>
                  </a:lnTo>
                  <a:lnTo>
                    <a:pt x="922" y="684"/>
                  </a:lnTo>
                  <a:lnTo>
                    <a:pt x="920" y="684"/>
                  </a:lnTo>
                  <a:lnTo>
                    <a:pt x="920" y="684"/>
                  </a:lnTo>
                  <a:lnTo>
                    <a:pt x="920" y="684"/>
                  </a:lnTo>
                  <a:lnTo>
                    <a:pt x="918" y="687"/>
                  </a:lnTo>
                  <a:lnTo>
                    <a:pt x="918" y="687"/>
                  </a:lnTo>
                  <a:lnTo>
                    <a:pt x="918" y="687"/>
                  </a:lnTo>
                  <a:lnTo>
                    <a:pt x="916" y="687"/>
                  </a:lnTo>
                  <a:lnTo>
                    <a:pt x="916" y="687"/>
                  </a:lnTo>
                  <a:lnTo>
                    <a:pt x="916" y="687"/>
                  </a:lnTo>
                  <a:lnTo>
                    <a:pt x="913" y="687"/>
                  </a:lnTo>
                  <a:lnTo>
                    <a:pt x="913" y="689"/>
                  </a:lnTo>
                  <a:lnTo>
                    <a:pt x="913" y="689"/>
                  </a:lnTo>
                  <a:lnTo>
                    <a:pt x="913" y="691"/>
                  </a:lnTo>
                  <a:lnTo>
                    <a:pt x="913" y="693"/>
                  </a:lnTo>
                  <a:lnTo>
                    <a:pt x="913" y="697"/>
                  </a:lnTo>
                  <a:lnTo>
                    <a:pt x="911" y="699"/>
                  </a:lnTo>
                  <a:lnTo>
                    <a:pt x="911" y="701"/>
                  </a:lnTo>
                  <a:lnTo>
                    <a:pt x="911" y="705"/>
                  </a:lnTo>
                  <a:lnTo>
                    <a:pt x="909" y="707"/>
                  </a:lnTo>
                  <a:lnTo>
                    <a:pt x="909" y="709"/>
                  </a:lnTo>
                  <a:lnTo>
                    <a:pt x="909" y="709"/>
                  </a:lnTo>
                  <a:lnTo>
                    <a:pt x="909" y="711"/>
                  </a:lnTo>
                  <a:lnTo>
                    <a:pt x="909" y="711"/>
                  </a:lnTo>
                  <a:lnTo>
                    <a:pt x="909" y="713"/>
                  </a:lnTo>
                  <a:lnTo>
                    <a:pt x="909" y="713"/>
                  </a:lnTo>
                  <a:lnTo>
                    <a:pt x="909" y="713"/>
                  </a:lnTo>
                  <a:lnTo>
                    <a:pt x="909" y="715"/>
                  </a:lnTo>
                  <a:lnTo>
                    <a:pt x="911" y="715"/>
                  </a:lnTo>
                  <a:lnTo>
                    <a:pt x="911" y="715"/>
                  </a:lnTo>
                  <a:lnTo>
                    <a:pt x="911" y="713"/>
                  </a:lnTo>
                  <a:lnTo>
                    <a:pt x="911" y="713"/>
                  </a:lnTo>
                  <a:lnTo>
                    <a:pt x="911" y="713"/>
                  </a:lnTo>
                  <a:lnTo>
                    <a:pt x="911" y="713"/>
                  </a:lnTo>
                  <a:lnTo>
                    <a:pt x="911" y="713"/>
                  </a:lnTo>
                  <a:lnTo>
                    <a:pt x="911" y="713"/>
                  </a:lnTo>
                  <a:lnTo>
                    <a:pt x="911" y="713"/>
                  </a:lnTo>
                  <a:lnTo>
                    <a:pt x="911" y="715"/>
                  </a:lnTo>
                  <a:lnTo>
                    <a:pt x="911" y="715"/>
                  </a:lnTo>
                  <a:lnTo>
                    <a:pt x="911" y="715"/>
                  </a:lnTo>
                  <a:lnTo>
                    <a:pt x="911" y="715"/>
                  </a:lnTo>
                  <a:lnTo>
                    <a:pt x="911" y="715"/>
                  </a:lnTo>
                  <a:lnTo>
                    <a:pt x="913" y="717"/>
                  </a:lnTo>
                  <a:lnTo>
                    <a:pt x="913" y="717"/>
                  </a:lnTo>
                  <a:lnTo>
                    <a:pt x="911" y="719"/>
                  </a:lnTo>
                  <a:lnTo>
                    <a:pt x="911" y="721"/>
                  </a:lnTo>
                  <a:lnTo>
                    <a:pt x="911" y="721"/>
                  </a:lnTo>
                  <a:lnTo>
                    <a:pt x="913" y="721"/>
                  </a:lnTo>
                  <a:lnTo>
                    <a:pt x="913" y="721"/>
                  </a:lnTo>
                  <a:lnTo>
                    <a:pt x="913" y="721"/>
                  </a:lnTo>
                  <a:lnTo>
                    <a:pt x="913" y="721"/>
                  </a:lnTo>
                  <a:lnTo>
                    <a:pt x="913" y="721"/>
                  </a:lnTo>
                  <a:lnTo>
                    <a:pt x="913" y="721"/>
                  </a:lnTo>
                  <a:lnTo>
                    <a:pt x="918" y="721"/>
                  </a:lnTo>
                  <a:lnTo>
                    <a:pt x="918" y="721"/>
                  </a:lnTo>
                  <a:lnTo>
                    <a:pt x="916" y="719"/>
                  </a:lnTo>
                  <a:lnTo>
                    <a:pt x="916" y="719"/>
                  </a:lnTo>
                  <a:lnTo>
                    <a:pt x="918" y="717"/>
                  </a:lnTo>
                  <a:lnTo>
                    <a:pt x="918" y="717"/>
                  </a:lnTo>
                  <a:lnTo>
                    <a:pt x="918" y="717"/>
                  </a:lnTo>
                  <a:lnTo>
                    <a:pt x="918" y="717"/>
                  </a:lnTo>
                  <a:lnTo>
                    <a:pt x="918" y="719"/>
                  </a:lnTo>
                  <a:lnTo>
                    <a:pt x="918" y="719"/>
                  </a:lnTo>
                  <a:lnTo>
                    <a:pt x="918" y="719"/>
                  </a:lnTo>
                  <a:lnTo>
                    <a:pt x="918" y="719"/>
                  </a:lnTo>
                  <a:lnTo>
                    <a:pt x="918" y="721"/>
                  </a:lnTo>
                  <a:lnTo>
                    <a:pt x="918" y="721"/>
                  </a:lnTo>
                  <a:lnTo>
                    <a:pt x="918" y="721"/>
                  </a:lnTo>
                  <a:lnTo>
                    <a:pt x="918" y="721"/>
                  </a:lnTo>
                  <a:lnTo>
                    <a:pt x="916" y="721"/>
                  </a:lnTo>
                  <a:lnTo>
                    <a:pt x="916" y="721"/>
                  </a:lnTo>
                  <a:lnTo>
                    <a:pt x="913" y="723"/>
                  </a:lnTo>
                  <a:lnTo>
                    <a:pt x="913" y="723"/>
                  </a:lnTo>
                  <a:lnTo>
                    <a:pt x="913" y="721"/>
                  </a:lnTo>
                  <a:lnTo>
                    <a:pt x="909" y="721"/>
                  </a:lnTo>
                  <a:lnTo>
                    <a:pt x="909" y="721"/>
                  </a:lnTo>
                  <a:lnTo>
                    <a:pt x="911" y="721"/>
                  </a:lnTo>
                  <a:lnTo>
                    <a:pt x="909" y="719"/>
                  </a:lnTo>
                  <a:lnTo>
                    <a:pt x="909" y="717"/>
                  </a:lnTo>
                  <a:lnTo>
                    <a:pt x="909" y="717"/>
                  </a:lnTo>
                  <a:lnTo>
                    <a:pt x="909" y="717"/>
                  </a:lnTo>
                  <a:lnTo>
                    <a:pt x="909" y="717"/>
                  </a:lnTo>
                  <a:lnTo>
                    <a:pt x="909" y="717"/>
                  </a:lnTo>
                  <a:lnTo>
                    <a:pt x="907" y="717"/>
                  </a:lnTo>
                  <a:lnTo>
                    <a:pt x="907" y="717"/>
                  </a:lnTo>
                  <a:lnTo>
                    <a:pt x="905" y="719"/>
                  </a:lnTo>
                  <a:lnTo>
                    <a:pt x="903" y="721"/>
                  </a:lnTo>
                  <a:lnTo>
                    <a:pt x="901" y="721"/>
                  </a:lnTo>
                  <a:lnTo>
                    <a:pt x="901" y="723"/>
                  </a:lnTo>
                  <a:lnTo>
                    <a:pt x="899" y="723"/>
                  </a:lnTo>
                  <a:lnTo>
                    <a:pt x="899" y="725"/>
                  </a:lnTo>
                  <a:lnTo>
                    <a:pt x="897" y="725"/>
                  </a:lnTo>
                  <a:lnTo>
                    <a:pt x="897" y="725"/>
                  </a:lnTo>
                  <a:lnTo>
                    <a:pt x="899" y="725"/>
                  </a:lnTo>
                  <a:lnTo>
                    <a:pt x="899" y="725"/>
                  </a:lnTo>
                  <a:lnTo>
                    <a:pt x="899" y="728"/>
                  </a:lnTo>
                  <a:lnTo>
                    <a:pt x="895" y="728"/>
                  </a:lnTo>
                  <a:lnTo>
                    <a:pt x="893" y="730"/>
                  </a:lnTo>
                  <a:lnTo>
                    <a:pt x="891" y="730"/>
                  </a:lnTo>
                  <a:lnTo>
                    <a:pt x="891" y="730"/>
                  </a:lnTo>
                  <a:lnTo>
                    <a:pt x="883" y="740"/>
                  </a:lnTo>
                  <a:lnTo>
                    <a:pt x="881" y="742"/>
                  </a:lnTo>
                  <a:lnTo>
                    <a:pt x="881" y="744"/>
                  </a:lnTo>
                  <a:lnTo>
                    <a:pt x="881" y="744"/>
                  </a:lnTo>
                  <a:lnTo>
                    <a:pt x="879" y="746"/>
                  </a:lnTo>
                  <a:lnTo>
                    <a:pt x="879" y="746"/>
                  </a:lnTo>
                  <a:lnTo>
                    <a:pt x="879" y="748"/>
                  </a:lnTo>
                  <a:lnTo>
                    <a:pt x="879" y="750"/>
                  </a:lnTo>
                  <a:lnTo>
                    <a:pt x="879" y="752"/>
                  </a:lnTo>
                  <a:lnTo>
                    <a:pt x="881" y="754"/>
                  </a:lnTo>
                  <a:lnTo>
                    <a:pt x="881" y="754"/>
                  </a:lnTo>
                  <a:lnTo>
                    <a:pt x="881" y="754"/>
                  </a:lnTo>
                  <a:lnTo>
                    <a:pt x="881" y="754"/>
                  </a:lnTo>
                  <a:lnTo>
                    <a:pt x="881" y="758"/>
                  </a:lnTo>
                  <a:lnTo>
                    <a:pt x="881" y="756"/>
                  </a:lnTo>
                  <a:lnTo>
                    <a:pt x="879" y="756"/>
                  </a:lnTo>
                  <a:lnTo>
                    <a:pt x="879" y="756"/>
                  </a:lnTo>
                  <a:lnTo>
                    <a:pt x="879" y="756"/>
                  </a:lnTo>
                  <a:lnTo>
                    <a:pt x="877" y="756"/>
                  </a:lnTo>
                  <a:lnTo>
                    <a:pt x="877" y="756"/>
                  </a:lnTo>
                  <a:lnTo>
                    <a:pt x="877" y="756"/>
                  </a:lnTo>
                  <a:lnTo>
                    <a:pt x="875" y="756"/>
                  </a:lnTo>
                  <a:lnTo>
                    <a:pt x="875" y="756"/>
                  </a:lnTo>
                  <a:lnTo>
                    <a:pt x="875" y="754"/>
                  </a:lnTo>
                  <a:lnTo>
                    <a:pt x="873" y="754"/>
                  </a:lnTo>
                  <a:lnTo>
                    <a:pt x="873" y="752"/>
                  </a:lnTo>
                  <a:lnTo>
                    <a:pt x="873" y="752"/>
                  </a:lnTo>
                  <a:lnTo>
                    <a:pt x="870" y="754"/>
                  </a:lnTo>
                  <a:lnTo>
                    <a:pt x="870" y="754"/>
                  </a:lnTo>
                  <a:lnTo>
                    <a:pt x="870" y="756"/>
                  </a:lnTo>
                  <a:lnTo>
                    <a:pt x="870" y="756"/>
                  </a:lnTo>
                  <a:lnTo>
                    <a:pt x="870" y="756"/>
                  </a:lnTo>
                  <a:lnTo>
                    <a:pt x="870" y="754"/>
                  </a:lnTo>
                  <a:lnTo>
                    <a:pt x="868" y="754"/>
                  </a:lnTo>
                  <a:lnTo>
                    <a:pt x="870" y="754"/>
                  </a:lnTo>
                  <a:lnTo>
                    <a:pt x="870" y="754"/>
                  </a:lnTo>
                  <a:lnTo>
                    <a:pt x="873" y="752"/>
                  </a:lnTo>
                  <a:lnTo>
                    <a:pt x="875" y="750"/>
                  </a:lnTo>
                  <a:lnTo>
                    <a:pt x="875" y="750"/>
                  </a:lnTo>
                  <a:lnTo>
                    <a:pt x="875" y="750"/>
                  </a:lnTo>
                  <a:lnTo>
                    <a:pt x="873" y="752"/>
                  </a:lnTo>
                  <a:lnTo>
                    <a:pt x="870" y="752"/>
                  </a:lnTo>
                  <a:lnTo>
                    <a:pt x="868" y="754"/>
                  </a:lnTo>
                  <a:lnTo>
                    <a:pt x="868" y="756"/>
                  </a:lnTo>
                  <a:lnTo>
                    <a:pt x="864" y="756"/>
                  </a:lnTo>
                  <a:lnTo>
                    <a:pt x="864" y="756"/>
                  </a:lnTo>
                  <a:lnTo>
                    <a:pt x="862" y="758"/>
                  </a:lnTo>
                  <a:lnTo>
                    <a:pt x="862" y="758"/>
                  </a:lnTo>
                  <a:lnTo>
                    <a:pt x="862" y="758"/>
                  </a:lnTo>
                  <a:lnTo>
                    <a:pt x="864" y="760"/>
                  </a:lnTo>
                  <a:lnTo>
                    <a:pt x="864" y="760"/>
                  </a:lnTo>
                  <a:lnTo>
                    <a:pt x="862" y="760"/>
                  </a:lnTo>
                  <a:lnTo>
                    <a:pt x="862" y="760"/>
                  </a:lnTo>
                  <a:lnTo>
                    <a:pt x="860" y="760"/>
                  </a:lnTo>
                  <a:lnTo>
                    <a:pt x="860" y="760"/>
                  </a:lnTo>
                  <a:lnTo>
                    <a:pt x="856" y="762"/>
                  </a:lnTo>
                  <a:lnTo>
                    <a:pt x="856" y="762"/>
                  </a:lnTo>
                  <a:lnTo>
                    <a:pt x="854" y="762"/>
                  </a:lnTo>
                  <a:lnTo>
                    <a:pt x="854" y="762"/>
                  </a:lnTo>
                  <a:lnTo>
                    <a:pt x="854" y="762"/>
                  </a:lnTo>
                  <a:lnTo>
                    <a:pt x="856" y="762"/>
                  </a:lnTo>
                  <a:lnTo>
                    <a:pt x="848" y="764"/>
                  </a:lnTo>
                  <a:lnTo>
                    <a:pt x="846" y="766"/>
                  </a:lnTo>
                  <a:lnTo>
                    <a:pt x="842" y="768"/>
                  </a:lnTo>
                  <a:lnTo>
                    <a:pt x="840" y="771"/>
                  </a:lnTo>
                  <a:lnTo>
                    <a:pt x="834" y="773"/>
                  </a:lnTo>
                  <a:lnTo>
                    <a:pt x="834" y="775"/>
                  </a:lnTo>
                  <a:lnTo>
                    <a:pt x="830" y="779"/>
                  </a:lnTo>
                  <a:lnTo>
                    <a:pt x="827" y="781"/>
                  </a:lnTo>
                  <a:lnTo>
                    <a:pt x="827" y="781"/>
                  </a:lnTo>
                  <a:lnTo>
                    <a:pt x="827" y="783"/>
                  </a:lnTo>
                  <a:lnTo>
                    <a:pt x="825" y="783"/>
                  </a:lnTo>
                  <a:lnTo>
                    <a:pt x="825" y="783"/>
                  </a:lnTo>
                  <a:lnTo>
                    <a:pt x="825" y="785"/>
                  </a:lnTo>
                  <a:lnTo>
                    <a:pt x="825" y="787"/>
                  </a:lnTo>
                  <a:lnTo>
                    <a:pt x="825" y="787"/>
                  </a:lnTo>
                  <a:lnTo>
                    <a:pt x="823" y="789"/>
                  </a:lnTo>
                  <a:lnTo>
                    <a:pt x="823" y="791"/>
                  </a:lnTo>
                  <a:lnTo>
                    <a:pt x="821" y="791"/>
                  </a:lnTo>
                  <a:lnTo>
                    <a:pt x="821" y="793"/>
                  </a:lnTo>
                  <a:lnTo>
                    <a:pt x="821" y="793"/>
                  </a:lnTo>
                  <a:lnTo>
                    <a:pt x="821" y="793"/>
                  </a:lnTo>
                  <a:lnTo>
                    <a:pt x="823" y="793"/>
                  </a:lnTo>
                  <a:lnTo>
                    <a:pt x="823" y="793"/>
                  </a:lnTo>
                  <a:lnTo>
                    <a:pt x="821" y="795"/>
                  </a:lnTo>
                  <a:lnTo>
                    <a:pt x="821" y="795"/>
                  </a:lnTo>
                  <a:lnTo>
                    <a:pt x="821" y="795"/>
                  </a:lnTo>
                  <a:lnTo>
                    <a:pt x="821" y="795"/>
                  </a:lnTo>
                  <a:lnTo>
                    <a:pt x="821" y="795"/>
                  </a:lnTo>
                  <a:lnTo>
                    <a:pt x="823" y="795"/>
                  </a:lnTo>
                  <a:lnTo>
                    <a:pt x="827" y="799"/>
                  </a:lnTo>
                  <a:lnTo>
                    <a:pt x="830" y="801"/>
                  </a:lnTo>
                  <a:lnTo>
                    <a:pt x="830" y="801"/>
                  </a:lnTo>
                  <a:lnTo>
                    <a:pt x="830" y="801"/>
                  </a:lnTo>
                  <a:lnTo>
                    <a:pt x="827" y="801"/>
                  </a:lnTo>
                  <a:lnTo>
                    <a:pt x="827" y="803"/>
                  </a:lnTo>
                  <a:lnTo>
                    <a:pt x="830" y="803"/>
                  </a:lnTo>
                  <a:lnTo>
                    <a:pt x="830" y="803"/>
                  </a:lnTo>
                  <a:lnTo>
                    <a:pt x="830" y="805"/>
                  </a:lnTo>
                  <a:lnTo>
                    <a:pt x="830" y="805"/>
                  </a:lnTo>
                  <a:lnTo>
                    <a:pt x="830" y="805"/>
                  </a:lnTo>
                  <a:lnTo>
                    <a:pt x="827" y="805"/>
                  </a:lnTo>
                  <a:lnTo>
                    <a:pt x="825" y="803"/>
                  </a:lnTo>
                  <a:lnTo>
                    <a:pt x="825" y="803"/>
                  </a:lnTo>
                  <a:lnTo>
                    <a:pt x="825" y="803"/>
                  </a:lnTo>
                  <a:lnTo>
                    <a:pt x="825" y="803"/>
                  </a:lnTo>
                  <a:lnTo>
                    <a:pt x="825" y="803"/>
                  </a:lnTo>
                  <a:lnTo>
                    <a:pt x="825" y="803"/>
                  </a:lnTo>
                  <a:lnTo>
                    <a:pt x="823" y="803"/>
                  </a:lnTo>
                  <a:lnTo>
                    <a:pt x="823" y="803"/>
                  </a:lnTo>
                  <a:lnTo>
                    <a:pt x="823" y="803"/>
                  </a:lnTo>
                  <a:lnTo>
                    <a:pt x="823" y="801"/>
                  </a:lnTo>
                  <a:lnTo>
                    <a:pt x="823" y="801"/>
                  </a:lnTo>
                  <a:lnTo>
                    <a:pt x="823" y="801"/>
                  </a:lnTo>
                  <a:lnTo>
                    <a:pt x="823" y="799"/>
                  </a:lnTo>
                  <a:lnTo>
                    <a:pt x="823" y="799"/>
                  </a:lnTo>
                  <a:lnTo>
                    <a:pt x="817" y="799"/>
                  </a:lnTo>
                  <a:lnTo>
                    <a:pt x="817" y="799"/>
                  </a:lnTo>
                  <a:lnTo>
                    <a:pt x="815" y="797"/>
                  </a:lnTo>
                  <a:lnTo>
                    <a:pt x="815" y="797"/>
                  </a:lnTo>
                  <a:lnTo>
                    <a:pt x="815" y="797"/>
                  </a:lnTo>
                  <a:lnTo>
                    <a:pt x="815" y="797"/>
                  </a:lnTo>
                  <a:lnTo>
                    <a:pt x="815" y="797"/>
                  </a:lnTo>
                  <a:lnTo>
                    <a:pt x="815" y="797"/>
                  </a:lnTo>
                  <a:lnTo>
                    <a:pt x="815" y="797"/>
                  </a:lnTo>
                  <a:lnTo>
                    <a:pt x="815" y="797"/>
                  </a:lnTo>
                  <a:lnTo>
                    <a:pt x="815" y="799"/>
                  </a:lnTo>
                  <a:lnTo>
                    <a:pt x="815" y="799"/>
                  </a:lnTo>
                  <a:lnTo>
                    <a:pt x="815" y="801"/>
                  </a:lnTo>
                  <a:lnTo>
                    <a:pt x="815" y="803"/>
                  </a:lnTo>
                  <a:lnTo>
                    <a:pt x="815" y="803"/>
                  </a:lnTo>
                  <a:lnTo>
                    <a:pt x="817" y="803"/>
                  </a:lnTo>
                  <a:lnTo>
                    <a:pt x="817" y="805"/>
                  </a:lnTo>
                  <a:lnTo>
                    <a:pt x="817" y="805"/>
                  </a:lnTo>
                  <a:lnTo>
                    <a:pt x="817" y="805"/>
                  </a:lnTo>
                  <a:lnTo>
                    <a:pt x="817" y="805"/>
                  </a:lnTo>
                  <a:lnTo>
                    <a:pt x="817" y="805"/>
                  </a:lnTo>
                  <a:lnTo>
                    <a:pt x="817" y="805"/>
                  </a:lnTo>
                  <a:lnTo>
                    <a:pt x="817" y="807"/>
                  </a:lnTo>
                  <a:lnTo>
                    <a:pt x="817" y="807"/>
                  </a:lnTo>
                  <a:lnTo>
                    <a:pt x="817" y="807"/>
                  </a:lnTo>
                  <a:lnTo>
                    <a:pt x="817" y="807"/>
                  </a:lnTo>
                  <a:lnTo>
                    <a:pt x="815" y="805"/>
                  </a:lnTo>
                  <a:lnTo>
                    <a:pt x="815" y="805"/>
                  </a:lnTo>
                  <a:lnTo>
                    <a:pt x="815" y="803"/>
                  </a:lnTo>
                  <a:lnTo>
                    <a:pt x="815" y="805"/>
                  </a:lnTo>
                  <a:lnTo>
                    <a:pt x="813" y="805"/>
                  </a:lnTo>
                  <a:lnTo>
                    <a:pt x="813" y="805"/>
                  </a:lnTo>
                  <a:lnTo>
                    <a:pt x="811" y="801"/>
                  </a:lnTo>
                  <a:lnTo>
                    <a:pt x="811" y="801"/>
                  </a:lnTo>
                  <a:lnTo>
                    <a:pt x="809" y="799"/>
                  </a:lnTo>
                  <a:lnTo>
                    <a:pt x="809" y="799"/>
                  </a:lnTo>
                  <a:lnTo>
                    <a:pt x="809" y="799"/>
                  </a:lnTo>
                  <a:lnTo>
                    <a:pt x="811" y="797"/>
                  </a:lnTo>
                  <a:lnTo>
                    <a:pt x="809" y="797"/>
                  </a:lnTo>
                  <a:lnTo>
                    <a:pt x="809" y="797"/>
                  </a:lnTo>
                  <a:lnTo>
                    <a:pt x="809" y="797"/>
                  </a:lnTo>
                  <a:lnTo>
                    <a:pt x="809" y="797"/>
                  </a:lnTo>
                  <a:lnTo>
                    <a:pt x="809" y="797"/>
                  </a:lnTo>
                  <a:lnTo>
                    <a:pt x="807" y="797"/>
                  </a:lnTo>
                  <a:lnTo>
                    <a:pt x="807" y="795"/>
                  </a:lnTo>
                  <a:lnTo>
                    <a:pt x="809" y="795"/>
                  </a:lnTo>
                  <a:lnTo>
                    <a:pt x="809" y="795"/>
                  </a:lnTo>
                  <a:lnTo>
                    <a:pt x="811" y="795"/>
                  </a:lnTo>
                  <a:lnTo>
                    <a:pt x="811" y="795"/>
                  </a:lnTo>
                  <a:lnTo>
                    <a:pt x="813" y="795"/>
                  </a:lnTo>
                  <a:lnTo>
                    <a:pt x="813" y="795"/>
                  </a:lnTo>
                  <a:lnTo>
                    <a:pt x="813" y="793"/>
                  </a:lnTo>
                  <a:lnTo>
                    <a:pt x="813" y="791"/>
                  </a:lnTo>
                  <a:lnTo>
                    <a:pt x="811" y="791"/>
                  </a:lnTo>
                  <a:lnTo>
                    <a:pt x="811" y="791"/>
                  </a:lnTo>
                  <a:lnTo>
                    <a:pt x="811" y="793"/>
                  </a:lnTo>
                  <a:lnTo>
                    <a:pt x="809" y="793"/>
                  </a:lnTo>
                  <a:lnTo>
                    <a:pt x="807" y="793"/>
                  </a:lnTo>
                  <a:lnTo>
                    <a:pt x="807" y="793"/>
                  </a:lnTo>
                  <a:lnTo>
                    <a:pt x="807" y="793"/>
                  </a:lnTo>
                  <a:lnTo>
                    <a:pt x="805" y="793"/>
                  </a:lnTo>
                  <a:lnTo>
                    <a:pt x="805" y="793"/>
                  </a:lnTo>
                  <a:lnTo>
                    <a:pt x="805" y="793"/>
                  </a:lnTo>
                  <a:lnTo>
                    <a:pt x="805" y="793"/>
                  </a:lnTo>
                  <a:lnTo>
                    <a:pt x="803" y="793"/>
                  </a:lnTo>
                  <a:lnTo>
                    <a:pt x="799" y="793"/>
                  </a:lnTo>
                  <a:lnTo>
                    <a:pt x="801" y="791"/>
                  </a:lnTo>
                  <a:lnTo>
                    <a:pt x="801" y="791"/>
                  </a:lnTo>
                  <a:lnTo>
                    <a:pt x="803" y="791"/>
                  </a:lnTo>
                  <a:lnTo>
                    <a:pt x="805" y="789"/>
                  </a:lnTo>
                  <a:lnTo>
                    <a:pt x="799" y="791"/>
                  </a:lnTo>
                  <a:lnTo>
                    <a:pt x="799" y="791"/>
                  </a:lnTo>
                  <a:lnTo>
                    <a:pt x="797" y="791"/>
                  </a:lnTo>
                  <a:lnTo>
                    <a:pt x="795" y="791"/>
                  </a:lnTo>
                  <a:lnTo>
                    <a:pt x="793" y="793"/>
                  </a:lnTo>
                  <a:lnTo>
                    <a:pt x="791" y="793"/>
                  </a:lnTo>
                  <a:lnTo>
                    <a:pt x="789" y="793"/>
                  </a:lnTo>
                  <a:lnTo>
                    <a:pt x="786" y="793"/>
                  </a:lnTo>
                  <a:lnTo>
                    <a:pt x="784" y="793"/>
                  </a:lnTo>
                  <a:lnTo>
                    <a:pt x="784" y="795"/>
                  </a:lnTo>
                  <a:lnTo>
                    <a:pt x="782" y="797"/>
                  </a:lnTo>
                  <a:lnTo>
                    <a:pt x="782" y="797"/>
                  </a:lnTo>
                  <a:lnTo>
                    <a:pt x="778" y="799"/>
                  </a:lnTo>
                  <a:lnTo>
                    <a:pt x="776" y="799"/>
                  </a:lnTo>
                  <a:lnTo>
                    <a:pt x="776" y="799"/>
                  </a:lnTo>
                  <a:lnTo>
                    <a:pt x="774" y="801"/>
                  </a:lnTo>
                  <a:lnTo>
                    <a:pt x="774" y="801"/>
                  </a:lnTo>
                  <a:lnTo>
                    <a:pt x="772" y="803"/>
                  </a:lnTo>
                  <a:lnTo>
                    <a:pt x="760" y="814"/>
                  </a:lnTo>
                  <a:lnTo>
                    <a:pt x="760" y="814"/>
                  </a:lnTo>
                  <a:lnTo>
                    <a:pt x="760" y="814"/>
                  </a:lnTo>
                  <a:lnTo>
                    <a:pt x="760" y="816"/>
                  </a:lnTo>
                  <a:lnTo>
                    <a:pt x="758" y="816"/>
                  </a:lnTo>
                  <a:lnTo>
                    <a:pt x="760" y="816"/>
                  </a:lnTo>
                  <a:lnTo>
                    <a:pt x="760" y="816"/>
                  </a:lnTo>
                  <a:lnTo>
                    <a:pt x="760" y="814"/>
                  </a:lnTo>
                  <a:lnTo>
                    <a:pt x="762" y="814"/>
                  </a:lnTo>
                  <a:lnTo>
                    <a:pt x="762" y="816"/>
                  </a:lnTo>
                  <a:lnTo>
                    <a:pt x="762" y="816"/>
                  </a:lnTo>
                  <a:lnTo>
                    <a:pt x="762" y="816"/>
                  </a:lnTo>
                  <a:lnTo>
                    <a:pt x="762" y="818"/>
                  </a:lnTo>
                  <a:lnTo>
                    <a:pt x="762" y="818"/>
                  </a:lnTo>
                  <a:lnTo>
                    <a:pt x="762" y="818"/>
                  </a:lnTo>
                  <a:lnTo>
                    <a:pt x="762" y="818"/>
                  </a:lnTo>
                  <a:lnTo>
                    <a:pt x="762" y="818"/>
                  </a:lnTo>
                  <a:lnTo>
                    <a:pt x="762" y="818"/>
                  </a:lnTo>
                  <a:lnTo>
                    <a:pt x="762" y="818"/>
                  </a:lnTo>
                  <a:lnTo>
                    <a:pt x="762" y="818"/>
                  </a:lnTo>
                  <a:lnTo>
                    <a:pt x="762" y="818"/>
                  </a:lnTo>
                  <a:lnTo>
                    <a:pt x="760" y="820"/>
                  </a:lnTo>
                  <a:lnTo>
                    <a:pt x="760" y="820"/>
                  </a:lnTo>
                  <a:lnTo>
                    <a:pt x="760" y="820"/>
                  </a:lnTo>
                  <a:lnTo>
                    <a:pt x="760" y="820"/>
                  </a:lnTo>
                  <a:lnTo>
                    <a:pt x="758" y="820"/>
                  </a:lnTo>
                  <a:lnTo>
                    <a:pt x="758" y="818"/>
                  </a:lnTo>
                  <a:lnTo>
                    <a:pt x="758" y="818"/>
                  </a:lnTo>
                  <a:lnTo>
                    <a:pt x="758" y="818"/>
                  </a:lnTo>
                  <a:lnTo>
                    <a:pt x="756" y="820"/>
                  </a:lnTo>
                  <a:lnTo>
                    <a:pt x="754" y="820"/>
                  </a:lnTo>
                  <a:lnTo>
                    <a:pt x="752" y="822"/>
                  </a:lnTo>
                  <a:lnTo>
                    <a:pt x="752" y="822"/>
                  </a:lnTo>
                  <a:lnTo>
                    <a:pt x="750" y="822"/>
                  </a:lnTo>
                  <a:lnTo>
                    <a:pt x="750" y="824"/>
                  </a:lnTo>
                  <a:lnTo>
                    <a:pt x="750" y="824"/>
                  </a:lnTo>
                  <a:lnTo>
                    <a:pt x="752" y="824"/>
                  </a:lnTo>
                  <a:lnTo>
                    <a:pt x="750" y="826"/>
                  </a:lnTo>
                  <a:lnTo>
                    <a:pt x="750" y="826"/>
                  </a:lnTo>
                  <a:lnTo>
                    <a:pt x="748" y="828"/>
                  </a:lnTo>
                  <a:lnTo>
                    <a:pt x="746" y="828"/>
                  </a:lnTo>
                  <a:lnTo>
                    <a:pt x="746" y="826"/>
                  </a:lnTo>
                  <a:lnTo>
                    <a:pt x="746" y="826"/>
                  </a:lnTo>
                  <a:lnTo>
                    <a:pt x="746" y="826"/>
                  </a:lnTo>
                  <a:lnTo>
                    <a:pt x="746" y="826"/>
                  </a:lnTo>
                  <a:lnTo>
                    <a:pt x="746" y="826"/>
                  </a:lnTo>
                  <a:lnTo>
                    <a:pt x="743" y="826"/>
                  </a:lnTo>
                  <a:lnTo>
                    <a:pt x="743" y="826"/>
                  </a:lnTo>
                  <a:lnTo>
                    <a:pt x="743" y="826"/>
                  </a:lnTo>
                  <a:lnTo>
                    <a:pt x="743" y="824"/>
                  </a:lnTo>
                  <a:lnTo>
                    <a:pt x="746" y="824"/>
                  </a:lnTo>
                  <a:lnTo>
                    <a:pt x="746" y="824"/>
                  </a:lnTo>
                  <a:lnTo>
                    <a:pt x="746" y="824"/>
                  </a:lnTo>
                  <a:lnTo>
                    <a:pt x="746" y="822"/>
                  </a:lnTo>
                  <a:lnTo>
                    <a:pt x="741" y="826"/>
                  </a:lnTo>
                  <a:lnTo>
                    <a:pt x="735" y="828"/>
                  </a:lnTo>
                  <a:lnTo>
                    <a:pt x="735" y="828"/>
                  </a:lnTo>
                  <a:lnTo>
                    <a:pt x="735" y="828"/>
                  </a:lnTo>
                  <a:lnTo>
                    <a:pt x="735" y="828"/>
                  </a:lnTo>
                  <a:lnTo>
                    <a:pt x="735" y="828"/>
                  </a:lnTo>
                  <a:lnTo>
                    <a:pt x="735" y="828"/>
                  </a:lnTo>
                  <a:lnTo>
                    <a:pt x="735" y="830"/>
                  </a:lnTo>
                  <a:lnTo>
                    <a:pt x="735" y="830"/>
                  </a:lnTo>
                  <a:lnTo>
                    <a:pt x="735" y="830"/>
                  </a:lnTo>
                  <a:lnTo>
                    <a:pt x="735" y="832"/>
                  </a:lnTo>
                  <a:lnTo>
                    <a:pt x="735" y="834"/>
                  </a:lnTo>
                  <a:lnTo>
                    <a:pt x="735" y="834"/>
                  </a:lnTo>
                  <a:lnTo>
                    <a:pt x="737" y="836"/>
                  </a:lnTo>
                  <a:lnTo>
                    <a:pt x="737" y="836"/>
                  </a:lnTo>
                  <a:lnTo>
                    <a:pt x="735" y="838"/>
                  </a:lnTo>
                  <a:lnTo>
                    <a:pt x="735" y="836"/>
                  </a:lnTo>
                  <a:lnTo>
                    <a:pt x="735" y="836"/>
                  </a:lnTo>
                  <a:lnTo>
                    <a:pt x="733" y="836"/>
                  </a:lnTo>
                  <a:lnTo>
                    <a:pt x="733" y="838"/>
                  </a:lnTo>
                  <a:lnTo>
                    <a:pt x="735" y="838"/>
                  </a:lnTo>
                  <a:lnTo>
                    <a:pt x="735" y="838"/>
                  </a:lnTo>
                  <a:lnTo>
                    <a:pt x="735" y="838"/>
                  </a:lnTo>
                  <a:lnTo>
                    <a:pt x="735" y="838"/>
                  </a:lnTo>
                  <a:lnTo>
                    <a:pt x="735" y="838"/>
                  </a:lnTo>
                  <a:lnTo>
                    <a:pt x="733" y="838"/>
                  </a:lnTo>
                  <a:lnTo>
                    <a:pt x="733" y="840"/>
                  </a:lnTo>
                  <a:lnTo>
                    <a:pt x="733" y="840"/>
                  </a:lnTo>
                  <a:lnTo>
                    <a:pt x="733" y="840"/>
                  </a:lnTo>
                  <a:lnTo>
                    <a:pt x="733" y="840"/>
                  </a:lnTo>
                  <a:lnTo>
                    <a:pt x="731" y="840"/>
                  </a:lnTo>
                  <a:lnTo>
                    <a:pt x="731" y="842"/>
                  </a:lnTo>
                  <a:lnTo>
                    <a:pt x="733" y="842"/>
                  </a:lnTo>
                  <a:lnTo>
                    <a:pt x="733" y="844"/>
                  </a:lnTo>
                  <a:lnTo>
                    <a:pt x="733" y="844"/>
                  </a:lnTo>
                  <a:lnTo>
                    <a:pt x="733" y="844"/>
                  </a:lnTo>
                  <a:lnTo>
                    <a:pt x="735" y="842"/>
                  </a:lnTo>
                  <a:lnTo>
                    <a:pt x="735" y="842"/>
                  </a:lnTo>
                  <a:lnTo>
                    <a:pt x="737" y="842"/>
                  </a:lnTo>
                  <a:lnTo>
                    <a:pt x="737" y="842"/>
                  </a:lnTo>
                  <a:lnTo>
                    <a:pt x="739" y="840"/>
                  </a:lnTo>
                  <a:lnTo>
                    <a:pt x="739" y="840"/>
                  </a:lnTo>
                  <a:lnTo>
                    <a:pt x="741" y="838"/>
                  </a:lnTo>
                  <a:lnTo>
                    <a:pt x="743" y="838"/>
                  </a:lnTo>
                  <a:lnTo>
                    <a:pt x="743" y="838"/>
                  </a:lnTo>
                  <a:lnTo>
                    <a:pt x="741" y="836"/>
                  </a:lnTo>
                  <a:lnTo>
                    <a:pt x="741" y="836"/>
                  </a:lnTo>
                  <a:lnTo>
                    <a:pt x="741" y="836"/>
                  </a:lnTo>
                  <a:lnTo>
                    <a:pt x="739" y="834"/>
                  </a:lnTo>
                  <a:lnTo>
                    <a:pt x="739" y="834"/>
                  </a:lnTo>
                  <a:lnTo>
                    <a:pt x="737" y="832"/>
                  </a:lnTo>
                  <a:lnTo>
                    <a:pt x="739" y="830"/>
                  </a:lnTo>
                  <a:lnTo>
                    <a:pt x="739" y="830"/>
                  </a:lnTo>
                  <a:lnTo>
                    <a:pt x="737" y="830"/>
                  </a:lnTo>
                  <a:lnTo>
                    <a:pt x="737" y="830"/>
                  </a:lnTo>
                  <a:lnTo>
                    <a:pt x="737" y="830"/>
                  </a:lnTo>
                  <a:lnTo>
                    <a:pt x="739" y="830"/>
                  </a:lnTo>
                  <a:lnTo>
                    <a:pt x="739" y="830"/>
                  </a:lnTo>
                  <a:lnTo>
                    <a:pt x="739" y="830"/>
                  </a:lnTo>
                  <a:lnTo>
                    <a:pt x="739" y="830"/>
                  </a:lnTo>
                  <a:lnTo>
                    <a:pt x="739" y="830"/>
                  </a:lnTo>
                  <a:lnTo>
                    <a:pt x="739" y="828"/>
                  </a:lnTo>
                  <a:lnTo>
                    <a:pt x="739" y="828"/>
                  </a:lnTo>
                  <a:lnTo>
                    <a:pt x="739" y="828"/>
                  </a:lnTo>
                  <a:lnTo>
                    <a:pt x="741" y="828"/>
                  </a:lnTo>
                  <a:lnTo>
                    <a:pt x="741" y="828"/>
                  </a:lnTo>
                  <a:lnTo>
                    <a:pt x="741" y="828"/>
                  </a:lnTo>
                  <a:lnTo>
                    <a:pt x="741" y="830"/>
                  </a:lnTo>
                  <a:lnTo>
                    <a:pt x="741" y="830"/>
                  </a:lnTo>
                  <a:lnTo>
                    <a:pt x="739" y="830"/>
                  </a:lnTo>
                  <a:lnTo>
                    <a:pt x="741" y="830"/>
                  </a:lnTo>
                  <a:lnTo>
                    <a:pt x="741" y="830"/>
                  </a:lnTo>
                  <a:lnTo>
                    <a:pt x="741" y="830"/>
                  </a:lnTo>
                  <a:lnTo>
                    <a:pt x="741" y="830"/>
                  </a:lnTo>
                  <a:lnTo>
                    <a:pt x="743" y="830"/>
                  </a:lnTo>
                  <a:lnTo>
                    <a:pt x="743" y="830"/>
                  </a:lnTo>
                  <a:lnTo>
                    <a:pt x="743" y="830"/>
                  </a:lnTo>
                  <a:lnTo>
                    <a:pt x="743" y="832"/>
                  </a:lnTo>
                  <a:lnTo>
                    <a:pt x="746" y="832"/>
                  </a:lnTo>
                  <a:lnTo>
                    <a:pt x="746" y="834"/>
                  </a:lnTo>
                  <a:lnTo>
                    <a:pt x="746" y="834"/>
                  </a:lnTo>
                  <a:lnTo>
                    <a:pt x="748" y="834"/>
                  </a:lnTo>
                  <a:lnTo>
                    <a:pt x="748" y="834"/>
                  </a:lnTo>
                  <a:lnTo>
                    <a:pt x="746" y="834"/>
                  </a:lnTo>
                  <a:lnTo>
                    <a:pt x="746" y="836"/>
                  </a:lnTo>
                  <a:lnTo>
                    <a:pt x="746" y="836"/>
                  </a:lnTo>
                  <a:lnTo>
                    <a:pt x="746" y="836"/>
                  </a:lnTo>
                  <a:lnTo>
                    <a:pt x="746" y="838"/>
                  </a:lnTo>
                  <a:lnTo>
                    <a:pt x="746" y="838"/>
                  </a:lnTo>
                  <a:lnTo>
                    <a:pt x="746" y="838"/>
                  </a:lnTo>
                  <a:lnTo>
                    <a:pt x="748" y="838"/>
                  </a:lnTo>
                  <a:lnTo>
                    <a:pt x="748" y="840"/>
                  </a:lnTo>
                  <a:lnTo>
                    <a:pt x="750" y="840"/>
                  </a:lnTo>
                  <a:lnTo>
                    <a:pt x="752" y="840"/>
                  </a:lnTo>
                  <a:lnTo>
                    <a:pt x="752" y="840"/>
                  </a:lnTo>
                  <a:lnTo>
                    <a:pt x="752" y="838"/>
                  </a:lnTo>
                  <a:lnTo>
                    <a:pt x="752" y="838"/>
                  </a:lnTo>
                  <a:lnTo>
                    <a:pt x="752" y="838"/>
                  </a:lnTo>
                  <a:lnTo>
                    <a:pt x="752" y="838"/>
                  </a:lnTo>
                  <a:lnTo>
                    <a:pt x="752" y="838"/>
                  </a:lnTo>
                  <a:lnTo>
                    <a:pt x="754" y="836"/>
                  </a:lnTo>
                  <a:lnTo>
                    <a:pt x="754" y="836"/>
                  </a:lnTo>
                  <a:lnTo>
                    <a:pt x="754" y="834"/>
                  </a:lnTo>
                  <a:lnTo>
                    <a:pt x="754" y="834"/>
                  </a:lnTo>
                  <a:lnTo>
                    <a:pt x="756" y="834"/>
                  </a:lnTo>
                  <a:lnTo>
                    <a:pt x="756" y="834"/>
                  </a:lnTo>
                  <a:lnTo>
                    <a:pt x="756" y="836"/>
                  </a:lnTo>
                  <a:lnTo>
                    <a:pt x="756" y="836"/>
                  </a:lnTo>
                  <a:lnTo>
                    <a:pt x="756" y="836"/>
                  </a:lnTo>
                  <a:lnTo>
                    <a:pt x="754" y="836"/>
                  </a:lnTo>
                  <a:lnTo>
                    <a:pt x="756" y="836"/>
                  </a:lnTo>
                  <a:lnTo>
                    <a:pt x="756" y="838"/>
                  </a:lnTo>
                  <a:lnTo>
                    <a:pt x="756" y="838"/>
                  </a:lnTo>
                  <a:lnTo>
                    <a:pt x="758" y="840"/>
                  </a:lnTo>
                  <a:lnTo>
                    <a:pt x="756" y="834"/>
                  </a:lnTo>
                  <a:lnTo>
                    <a:pt x="756" y="832"/>
                  </a:lnTo>
                  <a:lnTo>
                    <a:pt x="756" y="834"/>
                  </a:lnTo>
                  <a:lnTo>
                    <a:pt x="756" y="834"/>
                  </a:lnTo>
                  <a:lnTo>
                    <a:pt x="756" y="832"/>
                  </a:lnTo>
                  <a:lnTo>
                    <a:pt x="756" y="832"/>
                  </a:lnTo>
                  <a:lnTo>
                    <a:pt x="756" y="830"/>
                  </a:lnTo>
                  <a:lnTo>
                    <a:pt x="756" y="830"/>
                  </a:lnTo>
                  <a:lnTo>
                    <a:pt x="756" y="830"/>
                  </a:lnTo>
                  <a:lnTo>
                    <a:pt x="756" y="830"/>
                  </a:lnTo>
                  <a:lnTo>
                    <a:pt x="756" y="830"/>
                  </a:lnTo>
                  <a:lnTo>
                    <a:pt x="756" y="830"/>
                  </a:lnTo>
                  <a:lnTo>
                    <a:pt x="756" y="830"/>
                  </a:lnTo>
                  <a:lnTo>
                    <a:pt x="756" y="830"/>
                  </a:lnTo>
                  <a:lnTo>
                    <a:pt x="758" y="830"/>
                  </a:lnTo>
                  <a:lnTo>
                    <a:pt x="758" y="830"/>
                  </a:lnTo>
                  <a:lnTo>
                    <a:pt x="758" y="830"/>
                  </a:lnTo>
                  <a:lnTo>
                    <a:pt x="758" y="830"/>
                  </a:lnTo>
                  <a:lnTo>
                    <a:pt x="758" y="828"/>
                  </a:lnTo>
                  <a:lnTo>
                    <a:pt x="756" y="828"/>
                  </a:lnTo>
                  <a:lnTo>
                    <a:pt x="756" y="828"/>
                  </a:lnTo>
                  <a:lnTo>
                    <a:pt x="754" y="826"/>
                  </a:lnTo>
                  <a:lnTo>
                    <a:pt x="754" y="826"/>
                  </a:lnTo>
                  <a:lnTo>
                    <a:pt x="754" y="824"/>
                  </a:lnTo>
                  <a:lnTo>
                    <a:pt x="756" y="824"/>
                  </a:lnTo>
                  <a:lnTo>
                    <a:pt x="756" y="822"/>
                  </a:lnTo>
                  <a:lnTo>
                    <a:pt x="756" y="822"/>
                  </a:lnTo>
                  <a:lnTo>
                    <a:pt x="758" y="822"/>
                  </a:lnTo>
                  <a:lnTo>
                    <a:pt x="758" y="822"/>
                  </a:lnTo>
                  <a:lnTo>
                    <a:pt x="758" y="822"/>
                  </a:lnTo>
                  <a:lnTo>
                    <a:pt x="760" y="822"/>
                  </a:lnTo>
                  <a:lnTo>
                    <a:pt x="760" y="822"/>
                  </a:lnTo>
                  <a:lnTo>
                    <a:pt x="758" y="824"/>
                  </a:lnTo>
                  <a:lnTo>
                    <a:pt x="760" y="824"/>
                  </a:lnTo>
                  <a:lnTo>
                    <a:pt x="760" y="824"/>
                  </a:lnTo>
                  <a:lnTo>
                    <a:pt x="760" y="828"/>
                  </a:lnTo>
                  <a:lnTo>
                    <a:pt x="762" y="828"/>
                  </a:lnTo>
                  <a:lnTo>
                    <a:pt x="762" y="830"/>
                  </a:lnTo>
                  <a:lnTo>
                    <a:pt x="762" y="832"/>
                  </a:lnTo>
                  <a:lnTo>
                    <a:pt x="764" y="832"/>
                  </a:lnTo>
                  <a:lnTo>
                    <a:pt x="764" y="832"/>
                  </a:lnTo>
                  <a:lnTo>
                    <a:pt x="762" y="832"/>
                  </a:lnTo>
                  <a:lnTo>
                    <a:pt x="762" y="832"/>
                  </a:lnTo>
                  <a:lnTo>
                    <a:pt x="760" y="832"/>
                  </a:lnTo>
                  <a:lnTo>
                    <a:pt x="760" y="832"/>
                  </a:lnTo>
                  <a:lnTo>
                    <a:pt x="760" y="832"/>
                  </a:lnTo>
                  <a:lnTo>
                    <a:pt x="760" y="834"/>
                  </a:lnTo>
                  <a:lnTo>
                    <a:pt x="760" y="834"/>
                  </a:lnTo>
                  <a:lnTo>
                    <a:pt x="760" y="834"/>
                  </a:lnTo>
                  <a:lnTo>
                    <a:pt x="762" y="836"/>
                  </a:lnTo>
                  <a:lnTo>
                    <a:pt x="762" y="836"/>
                  </a:lnTo>
                  <a:lnTo>
                    <a:pt x="764" y="836"/>
                  </a:lnTo>
                  <a:lnTo>
                    <a:pt x="764" y="836"/>
                  </a:lnTo>
                  <a:lnTo>
                    <a:pt x="764" y="836"/>
                  </a:lnTo>
                  <a:lnTo>
                    <a:pt x="764" y="834"/>
                  </a:lnTo>
                  <a:lnTo>
                    <a:pt x="766" y="834"/>
                  </a:lnTo>
                  <a:lnTo>
                    <a:pt x="766" y="836"/>
                  </a:lnTo>
                  <a:lnTo>
                    <a:pt x="766" y="836"/>
                  </a:lnTo>
                  <a:lnTo>
                    <a:pt x="766" y="836"/>
                  </a:lnTo>
                  <a:lnTo>
                    <a:pt x="766" y="838"/>
                  </a:lnTo>
                  <a:lnTo>
                    <a:pt x="766" y="838"/>
                  </a:lnTo>
                  <a:lnTo>
                    <a:pt x="766" y="836"/>
                  </a:lnTo>
                  <a:lnTo>
                    <a:pt x="768" y="836"/>
                  </a:lnTo>
                  <a:lnTo>
                    <a:pt x="768" y="836"/>
                  </a:lnTo>
                  <a:lnTo>
                    <a:pt x="768" y="836"/>
                  </a:lnTo>
                  <a:lnTo>
                    <a:pt x="768" y="834"/>
                  </a:lnTo>
                  <a:lnTo>
                    <a:pt x="768" y="832"/>
                  </a:lnTo>
                  <a:lnTo>
                    <a:pt x="770" y="832"/>
                  </a:lnTo>
                  <a:lnTo>
                    <a:pt x="772" y="830"/>
                  </a:lnTo>
                  <a:lnTo>
                    <a:pt x="772" y="830"/>
                  </a:lnTo>
                  <a:lnTo>
                    <a:pt x="772" y="832"/>
                  </a:lnTo>
                  <a:lnTo>
                    <a:pt x="772" y="832"/>
                  </a:lnTo>
                  <a:lnTo>
                    <a:pt x="772" y="832"/>
                  </a:lnTo>
                  <a:lnTo>
                    <a:pt x="772" y="832"/>
                  </a:lnTo>
                  <a:lnTo>
                    <a:pt x="772" y="832"/>
                  </a:lnTo>
                  <a:lnTo>
                    <a:pt x="770" y="832"/>
                  </a:lnTo>
                  <a:lnTo>
                    <a:pt x="770" y="834"/>
                  </a:lnTo>
                  <a:lnTo>
                    <a:pt x="772" y="834"/>
                  </a:lnTo>
                  <a:lnTo>
                    <a:pt x="772" y="834"/>
                  </a:lnTo>
                  <a:lnTo>
                    <a:pt x="772" y="834"/>
                  </a:lnTo>
                  <a:lnTo>
                    <a:pt x="774" y="834"/>
                  </a:lnTo>
                  <a:lnTo>
                    <a:pt x="774" y="834"/>
                  </a:lnTo>
                  <a:lnTo>
                    <a:pt x="776" y="834"/>
                  </a:lnTo>
                  <a:lnTo>
                    <a:pt x="776" y="832"/>
                  </a:lnTo>
                  <a:lnTo>
                    <a:pt x="776" y="832"/>
                  </a:lnTo>
                  <a:lnTo>
                    <a:pt x="776" y="832"/>
                  </a:lnTo>
                  <a:lnTo>
                    <a:pt x="776" y="832"/>
                  </a:lnTo>
                  <a:lnTo>
                    <a:pt x="776" y="832"/>
                  </a:lnTo>
                  <a:lnTo>
                    <a:pt x="774" y="830"/>
                  </a:lnTo>
                  <a:lnTo>
                    <a:pt x="774" y="830"/>
                  </a:lnTo>
                  <a:lnTo>
                    <a:pt x="774" y="828"/>
                  </a:lnTo>
                  <a:lnTo>
                    <a:pt x="774" y="828"/>
                  </a:lnTo>
                  <a:lnTo>
                    <a:pt x="774" y="828"/>
                  </a:lnTo>
                  <a:lnTo>
                    <a:pt x="774" y="826"/>
                  </a:lnTo>
                  <a:lnTo>
                    <a:pt x="776" y="828"/>
                  </a:lnTo>
                  <a:lnTo>
                    <a:pt x="776" y="828"/>
                  </a:lnTo>
                  <a:lnTo>
                    <a:pt x="778" y="828"/>
                  </a:lnTo>
                  <a:lnTo>
                    <a:pt x="778" y="828"/>
                  </a:lnTo>
                  <a:lnTo>
                    <a:pt x="776" y="828"/>
                  </a:lnTo>
                  <a:lnTo>
                    <a:pt x="776" y="828"/>
                  </a:lnTo>
                  <a:lnTo>
                    <a:pt x="776" y="828"/>
                  </a:lnTo>
                  <a:lnTo>
                    <a:pt x="778" y="828"/>
                  </a:lnTo>
                  <a:lnTo>
                    <a:pt x="778" y="828"/>
                  </a:lnTo>
                  <a:lnTo>
                    <a:pt x="778" y="828"/>
                  </a:lnTo>
                  <a:lnTo>
                    <a:pt x="778" y="828"/>
                  </a:lnTo>
                  <a:lnTo>
                    <a:pt x="778" y="828"/>
                  </a:lnTo>
                  <a:lnTo>
                    <a:pt x="778" y="828"/>
                  </a:lnTo>
                  <a:lnTo>
                    <a:pt x="780" y="826"/>
                  </a:lnTo>
                  <a:lnTo>
                    <a:pt x="780" y="824"/>
                  </a:lnTo>
                  <a:lnTo>
                    <a:pt x="782" y="824"/>
                  </a:lnTo>
                  <a:lnTo>
                    <a:pt x="784" y="820"/>
                  </a:lnTo>
                  <a:lnTo>
                    <a:pt x="784" y="820"/>
                  </a:lnTo>
                  <a:lnTo>
                    <a:pt x="784" y="820"/>
                  </a:lnTo>
                  <a:lnTo>
                    <a:pt x="784" y="818"/>
                  </a:lnTo>
                  <a:lnTo>
                    <a:pt x="784" y="818"/>
                  </a:lnTo>
                  <a:lnTo>
                    <a:pt x="786" y="816"/>
                  </a:lnTo>
                  <a:lnTo>
                    <a:pt x="786" y="816"/>
                  </a:lnTo>
                  <a:lnTo>
                    <a:pt x="786" y="816"/>
                  </a:lnTo>
                  <a:lnTo>
                    <a:pt x="786" y="816"/>
                  </a:lnTo>
                  <a:lnTo>
                    <a:pt x="786" y="814"/>
                  </a:lnTo>
                  <a:lnTo>
                    <a:pt x="786" y="814"/>
                  </a:lnTo>
                  <a:lnTo>
                    <a:pt x="786" y="814"/>
                  </a:lnTo>
                  <a:lnTo>
                    <a:pt x="789" y="812"/>
                  </a:lnTo>
                  <a:lnTo>
                    <a:pt x="789" y="809"/>
                  </a:lnTo>
                  <a:lnTo>
                    <a:pt x="789" y="809"/>
                  </a:lnTo>
                  <a:lnTo>
                    <a:pt x="789" y="809"/>
                  </a:lnTo>
                  <a:lnTo>
                    <a:pt x="789" y="809"/>
                  </a:lnTo>
                  <a:lnTo>
                    <a:pt x="789" y="809"/>
                  </a:lnTo>
                  <a:lnTo>
                    <a:pt x="795" y="807"/>
                  </a:lnTo>
                  <a:lnTo>
                    <a:pt x="795" y="809"/>
                  </a:lnTo>
                  <a:lnTo>
                    <a:pt x="797" y="809"/>
                  </a:lnTo>
                  <a:lnTo>
                    <a:pt x="797" y="812"/>
                  </a:lnTo>
                  <a:lnTo>
                    <a:pt x="799" y="812"/>
                  </a:lnTo>
                  <a:lnTo>
                    <a:pt x="799" y="812"/>
                  </a:lnTo>
                  <a:lnTo>
                    <a:pt x="799" y="812"/>
                  </a:lnTo>
                  <a:lnTo>
                    <a:pt x="799" y="814"/>
                  </a:lnTo>
                  <a:lnTo>
                    <a:pt x="799" y="814"/>
                  </a:lnTo>
                  <a:lnTo>
                    <a:pt x="803" y="814"/>
                  </a:lnTo>
                  <a:lnTo>
                    <a:pt x="803" y="814"/>
                  </a:lnTo>
                  <a:lnTo>
                    <a:pt x="803" y="816"/>
                  </a:lnTo>
                  <a:lnTo>
                    <a:pt x="801" y="816"/>
                  </a:lnTo>
                  <a:lnTo>
                    <a:pt x="799" y="814"/>
                  </a:lnTo>
                  <a:lnTo>
                    <a:pt x="797" y="814"/>
                  </a:lnTo>
                  <a:lnTo>
                    <a:pt x="797" y="812"/>
                  </a:lnTo>
                  <a:lnTo>
                    <a:pt x="797" y="812"/>
                  </a:lnTo>
                  <a:lnTo>
                    <a:pt x="795" y="812"/>
                  </a:lnTo>
                  <a:lnTo>
                    <a:pt x="795" y="814"/>
                  </a:lnTo>
                  <a:lnTo>
                    <a:pt x="793" y="814"/>
                  </a:lnTo>
                  <a:lnTo>
                    <a:pt x="793" y="816"/>
                  </a:lnTo>
                  <a:lnTo>
                    <a:pt x="793" y="816"/>
                  </a:lnTo>
                  <a:lnTo>
                    <a:pt x="793" y="816"/>
                  </a:lnTo>
                  <a:lnTo>
                    <a:pt x="793" y="818"/>
                  </a:lnTo>
                  <a:lnTo>
                    <a:pt x="793" y="820"/>
                  </a:lnTo>
                  <a:lnTo>
                    <a:pt x="791" y="822"/>
                  </a:lnTo>
                  <a:lnTo>
                    <a:pt x="791" y="822"/>
                  </a:lnTo>
                  <a:lnTo>
                    <a:pt x="791" y="822"/>
                  </a:lnTo>
                  <a:lnTo>
                    <a:pt x="791" y="822"/>
                  </a:lnTo>
                  <a:lnTo>
                    <a:pt x="795" y="822"/>
                  </a:lnTo>
                  <a:lnTo>
                    <a:pt x="797" y="822"/>
                  </a:lnTo>
                  <a:lnTo>
                    <a:pt x="797" y="824"/>
                  </a:lnTo>
                  <a:lnTo>
                    <a:pt x="797" y="824"/>
                  </a:lnTo>
                  <a:lnTo>
                    <a:pt x="797" y="824"/>
                  </a:lnTo>
                  <a:lnTo>
                    <a:pt x="803" y="822"/>
                  </a:lnTo>
                  <a:lnTo>
                    <a:pt x="805" y="820"/>
                  </a:lnTo>
                  <a:lnTo>
                    <a:pt x="807" y="820"/>
                  </a:lnTo>
                  <a:lnTo>
                    <a:pt x="807" y="818"/>
                  </a:lnTo>
                  <a:lnTo>
                    <a:pt x="809" y="816"/>
                  </a:lnTo>
                  <a:lnTo>
                    <a:pt x="811" y="816"/>
                  </a:lnTo>
                  <a:lnTo>
                    <a:pt x="811" y="816"/>
                  </a:lnTo>
                  <a:lnTo>
                    <a:pt x="811" y="818"/>
                  </a:lnTo>
                  <a:lnTo>
                    <a:pt x="811" y="818"/>
                  </a:lnTo>
                  <a:lnTo>
                    <a:pt x="811" y="818"/>
                  </a:lnTo>
                  <a:lnTo>
                    <a:pt x="811" y="820"/>
                  </a:lnTo>
                  <a:lnTo>
                    <a:pt x="811" y="820"/>
                  </a:lnTo>
                  <a:lnTo>
                    <a:pt x="811" y="820"/>
                  </a:lnTo>
                  <a:lnTo>
                    <a:pt x="811" y="820"/>
                  </a:lnTo>
                  <a:lnTo>
                    <a:pt x="811" y="820"/>
                  </a:lnTo>
                  <a:lnTo>
                    <a:pt x="813" y="820"/>
                  </a:lnTo>
                  <a:lnTo>
                    <a:pt x="815" y="820"/>
                  </a:lnTo>
                  <a:lnTo>
                    <a:pt x="815" y="820"/>
                  </a:lnTo>
                  <a:lnTo>
                    <a:pt x="817" y="818"/>
                  </a:lnTo>
                  <a:lnTo>
                    <a:pt x="815" y="818"/>
                  </a:lnTo>
                  <a:lnTo>
                    <a:pt x="815" y="816"/>
                  </a:lnTo>
                  <a:lnTo>
                    <a:pt x="815" y="816"/>
                  </a:lnTo>
                  <a:lnTo>
                    <a:pt x="813" y="816"/>
                  </a:lnTo>
                  <a:lnTo>
                    <a:pt x="813" y="816"/>
                  </a:lnTo>
                  <a:lnTo>
                    <a:pt x="815" y="816"/>
                  </a:lnTo>
                  <a:lnTo>
                    <a:pt x="815" y="816"/>
                  </a:lnTo>
                  <a:lnTo>
                    <a:pt x="817" y="816"/>
                  </a:lnTo>
                  <a:lnTo>
                    <a:pt x="817" y="814"/>
                  </a:lnTo>
                  <a:lnTo>
                    <a:pt x="817" y="814"/>
                  </a:lnTo>
                  <a:lnTo>
                    <a:pt x="819" y="812"/>
                  </a:lnTo>
                  <a:lnTo>
                    <a:pt x="819" y="812"/>
                  </a:lnTo>
                  <a:lnTo>
                    <a:pt x="819" y="814"/>
                  </a:lnTo>
                  <a:lnTo>
                    <a:pt x="819" y="816"/>
                  </a:lnTo>
                  <a:lnTo>
                    <a:pt x="819" y="816"/>
                  </a:lnTo>
                  <a:lnTo>
                    <a:pt x="819" y="820"/>
                  </a:lnTo>
                  <a:lnTo>
                    <a:pt x="819" y="820"/>
                  </a:lnTo>
                  <a:lnTo>
                    <a:pt x="821" y="820"/>
                  </a:lnTo>
                  <a:lnTo>
                    <a:pt x="821" y="818"/>
                  </a:lnTo>
                  <a:lnTo>
                    <a:pt x="821" y="818"/>
                  </a:lnTo>
                  <a:lnTo>
                    <a:pt x="821" y="818"/>
                  </a:lnTo>
                  <a:lnTo>
                    <a:pt x="821" y="818"/>
                  </a:lnTo>
                  <a:lnTo>
                    <a:pt x="823" y="816"/>
                  </a:lnTo>
                  <a:lnTo>
                    <a:pt x="823" y="816"/>
                  </a:lnTo>
                  <a:lnTo>
                    <a:pt x="823" y="816"/>
                  </a:lnTo>
                  <a:lnTo>
                    <a:pt x="823" y="816"/>
                  </a:lnTo>
                  <a:lnTo>
                    <a:pt x="823" y="814"/>
                  </a:lnTo>
                  <a:lnTo>
                    <a:pt x="823" y="814"/>
                  </a:lnTo>
                  <a:lnTo>
                    <a:pt x="825" y="814"/>
                  </a:lnTo>
                  <a:lnTo>
                    <a:pt x="825" y="814"/>
                  </a:lnTo>
                  <a:lnTo>
                    <a:pt x="825" y="814"/>
                  </a:lnTo>
                  <a:lnTo>
                    <a:pt x="823" y="812"/>
                  </a:lnTo>
                  <a:lnTo>
                    <a:pt x="823" y="812"/>
                  </a:lnTo>
                  <a:lnTo>
                    <a:pt x="823" y="812"/>
                  </a:lnTo>
                  <a:lnTo>
                    <a:pt x="825" y="812"/>
                  </a:lnTo>
                  <a:lnTo>
                    <a:pt x="825" y="812"/>
                  </a:lnTo>
                  <a:lnTo>
                    <a:pt x="830" y="812"/>
                  </a:lnTo>
                  <a:lnTo>
                    <a:pt x="830" y="812"/>
                  </a:lnTo>
                  <a:lnTo>
                    <a:pt x="830" y="812"/>
                  </a:lnTo>
                  <a:lnTo>
                    <a:pt x="832" y="812"/>
                  </a:lnTo>
                  <a:lnTo>
                    <a:pt x="834" y="809"/>
                  </a:lnTo>
                  <a:lnTo>
                    <a:pt x="832" y="809"/>
                  </a:lnTo>
                  <a:lnTo>
                    <a:pt x="832" y="807"/>
                  </a:lnTo>
                  <a:lnTo>
                    <a:pt x="832" y="807"/>
                  </a:lnTo>
                  <a:lnTo>
                    <a:pt x="834" y="807"/>
                  </a:lnTo>
                  <a:lnTo>
                    <a:pt x="834" y="807"/>
                  </a:lnTo>
                  <a:lnTo>
                    <a:pt x="834" y="807"/>
                  </a:lnTo>
                  <a:lnTo>
                    <a:pt x="834" y="807"/>
                  </a:lnTo>
                  <a:lnTo>
                    <a:pt x="834" y="809"/>
                  </a:lnTo>
                  <a:lnTo>
                    <a:pt x="834" y="809"/>
                  </a:lnTo>
                  <a:lnTo>
                    <a:pt x="836" y="809"/>
                  </a:lnTo>
                  <a:lnTo>
                    <a:pt x="834" y="807"/>
                  </a:lnTo>
                  <a:lnTo>
                    <a:pt x="834" y="807"/>
                  </a:lnTo>
                  <a:lnTo>
                    <a:pt x="834" y="807"/>
                  </a:lnTo>
                  <a:lnTo>
                    <a:pt x="834" y="807"/>
                  </a:lnTo>
                  <a:lnTo>
                    <a:pt x="836" y="807"/>
                  </a:lnTo>
                  <a:lnTo>
                    <a:pt x="836" y="807"/>
                  </a:lnTo>
                  <a:lnTo>
                    <a:pt x="836" y="807"/>
                  </a:lnTo>
                  <a:lnTo>
                    <a:pt x="836" y="805"/>
                  </a:lnTo>
                  <a:lnTo>
                    <a:pt x="836" y="805"/>
                  </a:lnTo>
                  <a:lnTo>
                    <a:pt x="836" y="805"/>
                  </a:lnTo>
                  <a:lnTo>
                    <a:pt x="836" y="803"/>
                  </a:lnTo>
                  <a:lnTo>
                    <a:pt x="836" y="803"/>
                  </a:lnTo>
                  <a:lnTo>
                    <a:pt x="836" y="805"/>
                  </a:lnTo>
                  <a:lnTo>
                    <a:pt x="838" y="805"/>
                  </a:lnTo>
                  <a:lnTo>
                    <a:pt x="838" y="805"/>
                  </a:lnTo>
                  <a:lnTo>
                    <a:pt x="838" y="805"/>
                  </a:lnTo>
                  <a:lnTo>
                    <a:pt x="838" y="805"/>
                  </a:lnTo>
                  <a:lnTo>
                    <a:pt x="838" y="803"/>
                  </a:lnTo>
                  <a:lnTo>
                    <a:pt x="838" y="803"/>
                  </a:lnTo>
                  <a:lnTo>
                    <a:pt x="838" y="803"/>
                  </a:lnTo>
                  <a:lnTo>
                    <a:pt x="838" y="803"/>
                  </a:lnTo>
                  <a:lnTo>
                    <a:pt x="838" y="803"/>
                  </a:lnTo>
                  <a:lnTo>
                    <a:pt x="840" y="805"/>
                  </a:lnTo>
                  <a:lnTo>
                    <a:pt x="840" y="805"/>
                  </a:lnTo>
                  <a:lnTo>
                    <a:pt x="842" y="805"/>
                  </a:lnTo>
                  <a:lnTo>
                    <a:pt x="842" y="805"/>
                  </a:lnTo>
                  <a:lnTo>
                    <a:pt x="842" y="803"/>
                  </a:lnTo>
                  <a:lnTo>
                    <a:pt x="842" y="803"/>
                  </a:lnTo>
                  <a:lnTo>
                    <a:pt x="842" y="803"/>
                  </a:lnTo>
                  <a:lnTo>
                    <a:pt x="842" y="801"/>
                  </a:lnTo>
                  <a:lnTo>
                    <a:pt x="842" y="801"/>
                  </a:lnTo>
                  <a:lnTo>
                    <a:pt x="846" y="803"/>
                  </a:lnTo>
                  <a:lnTo>
                    <a:pt x="848" y="803"/>
                  </a:lnTo>
                  <a:lnTo>
                    <a:pt x="848" y="803"/>
                  </a:lnTo>
                  <a:lnTo>
                    <a:pt x="848" y="805"/>
                  </a:lnTo>
                  <a:lnTo>
                    <a:pt x="848" y="805"/>
                  </a:lnTo>
                  <a:lnTo>
                    <a:pt x="848" y="805"/>
                  </a:lnTo>
                  <a:lnTo>
                    <a:pt x="846" y="807"/>
                  </a:lnTo>
                  <a:lnTo>
                    <a:pt x="846" y="807"/>
                  </a:lnTo>
                  <a:lnTo>
                    <a:pt x="846" y="807"/>
                  </a:lnTo>
                  <a:lnTo>
                    <a:pt x="846" y="807"/>
                  </a:lnTo>
                  <a:lnTo>
                    <a:pt x="846" y="807"/>
                  </a:lnTo>
                  <a:lnTo>
                    <a:pt x="846" y="809"/>
                  </a:lnTo>
                  <a:lnTo>
                    <a:pt x="848" y="809"/>
                  </a:lnTo>
                  <a:lnTo>
                    <a:pt x="848" y="809"/>
                  </a:lnTo>
                  <a:lnTo>
                    <a:pt x="846" y="812"/>
                  </a:lnTo>
                  <a:lnTo>
                    <a:pt x="846" y="812"/>
                  </a:lnTo>
                  <a:lnTo>
                    <a:pt x="846" y="812"/>
                  </a:lnTo>
                  <a:lnTo>
                    <a:pt x="846" y="814"/>
                  </a:lnTo>
                  <a:lnTo>
                    <a:pt x="848" y="814"/>
                  </a:lnTo>
                  <a:lnTo>
                    <a:pt x="848" y="814"/>
                  </a:lnTo>
                  <a:lnTo>
                    <a:pt x="848" y="814"/>
                  </a:lnTo>
                  <a:lnTo>
                    <a:pt x="848" y="814"/>
                  </a:lnTo>
                  <a:lnTo>
                    <a:pt x="848" y="814"/>
                  </a:lnTo>
                  <a:lnTo>
                    <a:pt x="846" y="814"/>
                  </a:lnTo>
                  <a:lnTo>
                    <a:pt x="846" y="816"/>
                  </a:lnTo>
                  <a:lnTo>
                    <a:pt x="846" y="816"/>
                  </a:lnTo>
                  <a:lnTo>
                    <a:pt x="846" y="814"/>
                  </a:lnTo>
                  <a:lnTo>
                    <a:pt x="844" y="814"/>
                  </a:lnTo>
                  <a:lnTo>
                    <a:pt x="844" y="814"/>
                  </a:lnTo>
                  <a:lnTo>
                    <a:pt x="844" y="816"/>
                  </a:lnTo>
                  <a:lnTo>
                    <a:pt x="844" y="816"/>
                  </a:lnTo>
                  <a:lnTo>
                    <a:pt x="846" y="816"/>
                  </a:lnTo>
                  <a:lnTo>
                    <a:pt x="844" y="816"/>
                  </a:lnTo>
                  <a:lnTo>
                    <a:pt x="844" y="816"/>
                  </a:lnTo>
                  <a:lnTo>
                    <a:pt x="844" y="818"/>
                  </a:lnTo>
                  <a:lnTo>
                    <a:pt x="844" y="818"/>
                  </a:lnTo>
                  <a:lnTo>
                    <a:pt x="848" y="816"/>
                  </a:lnTo>
                  <a:lnTo>
                    <a:pt x="848" y="816"/>
                  </a:lnTo>
                  <a:lnTo>
                    <a:pt x="848" y="816"/>
                  </a:lnTo>
                  <a:lnTo>
                    <a:pt x="848" y="814"/>
                  </a:lnTo>
                  <a:lnTo>
                    <a:pt x="848" y="814"/>
                  </a:lnTo>
                  <a:lnTo>
                    <a:pt x="848" y="814"/>
                  </a:lnTo>
                  <a:lnTo>
                    <a:pt x="850" y="814"/>
                  </a:lnTo>
                  <a:lnTo>
                    <a:pt x="850" y="814"/>
                  </a:lnTo>
                  <a:lnTo>
                    <a:pt x="850" y="814"/>
                  </a:lnTo>
                  <a:lnTo>
                    <a:pt x="850" y="814"/>
                  </a:lnTo>
                  <a:lnTo>
                    <a:pt x="850" y="814"/>
                  </a:lnTo>
                  <a:lnTo>
                    <a:pt x="850" y="812"/>
                  </a:lnTo>
                  <a:lnTo>
                    <a:pt x="850" y="812"/>
                  </a:lnTo>
                  <a:lnTo>
                    <a:pt x="850" y="812"/>
                  </a:lnTo>
                  <a:lnTo>
                    <a:pt x="850" y="812"/>
                  </a:lnTo>
                  <a:lnTo>
                    <a:pt x="850" y="809"/>
                  </a:lnTo>
                  <a:lnTo>
                    <a:pt x="850" y="809"/>
                  </a:lnTo>
                  <a:lnTo>
                    <a:pt x="850" y="809"/>
                  </a:lnTo>
                  <a:lnTo>
                    <a:pt x="852" y="807"/>
                  </a:lnTo>
                  <a:lnTo>
                    <a:pt x="852" y="807"/>
                  </a:lnTo>
                  <a:lnTo>
                    <a:pt x="852" y="807"/>
                  </a:lnTo>
                  <a:lnTo>
                    <a:pt x="852" y="807"/>
                  </a:lnTo>
                  <a:lnTo>
                    <a:pt x="852" y="807"/>
                  </a:lnTo>
                  <a:lnTo>
                    <a:pt x="852" y="807"/>
                  </a:lnTo>
                  <a:lnTo>
                    <a:pt x="852" y="807"/>
                  </a:lnTo>
                  <a:lnTo>
                    <a:pt x="852" y="805"/>
                  </a:lnTo>
                  <a:lnTo>
                    <a:pt x="852" y="805"/>
                  </a:lnTo>
                  <a:lnTo>
                    <a:pt x="852" y="805"/>
                  </a:lnTo>
                  <a:lnTo>
                    <a:pt x="852" y="803"/>
                  </a:lnTo>
                  <a:lnTo>
                    <a:pt x="852" y="803"/>
                  </a:lnTo>
                  <a:lnTo>
                    <a:pt x="850" y="801"/>
                  </a:lnTo>
                  <a:lnTo>
                    <a:pt x="850" y="801"/>
                  </a:lnTo>
                  <a:lnTo>
                    <a:pt x="850" y="801"/>
                  </a:lnTo>
                  <a:lnTo>
                    <a:pt x="852" y="801"/>
                  </a:lnTo>
                  <a:lnTo>
                    <a:pt x="852" y="801"/>
                  </a:lnTo>
                  <a:lnTo>
                    <a:pt x="854" y="801"/>
                  </a:lnTo>
                  <a:lnTo>
                    <a:pt x="852" y="801"/>
                  </a:lnTo>
                  <a:lnTo>
                    <a:pt x="852" y="801"/>
                  </a:lnTo>
                  <a:lnTo>
                    <a:pt x="852" y="803"/>
                  </a:lnTo>
                  <a:lnTo>
                    <a:pt x="852" y="803"/>
                  </a:lnTo>
                  <a:lnTo>
                    <a:pt x="852" y="805"/>
                  </a:lnTo>
                  <a:lnTo>
                    <a:pt x="852" y="805"/>
                  </a:lnTo>
                  <a:lnTo>
                    <a:pt x="854" y="805"/>
                  </a:lnTo>
                  <a:lnTo>
                    <a:pt x="854" y="805"/>
                  </a:lnTo>
                  <a:lnTo>
                    <a:pt x="854" y="805"/>
                  </a:lnTo>
                  <a:lnTo>
                    <a:pt x="854" y="803"/>
                  </a:lnTo>
                  <a:lnTo>
                    <a:pt x="854" y="803"/>
                  </a:lnTo>
                  <a:lnTo>
                    <a:pt x="856" y="801"/>
                  </a:lnTo>
                  <a:lnTo>
                    <a:pt x="856" y="801"/>
                  </a:lnTo>
                  <a:lnTo>
                    <a:pt x="856" y="801"/>
                  </a:lnTo>
                  <a:lnTo>
                    <a:pt x="858" y="803"/>
                  </a:lnTo>
                  <a:lnTo>
                    <a:pt x="858" y="801"/>
                  </a:lnTo>
                  <a:lnTo>
                    <a:pt x="858" y="801"/>
                  </a:lnTo>
                  <a:lnTo>
                    <a:pt x="860" y="801"/>
                  </a:lnTo>
                  <a:lnTo>
                    <a:pt x="862" y="801"/>
                  </a:lnTo>
                  <a:lnTo>
                    <a:pt x="862" y="801"/>
                  </a:lnTo>
                  <a:lnTo>
                    <a:pt x="862" y="801"/>
                  </a:lnTo>
                  <a:lnTo>
                    <a:pt x="862" y="799"/>
                  </a:lnTo>
                  <a:lnTo>
                    <a:pt x="864" y="799"/>
                  </a:lnTo>
                  <a:lnTo>
                    <a:pt x="864" y="799"/>
                  </a:lnTo>
                  <a:lnTo>
                    <a:pt x="864" y="799"/>
                  </a:lnTo>
                  <a:lnTo>
                    <a:pt x="864" y="799"/>
                  </a:lnTo>
                  <a:lnTo>
                    <a:pt x="866" y="801"/>
                  </a:lnTo>
                  <a:lnTo>
                    <a:pt x="866" y="801"/>
                  </a:lnTo>
                  <a:lnTo>
                    <a:pt x="866" y="801"/>
                  </a:lnTo>
                  <a:lnTo>
                    <a:pt x="866" y="801"/>
                  </a:lnTo>
                  <a:lnTo>
                    <a:pt x="866" y="801"/>
                  </a:lnTo>
                  <a:lnTo>
                    <a:pt x="866" y="801"/>
                  </a:lnTo>
                  <a:lnTo>
                    <a:pt x="866" y="801"/>
                  </a:lnTo>
                  <a:lnTo>
                    <a:pt x="866" y="801"/>
                  </a:lnTo>
                  <a:lnTo>
                    <a:pt x="866" y="801"/>
                  </a:lnTo>
                  <a:lnTo>
                    <a:pt x="866" y="801"/>
                  </a:lnTo>
                  <a:lnTo>
                    <a:pt x="866" y="801"/>
                  </a:lnTo>
                  <a:lnTo>
                    <a:pt x="866" y="799"/>
                  </a:lnTo>
                  <a:lnTo>
                    <a:pt x="866" y="799"/>
                  </a:lnTo>
                  <a:lnTo>
                    <a:pt x="866" y="799"/>
                  </a:lnTo>
                  <a:lnTo>
                    <a:pt x="868" y="799"/>
                  </a:lnTo>
                  <a:lnTo>
                    <a:pt x="868" y="799"/>
                  </a:lnTo>
                  <a:lnTo>
                    <a:pt x="868" y="799"/>
                  </a:lnTo>
                  <a:lnTo>
                    <a:pt x="868" y="801"/>
                  </a:lnTo>
                  <a:lnTo>
                    <a:pt x="868" y="801"/>
                  </a:lnTo>
                  <a:lnTo>
                    <a:pt x="870" y="797"/>
                  </a:lnTo>
                  <a:lnTo>
                    <a:pt x="870" y="795"/>
                  </a:lnTo>
                  <a:lnTo>
                    <a:pt x="873" y="795"/>
                  </a:lnTo>
                  <a:lnTo>
                    <a:pt x="873" y="797"/>
                  </a:lnTo>
                  <a:lnTo>
                    <a:pt x="873" y="797"/>
                  </a:lnTo>
                  <a:lnTo>
                    <a:pt x="873" y="797"/>
                  </a:lnTo>
                  <a:lnTo>
                    <a:pt x="873" y="797"/>
                  </a:lnTo>
                  <a:lnTo>
                    <a:pt x="873" y="797"/>
                  </a:lnTo>
                  <a:lnTo>
                    <a:pt x="873" y="795"/>
                  </a:lnTo>
                  <a:lnTo>
                    <a:pt x="875" y="797"/>
                  </a:lnTo>
                  <a:lnTo>
                    <a:pt x="875" y="797"/>
                  </a:lnTo>
                  <a:lnTo>
                    <a:pt x="875" y="797"/>
                  </a:lnTo>
                  <a:lnTo>
                    <a:pt x="875" y="797"/>
                  </a:lnTo>
                  <a:lnTo>
                    <a:pt x="875" y="797"/>
                  </a:lnTo>
                  <a:lnTo>
                    <a:pt x="875" y="797"/>
                  </a:lnTo>
                  <a:lnTo>
                    <a:pt x="875" y="799"/>
                  </a:lnTo>
                  <a:lnTo>
                    <a:pt x="875" y="799"/>
                  </a:lnTo>
                  <a:lnTo>
                    <a:pt x="875" y="799"/>
                  </a:lnTo>
                  <a:lnTo>
                    <a:pt x="875" y="799"/>
                  </a:lnTo>
                  <a:lnTo>
                    <a:pt x="875" y="799"/>
                  </a:lnTo>
                  <a:lnTo>
                    <a:pt x="877" y="799"/>
                  </a:lnTo>
                  <a:lnTo>
                    <a:pt x="877" y="799"/>
                  </a:lnTo>
                  <a:lnTo>
                    <a:pt x="877" y="799"/>
                  </a:lnTo>
                  <a:lnTo>
                    <a:pt x="877" y="797"/>
                  </a:lnTo>
                  <a:lnTo>
                    <a:pt x="877" y="797"/>
                  </a:lnTo>
                  <a:lnTo>
                    <a:pt x="877" y="797"/>
                  </a:lnTo>
                  <a:lnTo>
                    <a:pt x="877" y="797"/>
                  </a:lnTo>
                  <a:lnTo>
                    <a:pt x="877" y="797"/>
                  </a:lnTo>
                  <a:lnTo>
                    <a:pt x="877" y="795"/>
                  </a:lnTo>
                  <a:lnTo>
                    <a:pt x="877" y="795"/>
                  </a:lnTo>
                  <a:lnTo>
                    <a:pt x="877" y="795"/>
                  </a:lnTo>
                  <a:lnTo>
                    <a:pt x="877" y="795"/>
                  </a:lnTo>
                  <a:lnTo>
                    <a:pt x="875" y="795"/>
                  </a:lnTo>
                  <a:lnTo>
                    <a:pt x="875" y="795"/>
                  </a:lnTo>
                  <a:lnTo>
                    <a:pt x="877" y="793"/>
                  </a:lnTo>
                  <a:lnTo>
                    <a:pt x="877" y="793"/>
                  </a:lnTo>
                  <a:lnTo>
                    <a:pt x="877" y="793"/>
                  </a:lnTo>
                  <a:lnTo>
                    <a:pt x="877" y="791"/>
                  </a:lnTo>
                  <a:lnTo>
                    <a:pt x="877" y="791"/>
                  </a:lnTo>
                  <a:lnTo>
                    <a:pt x="877" y="791"/>
                  </a:lnTo>
                  <a:lnTo>
                    <a:pt x="877" y="791"/>
                  </a:lnTo>
                  <a:lnTo>
                    <a:pt x="877" y="789"/>
                  </a:lnTo>
                  <a:lnTo>
                    <a:pt x="877" y="789"/>
                  </a:lnTo>
                  <a:lnTo>
                    <a:pt x="877" y="789"/>
                  </a:lnTo>
                  <a:lnTo>
                    <a:pt x="877" y="789"/>
                  </a:lnTo>
                  <a:lnTo>
                    <a:pt x="877" y="791"/>
                  </a:lnTo>
                  <a:lnTo>
                    <a:pt x="877" y="791"/>
                  </a:lnTo>
                  <a:lnTo>
                    <a:pt x="879" y="791"/>
                  </a:lnTo>
                  <a:lnTo>
                    <a:pt x="879" y="791"/>
                  </a:lnTo>
                  <a:lnTo>
                    <a:pt x="879" y="789"/>
                  </a:lnTo>
                  <a:lnTo>
                    <a:pt x="881" y="789"/>
                  </a:lnTo>
                  <a:lnTo>
                    <a:pt x="879" y="787"/>
                  </a:lnTo>
                  <a:lnTo>
                    <a:pt x="879" y="787"/>
                  </a:lnTo>
                  <a:lnTo>
                    <a:pt x="879" y="787"/>
                  </a:lnTo>
                  <a:lnTo>
                    <a:pt x="881" y="787"/>
                  </a:lnTo>
                  <a:lnTo>
                    <a:pt x="883" y="787"/>
                  </a:lnTo>
                  <a:lnTo>
                    <a:pt x="883" y="787"/>
                  </a:lnTo>
                  <a:lnTo>
                    <a:pt x="883" y="787"/>
                  </a:lnTo>
                  <a:lnTo>
                    <a:pt x="883" y="789"/>
                  </a:lnTo>
                  <a:lnTo>
                    <a:pt x="883" y="789"/>
                  </a:lnTo>
                  <a:lnTo>
                    <a:pt x="883" y="789"/>
                  </a:lnTo>
                  <a:lnTo>
                    <a:pt x="883" y="789"/>
                  </a:lnTo>
                  <a:lnTo>
                    <a:pt x="883" y="789"/>
                  </a:lnTo>
                  <a:lnTo>
                    <a:pt x="881" y="789"/>
                  </a:lnTo>
                  <a:lnTo>
                    <a:pt x="881" y="789"/>
                  </a:lnTo>
                  <a:lnTo>
                    <a:pt x="881" y="789"/>
                  </a:lnTo>
                  <a:lnTo>
                    <a:pt x="881" y="789"/>
                  </a:lnTo>
                  <a:lnTo>
                    <a:pt x="881" y="789"/>
                  </a:lnTo>
                  <a:lnTo>
                    <a:pt x="881" y="789"/>
                  </a:lnTo>
                  <a:lnTo>
                    <a:pt x="881" y="791"/>
                  </a:lnTo>
                  <a:lnTo>
                    <a:pt x="881" y="791"/>
                  </a:lnTo>
                  <a:lnTo>
                    <a:pt x="879" y="791"/>
                  </a:lnTo>
                  <a:lnTo>
                    <a:pt x="879" y="791"/>
                  </a:lnTo>
                  <a:lnTo>
                    <a:pt x="879" y="793"/>
                  </a:lnTo>
                  <a:lnTo>
                    <a:pt x="879" y="793"/>
                  </a:lnTo>
                  <a:lnTo>
                    <a:pt x="879" y="793"/>
                  </a:lnTo>
                  <a:lnTo>
                    <a:pt x="879" y="793"/>
                  </a:lnTo>
                  <a:lnTo>
                    <a:pt x="879" y="795"/>
                  </a:lnTo>
                  <a:lnTo>
                    <a:pt x="879" y="795"/>
                  </a:lnTo>
                  <a:lnTo>
                    <a:pt x="879" y="795"/>
                  </a:lnTo>
                  <a:lnTo>
                    <a:pt x="881" y="795"/>
                  </a:lnTo>
                  <a:lnTo>
                    <a:pt x="881" y="795"/>
                  </a:lnTo>
                  <a:lnTo>
                    <a:pt x="881" y="795"/>
                  </a:lnTo>
                  <a:lnTo>
                    <a:pt x="879" y="795"/>
                  </a:lnTo>
                  <a:lnTo>
                    <a:pt x="881" y="797"/>
                  </a:lnTo>
                  <a:lnTo>
                    <a:pt x="881" y="797"/>
                  </a:lnTo>
                  <a:lnTo>
                    <a:pt x="881" y="797"/>
                  </a:lnTo>
                  <a:lnTo>
                    <a:pt x="881" y="797"/>
                  </a:lnTo>
                  <a:lnTo>
                    <a:pt x="881" y="797"/>
                  </a:lnTo>
                  <a:lnTo>
                    <a:pt x="881" y="795"/>
                  </a:lnTo>
                  <a:lnTo>
                    <a:pt x="881" y="795"/>
                  </a:lnTo>
                  <a:lnTo>
                    <a:pt x="883" y="795"/>
                  </a:lnTo>
                  <a:lnTo>
                    <a:pt x="883" y="795"/>
                  </a:lnTo>
                  <a:lnTo>
                    <a:pt x="883" y="797"/>
                  </a:lnTo>
                  <a:lnTo>
                    <a:pt x="883" y="797"/>
                  </a:lnTo>
                  <a:lnTo>
                    <a:pt x="883" y="797"/>
                  </a:lnTo>
                  <a:lnTo>
                    <a:pt x="885" y="797"/>
                  </a:lnTo>
                  <a:lnTo>
                    <a:pt x="883" y="795"/>
                  </a:lnTo>
                  <a:lnTo>
                    <a:pt x="883" y="795"/>
                  </a:lnTo>
                  <a:lnTo>
                    <a:pt x="883" y="795"/>
                  </a:lnTo>
                  <a:lnTo>
                    <a:pt x="883" y="795"/>
                  </a:lnTo>
                  <a:lnTo>
                    <a:pt x="883" y="795"/>
                  </a:lnTo>
                  <a:lnTo>
                    <a:pt x="883" y="795"/>
                  </a:lnTo>
                  <a:lnTo>
                    <a:pt x="883" y="795"/>
                  </a:lnTo>
                  <a:lnTo>
                    <a:pt x="883" y="795"/>
                  </a:lnTo>
                  <a:lnTo>
                    <a:pt x="883" y="793"/>
                  </a:lnTo>
                  <a:lnTo>
                    <a:pt x="883" y="793"/>
                  </a:lnTo>
                  <a:lnTo>
                    <a:pt x="883" y="791"/>
                  </a:lnTo>
                  <a:lnTo>
                    <a:pt x="883" y="791"/>
                  </a:lnTo>
                  <a:lnTo>
                    <a:pt x="883" y="791"/>
                  </a:lnTo>
                  <a:lnTo>
                    <a:pt x="883" y="791"/>
                  </a:lnTo>
                  <a:lnTo>
                    <a:pt x="883" y="793"/>
                  </a:lnTo>
                  <a:lnTo>
                    <a:pt x="883" y="793"/>
                  </a:lnTo>
                  <a:lnTo>
                    <a:pt x="885" y="793"/>
                  </a:lnTo>
                  <a:lnTo>
                    <a:pt x="885" y="793"/>
                  </a:lnTo>
                  <a:lnTo>
                    <a:pt x="885" y="793"/>
                  </a:lnTo>
                  <a:lnTo>
                    <a:pt x="885" y="791"/>
                  </a:lnTo>
                  <a:lnTo>
                    <a:pt x="885" y="791"/>
                  </a:lnTo>
                  <a:lnTo>
                    <a:pt x="885" y="791"/>
                  </a:lnTo>
                  <a:lnTo>
                    <a:pt x="885" y="791"/>
                  </a:lnTo>
                  <a:lnTo>
                    <a:pt x="885" y="789"/>
                  </a:lnTo>
                  <a:lnTo>
                    <a:pt x="885" y="789"/>
                  </a:lnTo>
                  <a:lnTo>
                    <a:pt x="885" y="789"/>
                  </a:lnTo>
                  <a:lnTo>
                    <a:pt x="885" y="789"/>
                  </a:lnTo>
                  <a:lnTo>
                    <a:pt x="885" y="789"/>
                  </a:lnTo>
                  <a:lnTo>
                    <a:pt x="885" y="789"/>
                  </a:lnTo>
                  <a:lnTo>
                    <a:pt x="885" y="791"/>
                  </a:lnTo>
                  <a:lnTo>
                    <a:pt x="887" y="791"/>
                  </a:lnTo>
                  <a:lnTo>
                    <a:pt x="887" y="789"/>
                  </a:lnTo>
                  <a:lnTo>
                    <a:pt x="887" y="789"/>
                  </a:lnTo>
                  <a:lnTo>
                    <a:pt x="889" y="789"/>
                  </a:lnTo>
                  <a:lnTo>
                    <a:pt x="889" y="789"/>
                  </a:lnTo>
                  <a:lnTo>
                    <a:pt x="889" y="789"/>
                  </a:lnTo>
                  <a:lnTo>
                    <a:pt x="889" y="789"/>
                  </a:lnTo>
                  <a:lnTo>
                    <a:pt x="889" y="789"/>
                  </a:lnTo>
                  <a:lnTo>
                    <a:pt x="891" y="789"/>
                  </a:lnTo>
                  <a:lnTo>
                    <a:pt x="891" y="789"/>
                  </a:lnTo>
                  <a:lnTo>
                    <a:pt x="891" y="789"/>
                  </a:lnTo>
                  <a:lnTo>
                    <a:pt x="891" y="787"/>
                  </a:lnTo>
                  <a:lnTo>
                    <a:pt x="891" y="787"/>
                  </a:lnTo>
                  <a:lnTo>
                    <a:pt x="891" y="787"/>
                  </a:lnTo>
                  <a:lnTo>
                    <a:pt x="893" y="787"/>
                  </a:lnTo>
                  <a:lnTo>
                    <a:pt x="893" y="787"/>
                  </a:lnTo>
                  <a:lnTo>
                    <a:pt x="893" y="787"/>
                  </a:lnTo>
                  <a:lnTo>
                    <a:pt x="893" y="785"/>
                  </a:lnTo>
                  <a:lnTo>
                    <a:pt x="893" y="785"/>
                  </a:lnTo>
                  <a:lnTo>
                    <a:pt x="891" y="785"/>
                  </a:lnTo>
                  <a:lnTo>
                    <a:pt x="891" y="787"/>
                  </a:lnTo>
                  <a:lnTo>
                    <a:pt x="889" y="787"/>
                  </a:lnTo>
                  <a:lnTo>
                    <a:pt x="889" y="789"/>
                  </a:lnTo>
                  <a:lnTo>
                    <a:pt x="887" y="789"/>
                  </a:lnTo>
                  <a:lnTo>
                    <a:pt x="887" y="789"/>
                  </a:lnTo>
                  <a:lnTo>
                    <a:pt x="887" y="787"/>
                  </a:lnTo>
                  <a:lnTo>
                    <a:pt x="887" y="787"/>
                  </a:lnTo>
                  <a:lnTo>
                    <a:pt x="887" y="787"/>
                  </a:lnTo>
                  <a:lnTo>
                    <a:pt x="885" y="787"/>
                  </a:lnTo>
                  <a:lnTo>
                    <a:pt x="885" y="787"/>
                  </a:lnTo>
                  <a:lnTo>
                    <a:pt x="885" y="787"/>
                  </a:lnTo>
                  <a:lnTo>
                    <a:pt x="885" y="787"/>
                  </a:lnTo>
                  <a:lnTo>
                    <a:pt x="885" y="787"/>
                  </a:lnTo>
                  <a:lnTo>
                    <a:pt x="885" y="785"/>
                  </a:lnTo>
                  <a:lnTo>
                    <a:pt x="885" y="785"/>
                  </a:lnTo>
                  <a:lnTo>
                    <a:pt x="885" y="785"/>
                  </a:lnTo>
                  <a:lnTo>
                    <a:pt x="887" y="785"/>
                  </a:lnTo>
                  <a:lnTo>
                    <a:pt x="887" y="785"/>
                  </a:lnTo>
                  <a:lnTo>
                    <a:pt x="887" y="785"/>
                  </a:lnTo>
                  <a:lnTo>
                    <a:pt x="889" y="785"/>
                  </a:lnTo>
                  <a:lnTo>
                    <a:pt x="889" y="785"/>
                  </a:lnTo>
                  <a:lnTo>
                    <a:pt x="889" y="785"/>
                  </a:lnTo>
                  <a:lnTo>
                    <a:pt x="891" y="783"/>
                  </a:lnTo>
                  <a:lnTo>
                    <a:pt x="891" y="783"/>
                  </a:lnTo>
                  <a:lnTo>
                    <a:pt x="891" y="783"/>
                  </a:lnTo>
                  <a:lnTo>
                    <a:pt x="889" y="783"/>
                  </a:lnTo>
                  <a:lnTo>
                    <a:pt x="889" y="781"/>
                  </a:lnTo>
                  <a:lnTo>
                    <a:pt x="887" y="781"/>
                  </a:lnTo>
                  <a:lnTo>
                    <a:pt x="887" y="781"/>
                  </a:lnTo>
                  <a:lnTo>
                    <a:pt x="887" y="781"/>
                  </a:lnTo>
                  <a:lnTo>
                    <a:pt x="887" y="781"/>
                  </a:lnTo>
                  <a:lnTo>
                    <a:pt x="885" y="783"/>
                  </a:lnTo>
                  <a:lnTo>
                    <a:pt x="885" y="781"/>
                  </a:lnTo>
                  <a:lnTo>
                    <a:pt x="885" y="781"/>
                  </a:lnTo>
                  <a:lnTo>
                    <a:pt x="885" y="781"/>
                  </a:lnTo>
                  <a:lnTo>
                    <a:pt x="885" y="781"/>
                  </a:lnTo>
                  <a:lnTo>
                    <a:pt x="885" y="781"/>
                  </a:lnTo>
                  <a:lnTo>
                    <a:pt x="885" y="781"/>
                  </a:lnTo>
                  <a:lnTo>
                    <a:pt x="885" y="779"/>
                  </a:lnTo>
                  <a:lnTo>
                    <a:pt x="883" y="779"/>
                  </a:lnTo>
                  <a:lnTo>
                    <a:pt x="881" y="781"/>
                  </a:lnTo>
                  <a:lnTo>
                    <a:pt x="881" y="781"/>
                  </a:lnTo>
                  <a:lnTo>
                    <a:pt x="881" y="783"/>
                  </a:lnTo>
                  <a:lnTo>
                    <a:pt x="881" y="783"/>
                  </a:lnTo>
                  <a:lnTo>
                    <a:pt x="881" y="783"/>
                  </a:lnTo>
                  <a:lnTo>
                    <a:pt x="881" y="783"/>
                  </a:lnTo>
                  <a:lnTo>
                    <a:pt x="881" y="785"/>
                  </a:lnTo>
                  <a:lnTo>
                    <a:pt x="879" y="783"/>
                  </a:lnTo>
                  <a:lnTo>
                    <a:pt x="879" y="783"/>
                  </a:lnTo>
                  <a:lnTo>
                    <a:pt x="879" y="781"/>
                  </a:lnTo>
                  <a:lnTo>
                    <a:pt x="879" y="781"/>
                  </a:lnTo>
                  <a:lnTo>
                    <a:pt x="881" y="781"/>
                  </a:lnTo>
                  <a:lnTo>
                    <a:pt x="881" y="779"/>
                  </a:lnTo>
                  <a:lnTo>
                    <a:pt x="883" y="779"/>
                  </a:lnTo>
                  <a:lnTo>
                    <a:pt x="883" y="779"/>
                  </a:lnTo>
                  <a:lnTo>
                    <a:pt x="883" y="779"/>
                  </a:lnTo>
                  <a:lnTo>
                    <a:pt x="883" y="777"/>
                  </a:lnTo>
                  <a:lnTo>
                    <a:pt x="885" y="777"/>
                  </a:lnTo>
                  <a:lnTo>
                    <a:pt x="885" y="777"/>
                  </a:lnTo>
                  <a:lnTo>
                    <a:pt x="885" y="775"/>
                  </a:lnTo>
                  <a:lnTo>
                    <a:pt x="885" y="775"/>
                  </a:lnTo>
                  <a:lnTo>
                    <a:pt x="885" y="775"/>
                  </a:lnTo>
                  <a:lnTo>
                    <a:pt x="887" y="773"/>
                  </a:lnTo>
                  <a:lnTo>
                    <a:pt x="889" y="773"/>
                  </a:lnTo>
                  <a:lnTo>
                    <a:pt x="889" y="773"/>
                  </a:lnTo>
                  <a:lnTo>
                    <a:pt x="889" y="773"/>
                  </a:lnTo>
                  <a:lnTo>
                    <a:pt x="889" y="773"/>
                  </a:lnTo>
                  <a:lnTo>
                    <a:pt x="891" y="775"/>
                  </a:lnTo>
                  <a:lnTo>
                    <a:pt x="891" y="775"/>
                  </a:lnTo>
                  <a:lnTo>
                    <a:pt x="891" y="775"/>
                  </a:lnTo>
                  <a:lnTo>
                    <a:pt x="893" y="775"/>
                  </a:lnTo>
                  <a:lnTo>
                    <a:pt x="893" y="775"/>
                  </a:lnTo>
                  <a:lnTo>
                    <a:pt x="895" y="773"/>
                  </a:lnTo>
                  <a:lnTo>
                    <a:pt x="893" y="773"/>
                  </a:lnTo>
                  <a:lnTo>
                    <a:pt x="893" y="773"/>
                  </a:lnTo>
                  <a:lnTo>
                    <a:pt x="893" y="773"/>
                  </a:lnTo>
                  <a:lnTo>
                    <a:pt x="893" y="771"/>
                  </a:lnTo>
                  <a:lnTo>
                    <a:pt x="893" y="771"/>
                  </a:lnTo>
                  <a:lnTo>
                    <a:pt x="895" y="771"/>
                  </a:lnTo>
                  <a:lnTo>
                    <a:pt x="895" y="771"/>
                  </a:lnTo>
                  <a:lnTo>
                    <a:pt x="899" y="773"/>
                  </a:lnTo>
                  <a:lnTo>
                    <a:pt x="901" y="775"/>
                  </a:lnTo>
                  <a:lnTo>
                    <a:pt x="901" y="775"/>
                  </a:lnTo>
                  <a:lnTo>
                    <a:pt x="901" y="773"/>
                  </a:lnTo>
                  <a:lnTo>
                    <a:pt x="901" y="773"/>
                  </a:lnTo>
                  <a:lnTo>
                    <a:pt x="903" y="773"/>
                  </a:lnTo>
                  <a:lnTo>
                    <a:pt x="903" y="773"/>
                  </a:lnTo>
                  <a:lnTo>
                    <a:pt x="903" y="771"/>
                  </a:lnTo>
                  <a:lnTo>
                    <a:pt x="901" y="771"/>
                  </a:lnTo>
                  <a:lnTo>
                    <a:pt x="901" y="771"/>
                  </a:lnTo>
                  <a:lnTo>
                    <a:pt x="901" y="771"/>
                  </a:lnTo>
                  <a:lnTo>
                    <a:pt x="901" y="768"/>
                  </a:lnTo>
                  <a:lnTo>
                    <a:pt x="901" y="768"/>
                  </a:lnTo>
                  <a:lnTo>
                    <a:pt x="901" y="768"/>
                  </a:lnTo>
                  <a:lnTo>
                    <a:pt x="899" y="768"/>
                  </a:lnTo>
                  <a:lnTo>
                    <a:pt x="895" y="771"/>
                  </a:lnTo>
                  <a:lnTo>
                    <a:pt x="893" y="771"/>
                  </a:lnTo>
                  <a:lnTo>
                    <a:pt x="895" y="768"/>
                  </a:lnTo>
                  <a:lnTo>
                    <a:pt x="895" y="768"/>
                  </a:lnTo>
                  <a:lnTo>
                    <a:pt x="895" y="768"/>
                  </a:lnTo>
                  <a:lnTo>
                    <a:pt x="895" y="768"/>
                  </a:lnTo>
                  <a:lnTo>
                    <a:pt x="897" y="768"/>
                  </a:lnTo>
                  <a:lnTo>
                    <a:pt x="897" y="768"/>
                  </a:lnTo>
                  <a:lnTo>
                    <a:pt x="897" y="768"/>
                  </a:lnTo>
                  <a:lnTo>
                    <a:pt x="897" y="766"/>
                  </a:lnTo>
                  <a:lnTo>
                    <a:pt x="897" y="766"/>
                  </a:lnTo>
                  <a:lnTo>
                    <a:pt x="897" y="766"/>
                  </a:lnTo>
                  <a:lnTo>
                    <a:pt x="899" y="766"/>
                  </a:lnTo>
                  <a:lnTo>
                    <a:pt x="899" y="766"/>
                  </a:lnTo>
                  <a:lnTo>
                    <a:pt x="899" y="764"/>
                  </a:lnTo>
                  <a:lnTo>
                    <a:pt x="901" y="764"/>
                  </a:lnTo>
                  <a:lnTo>
                    <a:pt x="901" y="764"/>
                  </a:lnTo>
                  <a:lnTo>
                    <a:pt x="901" y="764"/>
                  </a:lnTo>
                  <a:lnTo>
                    <a:pt x="903" y="764"/>
                  </a:lnTo>
                  <a:lnTo>
                    <a:pt x="903" y="764"/>
                  </a:lnTo>
                  <a:lnTo>
                    <a:pt x="903" y="762"/>
                  </a:lnTo>
                  <a:lnTo>
                    <a:pt x="905" y="762"/>
                  </a:lnTo>
                  <a:lnTo>
                    <a:pt x="905" y="764"/>
                  </a:lnTo>
                  <a:lnTo>
                    <a:pt x="905" y="766"/>
                  </a:lnTo>
                  <a:lnTo>
                    <a:pt x="907" y="766"/>
                  </a:lnTo>
                  <a:lnTo>
                    <a:pt x="907" y="766"/>
                  </a:lnTo>
                  <a:lnTo>
                    <a:pt x="909" y="766"/>
                  </a:lnTo>
                  <a:lnTo>
                    <a:pt x="909" y="766"/>
                  </a:lnTo>
                  <a:lnTo>
                    <a:pt x="909" y="766"/>
                  </a:lnTo>
                  <a:lnTo>
                    <a:pt x="911" y="766"/>
                  </a:lnTo>
                  <a:lnTo>
                    <a:pt x="913" y="766"/>
                  </a:lnTo>
                  <a:lnTo>
                    <a:pt x="913" y="766"/>
                  </a:lnTo>
                  <a:lnTo>
                    <a:pt x="913" y="766"/>
                  </a:lnTo>
                  <a:lnTo>
                    <a:pt x="913" y="766"/>
                  </a:lnTo>
                  <a:lnTo>
                    <a:pt x="913" y="764"/>
                  </a:lnTo>
                  <a:lnTo>
                    <a:pt x="913" y="764"/>
                  </a:lnTo>
                  <a:lnTo>
                    <a:pt x="913" y="764"/>
                  </a:lnTo>
                  <a:lnTo>
                    <a:pt x="913" y="764"/>
                  </a:lnTo>
                  <a:lnTo>
                    <a:pt x="911" y="764"/>
                  </a:lnTo>
                  <a:lnTo>
                    <a:pt x="911" y="762"/>
                  </a:lnTo>
                  <a:lnTo>
                    <a:pt x="911" y="762"/>
                  </a:lnTo>
                  <a:lnTo>
                    <a:pt x="909" y="762"/>
                  </a:lnTo>
                  <a:lnTo>
                    <a:pt x="909" y="762"/>
                  </a:lnTo>
                  <a:lnTo>
                    <a:pt x="909" y="762"/>
                  </a:lnTo>
                  <a:lnTo>
                    <a:pt x="909" y="762"/>
                  </a:lnTo>
                  <a:lnTo>
                    <a:pt x="909" y="760"/>
                  </a:lnTo>
                  <a:lnTo>
                    <a:pt x="909" y="760"/>
                  </a:lnTo>
                  <a:lnTo>
                    <a:pt x="911" y="762"/>
                  </a:lnTo>
                  <a:lnTo>
                    <a:pt x="911" y="760"/>
                  </a:lnTo>
                  <a:lnTo>
                    <a:pt x="911" y="760"/>
                  </a:lnTo>
                  <a:lnTo>
                    <a:pt x="913" y="758"/>
                  </a:lnTo>
                  <a:lnTo>
                    <a:pt x="913" y="760"/>
                  </a:lnTo>
                  <a:lnTo>
                    <a:pt x="913" y="760"/>
                  </a:lnTo>
                  <a:lnTo>
                    <a:pt x="913" y="760"/>
                  </a:lnTo>
                  <a:lnTo>
                    <a:pt x="913" y="760"/>
                  </a:lnTo>
                  <a:lnTo>
                    <a:pt x="916" y="758"/>
                  </a:lnTo>
                  <a:lnTo>
                    <a:pt x="916" y="758"/>
                  </a:lnTo>
                  <a:lnTo>
                    <a:pt x="916" y="758"/>
                  </a:lnTo>
                  <a:lnTo>
                    <a:pt x="916" y="758"/>
                  </a:lnTo>
                  <a:lnTo>
                    <a:pt x="916" y="758"/>
                  </a:lnTo>
                  <a:lnTo>
                    <a:pt x="916" y="760"/>
                  </a:lnTo>
                  <a:lnTo>
                    <a:pt x="916" y="758"/>
                  </a:lnTo>
                  <a:lnTo>
                    <a:pt x="916" y="758"/>
                  </a:lnTo>
                  <a:lnTo>
                    <a:pt x="916" y="758"/>
                  </a:lnTo>
                  <a:lnTo>
                    <a:pt x="916" y="756"/>
                  </a:lnTo>
                  <a:lnTo>
                    <a:pt x="916" y="756"/>
                  </a:lnTo>
                  <a:lnTo>
                    <a:pt x="913" y="756"/>
                  </a:lnTo>
                  <a:lnTo>
                    <a:pt x="913" y="756"/>
                  </a:lnTo>
                  <a:lnTo>
                    <a:pt x="913" y="756"/>
                  </a:lnTo>
                  <a:lnTo>
                    <a:pt x="913" y="756"/>
                  </a:lnTo>
                  <a:lnTo>
                    <a:pt x="913" y="754"/>
                  </a:lnTo>
                  <a:lnTo>
                    <a:pt x="916" y="754"/>
                  </a:lnTo>
                  <a:lnTo>
                    <a:pt x="916" y="754"/>
                  </a:lnTo>
                  <a:lnTo>
                    <a:pt x="916" y="754"/>
                  </a:lnTo>
                  <a:lnTo>
                    <a:pt x="918" y="754"/>
                  </a:lnTo>
                  <a:lnTo>
                    <a:pt x="918" y="756"/>
                  </a:lnTo>
                  <a:lnTo>
                    <a:pt x="920" y="758"/>
                  </a:lnTo>
                  <a:lnTo>
                    <a:pt x="920" y="758"/>
                  </a:lnTo>
                  <a:lnTo>
                    <a:pt x="922" y="758"/>
                  </a:lnTo>
                  <a:lnTo>
                    <a:pt x="922" y="758"/>
                  </a:lnTo>
                  <a:lnTo>
                    <a:pt x="922" y="758"/>
                  </a:lnTo>
                  <a:lnTo>
                    <a:pt x="924" y="756"/>
                  </a:lnTo>
                  <a:lnTo>
                    <a:pt x="922" y="756"/>
                  </a:lnTo>
                  <a:lnTo>
                    <a:pt x="922" y="756"/>
                  </a:lnTo>
                  <a:lnTo>
                    <a:pt x="922" y="756"/>
                  </a:lnTo>
                  <a:lnTo>
                    <a:pt x="922" y="754"/>
                  </a:lnTo>
                  <a:lnTo>
                    <a:pt x="924" y="756"/>
                  </a:lnTo>
                  <a:lnTo>
                    <a:pt x="924" y="756"/>
                  </a:lnTo>
                  <a:lnTo>
                    <a:pt x="926" y="756"/>
                  </a:lnTo>
                  <a:lnTo>
                    <a:pt x="926" y="754"/>
                  </a:lnTo>
                  <a:lnTo>
                    <a:pt x="926" y="754"/>
                  </a:lnTo>
                  <a:lnTo>
                    <a:pt x="926" y="754"/>
                  </a:lnTo>
                  <a:lnTo>
                    <a:pt x="928" y="752"/>
                  </a:lnTo>
                  <a:lnTo>
                    <a:pt x="928" y="752"/>
                  </a:lnTo>
                  <a:lnTo>
                    <a:pt x="930" y="752"/>
                  </a:lnTo>
                  <a:lnTo>
                    <a:pt x="930" y="752"/>
                  </a:lnTo>
                  <a:lnTo>
                    <a:pt x="928" y="752"/>
                  </a:lnTo>
                  <a:lnTo>
                    <a:pt x="928" y="752"/>
                  </a:lnTo>
                  <a:lnTo>
                    <a:pt x="930" y="750"/>
                  </a:lnTo>
                  <a:lnTo>
                    <a:pt x="930" y="750"/>
                  </a:lnTo>
                  <a:lnTo>
                    <a:pt x="928" y="750"/>
                  </a:lnTo>
                  <a:lnTo>
                    <a:pt x="928" y="748"/>
                  </a:lnTo>
                  <a:lnTo>
                    <a:pt x="930" y="748"/>
                  </a:lnTo>
                  <a:lnTo>
                    <a:pt x="930" y="750"/>
                  </a:lnTo>
                  <a:lnTo>
                    <a:pt x="930" y="750"/>
                  </a:lnTo>
                  <a:lnTo>
                    <a:pt x="930" y="750"/>
                  </a:lnTo>
                  <a:lnTo>
                    <a:pt x="932" y="752"/>
                  </a:lnTo>
                  <a:lnTo>
                    <a:pt x="932" y="754"/>
                  </a:lnTo>
                  <a:lnTo>
                    <a:pt x="932" y="752"/>
                  </a:lnTo>
                  <a:lnTo>
                    <a:pt x="934" y="752"/>
                  </a:lnTo>
                  <a:lnTo>
                    <a:pt x="934" y="750"/>
                  </a:lnTo>
                  <a:lnTo>
                    <a:pt x="934" y="750"/>
                  </a:lnTo>
                  <a:lnTo>
                    <a:pt x="934" y="750"/>
                  </a:lnTo>
                  <a:lnTo>
                    <a:pt x="934" y="750"/>
                  </a:lnTo>
                  <a:lnTo>
                    <a:pt x="934" y="748"/>
                  </a:lnTo>
                  <a:lnTo>
                    <a:pt x="934" y="748"/>
                  </a:lnTo>
                  <a:lnTo>
                    <a:pt x="934" y="748"/>
                  </a:lnTo>
                  <a:lnTo>
                    <a:pt x="934" y="748"/>
                  </a:lnTo>
                  <a:lnTo>
                    <a:pt x="934" y="748"/>
                  </a:lnTo>
                  <a:lnTo>
                    <a:pt x="934" y="748"/>
                  </a:lnTo>
                  <a:lnTo>
                    <a:pt x="934" y="746"/>
                  </a:lnTo>
                  <a:lnTo>
                    <a:pt x="934" y="746"/>
                  </a:lnTo>
                  <a:lnTo>
                    <a:pt x="934" y="746"/>
                  </a:lnTo>
                  <a:lnTo>
                    <a:pt x="934" y="746"/>
                  </a:lnTo>
                  <a:lnTo>
                    <a:pt x="934" y="746"/>
                  </a:lnTo>
                  <a:lnTo>
                    <a:pt x="934" y="746"/>
                  </a:lnTo>
                  <a:lnTo>
                    <a:pt x="936" y="746"/>
                  </a:lnTo>
                  <a:lnTo>
                    <a:pt x="936" y="746"/>
                  </a:lnTo>
                  <a:lnTo>
                    <a:pt x="936" y="746"/>
                  </a:lnTo>
                  <a:lnTo>
                    <a:pt x="936" y="746"/>
                  </a:lnTo>
                  <a:lnTo>
                    <a:pt x="936" y="748"/>
                  </a:lnTo>
                  <a:lnTo>
                    <a:pt x="936" y="748"/>
                  </a:lnTo>
                  <a:lnTo>
                    <a:pt x="936" y="748"/>
                  </a:lnTo>
                  <a:lnTo>
                    <a:pt x="936" y="748"/>
                  </a:lnTo>
                  <a:lnTo>
                    <a:pt x="938" y="748"/>
                  </a:lnTo>
                  <a:lnTo>
                    <a:pt x="940" y="750"/>
                  </a:lnTo>
                  <a:lnTo>
                    <a:pt x="940" y="750"/>
                  </a:lnTo>
                  <a:lnTo>
                    <a:pt x="940" y="748"/>
                  </a:lnTo>
                  <a:lnTo>
                    <a:pt x="938" y="746"/>
                  </a:lnTo>
                  <a:lnTo>
                    <a:pt x="938" y="746"/>
                  </a:lnTo>
                  <a:lnTo>
                    <a:pt x="938" y="744"/>
                  </a:lnTo>
                  <a:lnTo>
                    <a:pt x="938" y="744"/>
                  </a:lnTo>
                  <a:lnTo>
                    <a:pt x="940" y="746"/>
                  </a:lnTo>
                  <a:lnTo>
                    <a:pt x="940" y="746"/>
                  </a:lnTo>
                  <a:lnTo>
                    <a:pt x="940" y="746"/>
                  </a:lnTo>
                  <a:lnTo>
                    <a:pt x="940" y="746"/>
                  </a:lnTo>
                  <a:lnTo>
                    <a:pt x="940" y="746"/>
                  </a:lnTo>
                  <a:lnTo>
                    <a:pt x="942" y="746"/>
                  </a:lnTo>
                  <a:lnTo>
                    <a:pt x="942" y="746"/>
                  </a:lnTo>
                  <a:lnTo>
                    <a:pt x="942" y="744"/>
                  </a:lnTo>
                  <a:lnTo>
                    <a:pt x="942" y="744"/>
                  </a:lnTo>
                  <a:lnTo>
                    <a:pt x="942" y="744"/>
                  </a:lnTo>
                  <a:lnTo>
                    <a:pt x="942" y="744"/>
                  </a:lnTo>
                  <a:lnTo>
                    <a:pt x="942" y="744"/>
                  </a:lnTo>
                  <a:lnTo>
                    <a:pt x="942" y="744"/>
                  </a:lnTo>
                  <a:lnTo>
                    <a:pt x="942" y="744"/>
                  </a:lnTo>
                  <a:lnTo>
                    <a:pt x="942" y="742"/>
                  </a:lnTo>
                  <a:lnTo>
                    <a:pt x="942" y="742"/>
                  </a:lnTo>
                  <a:lnTo>
                    <a:pt x="946" y="742"/>
                  </a:lnTo>
                  <a:lnTo>
                    <a:pt x="946" y="740"/>
                  </a:lnTo>
                  <a:lnTo>
                    <a:pt x="946" y="740"/>
                  </a:lnTo>
                  <a:lnTo>
                    <a:pt x="946" y="740"/>
                  </a:lnTo>
                  <a:lnTo>
                    <a:pt x="946" y="740"/>
                  </a:lnTo>
                  <a:lnTo>
                    <a:pt x="946" y="738"/>
                  </a:lnTo>
                  <a:lnTo>
                    <a:pt x="946" y="738"/>
                  </a:lnTo>
                  <a:lnTo>
                    <a:pt x="946" y="738"/>
                  </a:lnTo>
                  <a:lnTo>
                    <a:pt x="946" y="738"/>
                  </a:lnTo>
                  <a:lnTo>
                    <a:pt x="944" y="738"/>
                  </a:lnTo>
                  <a:lnTo>
                    <a:pt x="944" y="738"/>
                  </a:lnTo>
                  <a:lnTo>
                    <a:pt x="944" y="736"/>
                  </a:lnTo>
                  <a:lnTo>
                    <a:pt x="944" y="736"/>
                  </a:lnTo>
                  <a:lnTo>
                    <a:pt x="944" y="736"/>
                  </a:lnTo>
                  <a:lnTo>
                    <a:pt x="946" y="736"/>
                  </a:lnTo>
                  <a:lnTo>
                    <a:pt x="946" y="736"/>
                  </a:lnTo>
                  <a:lnTo>
                    <a:pt x="946" y="734"/>
                  </a:lnTo>
                  <a:lnTo>
                    <a:pt x="946" y="734"/>
                  </a:lnTo>
                  <a:lnTo>
                    <a:pt x="946" y="734"/>
                  </a:lnTo>
                  <a:lnTo>
                    <a:pt x="946" y="734"/>
                  </a:lnTo>
                  <a:lnTo>
                    <a:pt x="946" y="734"/>
                  </a:lnTo>
                  <a:lnTo>
                    <a:pt x="946" y="734"/>
                  </a:lnTo>
                  <a:lnTo>
                    <a:pt x="946" y="734"/>
                  </a:lnTo>
                  <a:lnTo>
                    <a:pt x="946" y="732"/>
                  </a:lnTo>
                  <a:lnTo>
                    <a:pt x="946" y="732"/>
                  </a:lnTo>
                  <a:lnTo>
                    <a:pt x="946" y="732"/>
                  </a:lnTo>
                  <a:lnTo>
                    <a:pt x="942" y="734"/>
                  </a:lnTo>
                  <a:lnTo>
                    <a:pt x="940" y="734"/>
                  </a:lnTo>
                  <a:lnTo>
                    <a:pt x="940" y="732"/>
                  </a:lnTo>
                  <a:lnTo>
                    <a:pt x="940" y="732"/>
                  </a:lnTo>
                  <a:lnTo>
                    <a:pt x="942" y="732"/>
                  </a:lnTo>
                  <a:lnTo>
                    <a:pt x="942" y="732"/>
                  </a:lnTo>
                  <a:lnTo>
                    <a:pt x="942" y="732"/>
                  </a:lnTo>
                  <a:lnTo>
                    <a:pt x="946" y="728"/>
                  </a:lnTo>
                  <a:lnTo>
                    <a:pt x="948" y="725"/>
                  </a:lnTo>
                  <a:lnTo>
                    <a:pt x="948" y="725"/>
                  </a:lnTo>
                  <a:lnTo>
                    <a:pt x="950" y="725"/>
                  </a:lnTo>
                  <a:lnTo>
                    <a:pt x="950" y="725"/>
                  </a:lnTo>
                  <a:lnTo>
                    <a:pt x="950" y="725"/>
                  </a:lnTo>
                  <a:lnTo>
                    <a:pt x="950" y="723"/>
                  </a:lnTo>
                  <a:lnTo>
                    <a:pt x="950" y="723"/>
                  </a:lnTo>
                  <a:lnTo>
                    <a:pt x="952" y="723"/>
                  </a:lnTo>
                  <a:lnTo>
                    <a:pt x="952" y="725"/>
                  </a:lnTo>
                  <a:lnTo>
                    <a:pt x="954" y="725"/>
                  </a:lnTo>
                  <a:lnTo>
                    <a:pt x="956" y="725"/>
                  </a:lnTo>
                  <a:lnTo>
                    <a:pt x="956" y="725"/>
                  </a:lnTo>
                  <a:lnTo>
                    <a:pt x="954" y="723"/>
                  </a:lnTo>
                  <a:lnTo>
                    <a:pt x="954" y="723"/>
                  </a:lnTo>
                  <a:lnTo>
                    <a:pt x="954" y="721"/>
                  </a:lnTo>
                  <a:lnTo>
                    <a:pt x="954" y="721"/>
                  </a:lnTo>
                  <a:lnTo>
                    <a:pt x="954" y="721"/>
                  </a:lnTo>
                  <a:lnTo>
                    <a:pt x="954" y="721"/>
                  </a:lnTo>
                  <a:lnTo>
                    <a:pt x="954" y="721"/>
                  </a:lnTo>
                  <a:lnTo>
                    <a:pt x="956" y="721"/>
                  </a:lnTo>
                  <a:lnTo>
                    <a:pt x="956" y="721"/>
                  </a:lnTo>
                  <a:lnTo>
                    <a:pt x="956" y="719"/>
                  </a:lnTo>
                  <a:lnTo>
                    <a:pt x="956" y="719"/>
                  </a:lnTo>
                  <a:lnTo>
                    <a:pt x="956" y="719"/>
                  </a:lnTo>
                  <a:lnTo>
                    <a:pt x="956" y="719"/>
                  </a:lnTo>
                  <a:lnTo>
                    <a:pt x="959" y="721"/>
                  </a:lnTo>
                  <a:lnTo>
                    <a:pt x="959" y="721"/>
                  </a:lnTo>
                  <a:lnTo>
                    <a:pt x="959" y="719"/>
                  </a:lnTo>
                  <a:lnTo>
                    <a:pt x="959" y="719"/>
                  </a:lnTo>
                  <a:lnTo>
                    <a:pt x="961" y="719"/>
                  </a:lnTo>
                  <a:lnTo>
                    <a:pt x="961" y="719"/>
                  </a:lnTo>
                  <a:lnTo>
                    <a:pt x="961" y="719"/>
                  </a:lnTo>
                  <a:lnTo>
                    <a:pt x="961" y="719"/>
                  </a:lnTo>
                  <a:lnTo>
                    <a:pt x="963" y="719"/>
                  </a:lnTo>
                  <a:lnTo>
                    <a:pt x="963" y="719"/>
                  </a:lnTo>
                  <a:lnTo>
                    <a:pt x="963" y="719"/>
                  </a:lnTo>
                  <a:lnTo>
                    <a:pt x="963" y="721"/>
                  </a:lnTo>
                  <a:lnTo>
                    <a:pt x="963" y="721"/>
                  </a:lnTo>
                  <a:lnTo>
                    <a:pt x="965" y="719"/>
                  </a:lnTo>
                  <a:lnTo>
                    <a:pt x="965" y="719"/>
                  </a:lnTo>
                  <a:lnTo>
                    <a:pt x="965" y="719"/>
                  </a:lnTo>
                  <a:lnTo>
                    <a:pt x="965" y="717"/>
                  </a:lnTo>
                  <a:lnTo>
                    <a:pt x="965" y="717"/>
                  </a:lnTo>
                  <a:lnTo>
                    <a:pt x="965" y="717"/>
                  </a:lnTo>
                  <a:lnTo>
                    <a:pt x="965" y="717"/>
                  </a:lnTo>
                  <a:lnTo>
                    <a:pt x="965" y="717"/>
                  </a:lnTo>
                  <a:lnTo>
                    <a:pt x="965" y="717"/>
                  </a:lnTo>
                  <a:lnTo>
                    <a:pt x="963" y="715"/>
                  </a:lnTo>
                  <a:lnTo>
                    <a:pt x="963" y="715"/>
                  </a:lnTo>
                  <a:lnTo>
                    <a:pt x="963" y="715"/>
                  </a:lnTo>
                  <a:lnTo>
                    <a:pt x="965" y="715"/>
                  </a:lnTo>
                  <a:lnTo>
                    <a:pt x="967" y="715"/>
                  </a:lnTo>
                  <a:lnTo>
                    <a:pt x="969" y="713"/>
                  </a:lnTo>
                  <a:lnTo>
                    <a:pt x="969" y="713"/>
                  </a:lnTo>
                  <a:lnTo>
                    <a:pt x="967" y="711"/>
                  </a:lnTo>
                  <a:lnTo>
                    <a:pt x="967" y="711"/>
                  </a:lnTo>
                  <a:lnTo>
                    <a:pt x="967" y="711"/>
                  </a:lnTo>
                  <a:lnTo>
                    <a:pt x="967" y="709"/>
                  </a:lnTo>
                  <a:lnTo>
                    <a:pt x="967" y="709"/>
                  </a:lnTo>
                  <a:lnTo>
                    <a:pt x="969" y="707"/>
                  </a:lnTo>
                  <a:lnTo>
                    <a:pt x="969" y="707"/>
                  </a:lnTo>
                  <a:lnTo>
                    <a:pt x="969" y="707"/>
                  </a:lnTo>
                  <a:lnTo>
                    <a:pt x="971" y="709"/>
                  </a:lnTo>
                  <a:lnTo>
                    <a:pt x="971" y="709"/>
                  </a:lnTo>
                  <a:lnTo>
                    <a:pt x="971" y="709"/>
                  </a:lnTo>
                  <a:lnTo>
                    <a:pt x="973" y="711"/>
                  </a:lnTo>
                  <a:lnTo>
                    <a:pt x="973" y="711"/>
                  </a:lnTo>
                  <a:lnTo>
                    <a:pt x="973" y="711"/>
                  </a:lnTo>
                  <a:lnTo>
                    <a:pt x="975" y="711"/>
                  </a:lnTo>
                  <a:lnTo>
                    <a:pt x="975" y="711"/>
                  </a:lnTo>
                  <a:lnTo>
                    <a:pt x="975" y="711"/>
                  </a:lnTo>
                  <a:lnTo>
                    <a:pt x="975" y="711"/>
                  </a:lnTo>
                  <a:lnTo>
                    <a:pt x="977" y="711"/>
                  </a:lnTo>
                  <a:lnTo>
                    <a:pt x="977" y="709"/>
                  </a:lnTo>
                  <a:lnTo>
                    <a:pt x="977" y="709"/>
                  </a:lnTo>
                  <a:lnTo>
                    <a:pt x="975" y="707"/>
                  </a:lnTo>
                  <a:lnTo>
                    <a:pt x="975" y="707"/>
                  </a:lnTo>
                  <a:lnTo>
                    <a:pt x="975" y="707"/>
                  </a:lnTo>
                  <a:lnTo>
                    <a:pt x="975" y="707"/>
                  </a:lnTo>
                  <a:lnTo>
                    <a:pt x="977" y="707"/>
                  </a:lnTo>
                  <a:lnTo>
                    <a:pt x="975" y="707"/>
                  </a:lnTo>
                  <a:lnTo>
                    <a:pt x="975" y="705"/>
                  </a:lnTo>
                  <a:lnTo>
                    <a:pt x="975" y="705"/>
                  </a:lnTo>
                  <a:lnTo>
                    <a:pt x="977" y="705"/>
                  </a:lnTo>
                  <a:lnTo>
                    <a:pt x="977" y="705"/>
                  </a:lnTo>
                  <a:lnTo>
                    <a:pt x="979" y="705"/>
                  </a:lnTo>
                  <a:lnTo>
                    <a:pt x="979" y="705"/>
                  </a:lnTo>
                  <a:lnTo>
                    <a:pt x="979" y="705"/>
                  </a:lnTo>
                  <a:lnTo>
                    <a:pt x="979" y="705"/>
                  </a:lnTo>
                  <a:lnTo>
                    <a:pt x="977" y="703"/>
                  </a:lnTo>
                  <a:lnTo>
                    <a:pt x="981" y="703"/>
                  </a:lnTo>
                  <a:lnTo>
                    <a:pt x="983" y="703"/>
                  </a:lnTo>
                  <a:lnTo>
                    <a:pt x="983" y="703"/>
                  </a:lnTo>
                  <a:lnTo>
                    <a:pt x="983" y="701"/>
                  </a:lnTo>
                  <a:lnTo>
                    <a:pt x="981" y="699"/>
                  </a:lnTo>
                  <a:lnTo>
                    <a:pt x="983" y="699"/>
                  </a:lnTo>
                  <a:lnTo>
                    <a:pt x="983" y="699"/>
                  </a:lnTo>
                  <a:lnTo>
                    <a:pt x="983" y="699"/>
                  </a:lnTo>
                  <a:lnTo>
                    <a:pt x="983" y="697"/>
                  </a:lnTo>
                  <a:lnTo>
                    <a:pt x="983" y="697"/>
                  </a:lnTo>
                  <a:lnTo>
                    <a:pt x="985" y="697"/>
                  </a:lnTo>
                  <a:lnTo>
                    <a:pt x="985" y="695"/>
                  </a:lnTo>
                  <a:lnTo>
                    <a:pt x="987" y="695"/>
                  </a:lnTo>
                  <a:lnTo>
                    <a:pt x="989" y="697"/>
                  </a:lnTo>
                  <a:lnTo>
                    <a:pt x="989" y="697"/>
                  </a:lnTo>
                  <a:lnTo>
                    <a:pt x="991" y="697"/>
                  </a:lnTo>
                  <a:lnTo>
                    <a:pt x="991" y="697"/>
                  </a:lnTo>
                  <a:lnTo>
                    <a:pt x="991" y="697"/>
                  </a:lnTo>
                  <a:lnTo>
                    <a:pt x="991" y="697"/>
                  </a:lnTo>
                  <a:lnTo>
                    <a:pt x="991" y="697"/>
                  </a:lnTo>
                  <a:lnTo>
                    <a:pt x="991" y="697"/>
                  </a:lnTo>
                  <a:lnTo>
                    <a:pt x="991" y="695"/>
                  </a:lnTo>
                  <a:lnTo>
                    <a:pt x="991" y="695"/>
                  </a:lnTo>
                  <a:lnTo>
                    <a:pt x="993" y="695"/>
                  </a:lnTo>
                  <a:lnTo>
                    <a:pt x="993" y="695"/>
                  </a:lnTo>
                  <a:lnTo>
                    <a:pt x="993" y="693"/>
                  </a:lnTo>
                  <a:lnTo>
                    <a:pt x="995" y="695"/>
                  </a:lnTo>
                  <a:lnTo>
                    <a:pt x="995" y="695"/>
                  </a:lnTo>
                  <a:lnTo>
                    <a:pt x="995" y="695"/>
                  </a:lnTo>
                  <a:lnTo>
                    <a:pt x="995" y="695"/>
                  </a:lnTo>
                  <a:lnTo>
                    <a:pt x="995" y="695"/>
                  </a:lnTo>
                  <a:lnTo>
                    <a:pt x="995" y="697"/>
                  </a:lnTo>
                  <a:lnTo>
                    <a:pt x="997" y="695"/>
                  </a:lnTo>
                  <a:lnTo>
                    <a:pt x="997" y="695"/>
                  </a:lnTo>
                  <a:lnTo>
                    <a:pt x="997" y="693"/>
                  </a:lnTo>
                  <a:lnTo>
                    <a:pt x="997" y="693"/>
                  </a:lnTo>
                  <a:lnTo>
                    <a:pt x="997" y="693"/>
                  </a:lnTo>
                  <a:lnTo>
                    <a:pt x="995" y="691"/>
                  </a:lnTo>
                  <a:lnTo>
                    <a:pt x="995" y="691"/>
                  </a:lnTo>
                  <a:lnTo>
                    <a:pt x="997" y="691"/>
                  </a:lnTo>
                  <a:lnTo>
                    <a:pt x="999" y="693"/>
                  </a:lnTo>
                  <a:lnTo>
                    <a:pt x="999" y="693"/>
                  </a:lnTo>
                  <a:lnTo>
                    <a:pt x="999" y="691"/>
                  </a:lnTo>
                  <a:lnTo>
                    <a:pt x="999" y="691"/>
                  </a:lnTo>
                  <a:lnTo>
                    <a:pt x="999" y="687"/>
                  </a:lnTo>
                  <a:lnTo>
                    <a:pt x="999" y="687"/>
                  </a:lnTo>
                  <a:lnTo>
                    <a:pt x="999" y="689"/>
                  </a:lnTo>
                  <a:lnTo>
                    <a:pt x="999" y="689"/>
                  </a:lnTo>
                  <a:lnTo>
                    <a:pt x="999" y="689"/>
                  </a:lnTo>
                  <a:lnTo>
                    <a:pt x="999" y="689"/>
                  </a:lnTo>
                  <a:lnTo>
                    <a:pt x="999" y="689"/>
                  </a:lnTo>
                  <a:lnTo>
                    <a:pt x="999" y="691"/>
                  </a:lnTo>
                  <a:lnTo>
                    <a:pt x="1002" y="691"/>
                  </a:lnTo>
                  <a:lnTo>
                    <a:pt x="1002" y="691"/>
                  </a:lnTo>
                  <a:lnTo>
                    <a:pt x="1002" y="691"/>
                  </a:lnTo>
                  <a:lnTo>
                    <a:pt x="1002" y="693"/>
                  </a:lnTo>
                  <a:lnTo>
                    <a:pt x="1004" y="693"/>
                  </a:lnTo>
                  <a:lnTo>
                    <a:pt x="1004" y="693"/>
                  </a:lnTo>
                  <a:lnTo>
                    <a:pt x="1004" y="693"/>
                  </a:lnTo>
                  <a:lnTo>
                    <a:pt x="1004" y="691"/>
                  </a:lnTo>
                  <a:lnTo>
                    <a:pt x="1004" y="691"/>
                  </a:lnTo>
                  <a:lnTo>
                    <a:pt x="1004" y="691"/>
                  </a:lnTo>
                  <a:lnTo>
                    <a:pt x="1004" y="689"/>
                  </a:lnTo>
                  <a:lnTo>
                    <a:pt x="1006" y="691"/>
                  </a:lnTo>
                  <a:lnTo>
                    <a:pt x="1006" y="691"/>
                  </a:lnTo>
                  <a:lnTo>
                    <a:pt x="1006" y="691"/>
                  </a:lnTo>
                  <a:lnTo>
                    <a:pt x="1006" y="689"/>
                  </a:lnTo>
                  <a:lnTo>
                    <a:pt x="1004" y="689"/>
                  </a:lnTo>
                  <a:lnTo>
                    <a:pt x="1004" y="687"/>
                  </a:lnTo>
                  <a:lnTo>
                    <a:pt x="1004" y="687"/>
                  </a:lnTo>
                  <a:lnTo>
                    <a:pt x="1006" y="687"/>
                  </a:lnTo>
                  <a:lnTo>
                    <a:pt x="1006" y="687"/>
                  </a:lnTo>
                  <a:lnTo>
                    <a:pt x="1006" y="687"/>
                  </a:lnTo>
                  <a:lnTo>
                    <a:pt x="1008" y="687"/>
                  </a:lnTo>
                  <a:lnTo>
                    <a:pt x="1008" y="687"/>
                  </a:lnTo>
                  <a:lnTo>
                    <a:pt x="1008" y="684"/>
                  </a:lnTo>
                  <a:lnTo>
                    <a:pt x="1008" y="684"/>
                  </a:lnTo>
                  <a:lnTo>
                    <a:pt x="1006" y="684"/>
                  </a:lnTo>
                  <a:lnTo>
                    <a:pt x="1008" y="684"/>
                  </a:lnTo>
                  <a:lnTo>
                    <a:pt x="1008" y="682"/>
                  </a:lnTo>
                  <a:lnTo>
                    <a:pt x="1010" y="682"/>
                  </a:lnTo>
                  <a:lnTo>
                    <a:pt x="1008" y="680"/>
                  </a:lnTo>
                  <a:lnTo>
                    <a:pt x="1008" y="680"/>
                  </a:lnTo>
                  <a:lnTo>
                    <a:pt x="1008" y="680"/>
                  </a:lnTo>
                  <a:lnTo>
                    <a:pt x="1008" y="680"/>
                  </a:lnTo>
                  <a:lnTo>
                    <a:pt x="1008" y="680"/>
                  </a:lnTo>
                  <a:lnTo>
                    <a:pt x="1008" y="680"/>
                  </a:lnTo>
                  <a:lnTo>
                    <a:pt x="1008" y="682"/>
                  </a:lnTo>
                  <a:lnTo>
                    <a:pt x="1008" y="682"/>
                  </a:lnTo>
                  <a:lnTo>
                    <a:pt x="1006" y="682"/>
                  </a:lnTo>
                  <a:lnTo>
                    <a:pt x="1006" y="682"/>
                  </a:lnTo>
                  <a:lnTo>
                    <a:pt x="1006" y="682"/>
                  </a:lnTo>
                  <a:lnTo>
                    <a:pt x="1006" y="682"/>
                  </a:lnTo>
                  <a:lnTo>
                    <a:pt x="1004" y="682"/>
                  </a:lnTo>
                  <a:lnTo>
                    <a:pt x="1004" y="682"/>
                  </a:lnTo>
                  <a:lnTo>
                    <a:pt x="1004" y="684"/>
                  </a:lnTo>
                  <a:lnTo>
                    <a:pt x="1004" y="684"/>
                  </a:lnTo>
                  <a:lnTo>
                    <a:pt x="1004" y="684"/>
                  </a:lnTo>
                  <a:lnTo>
                    <a:pt x="1002" y="684"/>
                  </a:lnTo>
                  <a:lnTo>
                    <a:pt x="1004" y="684"/>
                  </a:lnTo>
                  <a:lnTo>
                    <a:pt x="1004" y="682"/>
                  </a:lnTo>
                  <a:lnTo>
                    <a:pt x="1004" y="682"/>
                  </a:lnTo>
                  <a:lnTo>
                    <a:pt x="1002" y="682"/>
                  </a:lnTo>
                  <a:lnTo>
                    <a:pt x="1004" y="682"/>
                  </a:lnTo>
                  <a:lnTo>
                    <a:pt x="1004" y="680"/>
                  </a:lnTo>
                  <a:lnTo>
                    <a:pt x="1004" y="680"/>
                  </a:lnTo>
                  <a:lnTo>
                    <a:pt x="1006" y="680"/>
                  </a:lnTo>
                  <a:lnTo>
                    <a:pt x="1006" y="680"/>
                  </a:lnTo>
                  <a:lnTo>
                    <a:pt x="1008" y="680"/>
                  </a:lnTo>
                  <a:lnTo>
                    <a:pt x="1008" y="680"/>
                  </a:lnTo>
                  <a:lnTo>
                    <a:pt x="1008" y="678"/>
                  </a:lnTo>
                  <a:lnTo>
                    <a:pt x="1008" y="678"/>
                  </a:lnTo>
                  <a:lnTo>
                    <a:pt x="1008" y="678"/>
                  </a:lnTo>
                  <a:lnTo>
                    <a:pt x="1010" y="678"/>
                  </a:lnTo>
                  <a:lnTo>
                    <a:pt x="1010" y="678"/>
                  </a:lnTo>
                  <a:lnTo>
                    <a:pt x="1012" y="678"/>
                  </a:lnTo>
                  <a:lnTo>
                    <a:pt x="1012" y="678"/>
                  </a:lnTo>
                  <a:lnTo>
                    <a:pt x="1012" y="678"/>
                  </a:lnTo>
                  <a:lnTo>
                    <a:pt x="1012" y="676"/>
                  </a:lnTo>
                  <a:lnTo>
                    <a:pt x="1012" y="676"/>
                  </a:lnTo>
                  <a:lnTo>
                    <a:pt x="1012" y="676"/>
                  </a:lnTo>
                  <a:lnTo>
                    <a:pt x="1010" y="676"/>
                  </a:lnTo>
                  <a:lnTo>
                    <a:pt x="1010" y="676"/>
                  </a:lnTo>
                  <a:lnTo>
                    <a:pt x="1010" y="676"/>
                  </a:lnTo>
                  <a:lnTo>
                    <a:pt x="1010" y="676"/>
                  </a:lnTo>
                  <a:lnTo>
                    <a:pt x="1010" y="676"/>
                  </a:lnTo>
                  <a:lnTo>
                    <a:pt x="1010" y="674"/>
                  </a:lnTo>
                  <a:lnTo>
                    <a:pt x="1010" y="672"/>
                  </a:lnTo>
                  <a:lnTo>
                    <a:pt x="1010" y="672"/>
                  </a:lnTo>
                  <a:lnTo>
                    <a:pt x="1010" y="672"/>
                  </a:lnTo>
                  <a:lnTo>
                    <a:pt x="1012" y="672"/>
                  </a:lnTo>
                  <a:lnTo>
                    <a:pt x="1012" y="672"/>
                  </a:lnTo>
                  <a:lnTo>
                    <a:pt x="1014" y="672"/>
                  </a:lnTo>
                  <a:lnTo>
                    <a:pt x="1014" y="672"/>
                  </a:lnTo>
                  <a:lnTo>
                    <a:pt x="1014" y="672"/>
                  </a:lnTo>
                  <a:lnTo>
                    <a:pt x="1014" y="670"/>
                  </a:lnTo>
                  <a:lnTo>
                    <a:pt x="1014" y="670"/>
                  </a:lnTo>
                  <a:lnTo>
                    <a:pt x="1014" y="670"/>
                  </a:lnTo>
                  <a:lnTo>
                    <a:pt x="1014" y="670"/>
                  </a:lnTo>
                  <a:lnTo>
                    <a:pt x="1014" y="670"/>
                  </a:lnTo>
                  <a:lnTo>
                    <a:pt x="1014" y="670"/>
                  </a:lnTo>
                  <a:lnTo>
                    <a:pt x="1014" y="670"/>
                  </a:lnTo>
                  <a:lnTo>
                    <a:pt x="1014" y="670"/>
                  </a:lnTo>
                  <a:lnTo>
                    <a:pt x="1014" y="670"/>
                  </a:lnTo>
                  <a:lnTo>
                    <a:pt x="1014" y="670"/>
                  </a:lnTo>
                  <a:lnTo>
                    <a:pt x="1014" y="670"/>
                  </a:lnTo>
                  <a:lnTo>
                    <a:pt x="1014" y="670"/>
                  </a:lnTo>
                  <a:lnTo>
                    <a:pt x="1014" y="668"/>
                  </a:lnTo>
                  <a:lnTo>
                    <a:pt x="1014" y="668"/>
                  </a:lnTo>
                  <a:lnTo>
                    <a:pt x="1016" y="668"/>
                  </a:lnTo>
                  <a:lnTo>
                    <a:pt x="1016" y="666"/>
                  </a:lnTo>
                  <a:lnTo>
                    <a:pt x="1016" y="666"/>
                  </a:lnTo>
                  <a:lnTo>
                    <a:pt x="1014" y="666"/>
                  </a:lnTo>
                  <a:lnTo>
                    <a:pt x="1014" y="666"/>
                  </a:lnTo>
                  <a:lnTo>
                    <a:pt x="1016" y="666"/>
                  </a:lnTo>
                  <a:lnTo>
                    <a:pt x="1016" y="666"/>
                  </a:lnTo>
                  <a:lnTo>
                    <a:pt x="1018" y="666"/>
                  </a:lnTo>
                  <a:lnTo>
                    <a:pt x="1020" y="664"/>
                  </a:lnTo>
                  <a:lnTo>
                    <a:pt x="1022" y="664"/>
                  </a:lnTo>
                  <a:lnTo>
                    <a:pt x="1022" y="664"/>
                  </a:lnTo>
                  <a:lnTo>
                    <a:pt x="1024" y="664"/>
                  </a:lnTo>
                  <a:lnTo>
                    <a:pt x="1024" y="662"/>
                  </a:lnTo>
                  <a:lnTo>
                    <a:pt x="1024" y="662"/>
                  </a:lnTo>
                  <a:lnTo>
                    <a:pt x="1024" y="662"/>
                  </a:lnTo>
                  <a:lnTo>
                    <a:pt x="1026" y="662"/>
                  </a:lnTo>
                  <a:lnTo>
                    <a:pt x="1028" y="660"/>
                  </a:lnTo>
                  <a:lnTo>
                    <a:pt x="1028" y="658"/>
                  </a:lnTo>
                  <a:lnTo>
                    <a:pt x="1028" y="658"/>
                  </a:lnTo>
                  <a:lnTo>
                    <a:pt x="1028" y="656"/>
                  </a:lnTo>
                  <a:lnTo>
                    <a:pt x="1028" y="654"/>
                  </a:lnTo>
                  <a:lnTo>
                    <a:pt x="1030" y="654"/>
                  </a:lnTo>
                  <a:lnTo>
                    <a:pt x="1030" y="654"/>
                  </a:lnTo>
                  <a:lnTo>
                    <a:pt x="1032" y="654"/>
                  </a:lnTo>
                  <a:lnTo>
                    <a:pt x="1032" y="652"/>
                  </a:lnTo>
                  <a:lnTo>
                    <a:pt x="1032" y="652"/>
                  </a:lnTo>
                  <a:lnTo>
                    <a:pt x="1032" y="652"/>
                  </a:lnTo>
                  <a:lnTo>
                    <a:pt x="1030" y="652"/>
                  </a:lnTo>
                  <a:lnTo>
                    <a:pt x="1030" y="652"/>
                  </a:lnTo>
                  <a:lnTo>
                    <a:pt x="1030" y="652"/>
                  </a:lnTo>
                  <a:lnTo>
                    <a:pt x="1030" y="652"/>
                  </a:lnTo>
                  <a:lnTo>
                    <a:pt x="1032" y="652"/>
                  </a:lnTo>
                  <a:lnTo>
                    <a:pt x="1032" y="652"/>
                  </a:lnTo>
                  <a:lnTo>
                    <a:pt x="1030" y="652"/>
                  </a:lnTo>
                  <a:lnTo>
                    <a:pt x="1030" y="652"/>
                  </a:lnTo>
                  <a:lnTo>
                    <a:pt x="1030" y="650"/>
                  </a:lnTo>
                  <a:lnTo>
                    <a:pt x="1030" y="650"/>
                  </a:lnTo>
                  <a:lnTo>
                    <a:pt x="1030" y="650"/>
                  </a:lnTo>
                  <a:lnTo>
                    <a:pt x="1030" y="650"/>
                  </a:lnTo>
                  <a:lnTo>
                    <a:pt x="1030" y="648"/>
                  </a:lnTo>
                  <a:lnTo>
                    <a:pt x="1030" y="648"/>
                  </a:lnTo>
                  <a:lnTo>
                    <a:pt x="1028" y="648"/>
                  </a:lnTo>
                  <a:lnTo>
                    <a:pt x="1028" y="646"/>
                  </a:lnTo>
                  <a:lnTo>
                    <a:pt x="1028" y="646"/>
                  </a:lnTo>
                  <a:lnTo>
                    <a:pt x="1026" y="646"/>
                  </a:lnTo>
                  <a:lnTo>
                    <a:pt x="1026" y="646"/>
                  </a:lnTo>
                  <a:lnTo>
                    <a:pt x="1026" y="646"/>
                  </a:lnTo>
                  <a:lnTo>
                    <a:pt x="1026" y="646"/>
                  </a:lnTo>
                  <a:lnTo>
                    <a:pt x="1026" y="646"/>
                  </a:lnTo>
                  <a:lnTo>
                    <a:pt x="1024" y="646"/>
                  </a:lnTo>
                  <a:lnTo>
                    <a:pt x="1024" y="646"/>
                  </a:lnTo>
                  <a:lnTo>
                    <a:pt x="1024" y="646"/>
                  </a:lnTo>
                  <a:lnTo>
                    <a:pt x="1024" y="646"/>
                  </a:lnTo>
                  <a:lnTo>
                    <a:pt x="1022" y="646"/>
                  </a:lnTo>
                  <a:lnTo>
                    <a:pt x="1022" y="643"/>
                  </a:lnTo>
                  <a:lnTo>
                    <a:pt x="1022" y="643"/>
                  </a:lnTo>
                  <a:lnTo>
                    <a:pt x="1022" y="643"/>
                  </a:lnTo>
                  <a:lnTo>
                    <a:pt x="1020" y="641"/>
                  </a:lnTo>
                  <a:lnTo>
                    <a:pt x="1020" y="641"/>
                  </a:lnTo>
                  <a:lnTo>
                    <a:pt x="1018" y="641"/>
                  </a:lnTo>
                  <a:lnTo>
                    <a:pt x="1018" y="641"/>
                  </a:lnTo>
                  <a:lnTo>
                    <a:pt x="1016" y="641"/>
                  </a:lnTo>
                  <a:lnTo>
                    <a:pt x="1016" y="641"/>
                  </a:lnTo>
                  <a:lnTo>
                    <a:pt x="1012" y="641"/>
                  </a:lnTo>
                  <a:lnTo>
                    <a:pt x="1010" y="641"/>
                  </a:lnTo>
                  <a:lnTo>
                    <a:pt x="1010" y="641"/>
                  </a:lnTo>
                  <a:lnTo>
                    <a:pt x="1010" y="643"/>
                  </a:lnTo>
                  <a:lnTo>
                    <a:pt x="1008" y="643"/>
                  </a:lnTo>
                  <a:lnTo>
                    <a:pt x="1008" y="643"/>
                  </a:lnTo>
                  <a:lnTo>
                    <a:pt x="1008" y="643"/>
                  </a:lnTo>
                  <a:lnTo>
                    <a:pt x="1008" y="641"/>
                  </a:lnTo>
                  <a:lnTo>
                    <a:pt x="1008" y="641"/>
                  </a:lnTo>
                  <a:lnTo>
                    <a:pt x="1008" y="641"/>
                  </a:lnTo>
                  <a:lnTo>
                    <a:pt x="1008" y="639"/>
                  </a:lnTo>
                  <a:lnTo>
                    <a:pt x="1008" y="639"/>
                  </a:lnTo>
                  <a:lnTo>
                    <a:pt x="1008" y="639"/>
                  </a:lnTo>
                  <a:lnTo>
                    <a:pt x="1008" y="639"/>
                  </a:lnTo>
                  <a:lnTo>
                    <a:pt x="1008" y="639"/>
                  </a:lnTo>
                  <a:lnTo>
                    <a:pt x="1008" y="639"/>
                  </a:lnTo>
                  <a:lnTo>
                    <a:pt x="1008" y="637"/>
                  </a:lnTo>
                  <a:lnTo>
                    <a:pt x="1006" y="639"/>
                  </a:lnTo>
                  <a:lnTo>
                    <a:pt x="1006" y="639"/>
                  </a:lnTo>
                  <a:lnTo>
                    <a:pt x="1006" y="637"/>
                  </a:lnTo>
                  <a:lnTo>
                    <a:pt x="1006" y="637"/>
                  </a:lnTo>
                  <a:lnTo>
                    <a:pt x="1006" y="637"/>
                  </a:lnTo>
                  <a:lnTo>
                    <a:pt x="1006" y="637"/>
                  </a:lnTo>
                  <a:lnTo>
                    <a:pt x="1006" y="637"/>
                  </a:lnTo>
                  <a:lnTo>
                    <a:pt x="1006" y="637"/>
                  </a:lnTo>
                  <a:lnTo>
                    <a:pt x="1006" y="637"/>
                  </a:lnTo>
                  <a:lnTo>
                    <a:pt x="1006" y="637"/>
                  </a:lnTo>
                  <a:lnTo>
                    <a:pt x="1008" y="635"/>
                  </a:lnTo>
                  <a:lnTo>
                    <a:pt x="1008" y="635"/>
                  </a:lnTo>
                  <a:lnTo>
                    <a:pt x="1008" y="635"/>
                  </a:lnTo>
                  <a:lnTo>
                    <a:pt x="1008" y="635"/>
                  </a:lnTo>
                  <a:lnTo>
                    <a:pt x="1010" y="635"/>
                  </a:lnTo>
                  <a:lnTo>
                    <a:pt x="1010" y="633"/>
                  </a:lnTo>
                  <a:lnTo>
                    <a:pt x="1008" y="633"/>
                  </a:lnTo>
                  <a:lnTo>
                    <a:pt x="1008" y="633"/>
                  </a:lnTo>
                  <a:lnTo>
                    <a:pt x="1008" y="631"/>
                  </a:lnTo>
                  <a:lnTo>
                    <a:pt x="1008" y="631"/>
                  </a:lnTo>
                  <a:lnTo>
                    <a:pt x="1010" y="629"/>
                  </a:lnTo>
                  <a:lnTo>
                    <a:pt x="1010" y="629"/>
                  </a:lnTo>
                  <a:lnTo>
                    <a:pt x="1012" y="627"/>
                  </a:lnTo>
                  <a:lnTo>
                    <a:pt x="1014" y="627"/>
                  </a:lnTo>
                  <a:lnTo>
                    <a:pt x="1014" y="625"/>
                  </a:lnTo>
                  <a:lnTo>
                    <a:pt x="1014" y="627"/>
                  </a:lnTo>
                  <a:lnTo>
                    <a:pt x="1014" y="625"/>
                  </a:lnTo>
                  <a:lnTo>
                    <a:pt x="1012" y="625"/>
                  </a:lnTo>
                  <a:lnTo>
                    <a:pt x="1012" y="625"/>
                  </a:lnTo>
                  <a:lnTo>
                    <a:pt x="1012" y="627"/>
                  </a:lnTo>
                  <a:lnTo>
                    <a:pt x="1010" y="627"/>
                  </a:lnTo>
                  <a:lnTo>
                    <a:pt x="1010" y="627"/>
                  </a:lnTo>
                  <a:lnTo>
                    <a:pt x="1008" y="625"/>
                  </a:lnTo>
                  <a:lnTo>
                    <a:pt x="1010" y="625"/>
                  </a:lnTo>
                  <a:lnTo>
                    <a:pt x="1010" y="625"/>
                  </a:lnTo>
                  <a:lnTo>
                    <a:pt x="1010" y="625"/>
                  </a:lnTo>
                  <a:lnTo>
                    <a:pt x="1012" y="625"/>
                  </a:lnTo>
                  <a:lnTo>
                    <a:pt x="1012" y="625"/>
                  </a:lnTo>
                  <a:lnTo>
                    <a:pt x="1012" y="625"/>
                  </a:lnTo>
                  <a:lnTo>
                    <a:pt x="1012" y="625"/>
                  </a:lnTo>
                  <a:lnTo>
                    <a:pt x="1012" y="625"/>
                  </a:lnTo>
                  <a:lnTo>
                    <a:pt x="1014" y="625"/>
                  </a:lnTo>
                  <a:lnTo>
                    <a:pt x="1014" y="623"/>
                  </a:lnTo>
                  <a:lnTo>
                    <a:pt x="1014" y="623"/>
                  </a:lnTo>
                  <a:lnTo>
                    <a:pt x="1014" y="623"/>
                  </a:lnTo>
                  <a:lnTo>
                    <a:pt x="1016" y="623"/>
                  </a:lnTo>
                  <a:lnTo>
                    <a:pt x="1016" y="623"/>
                  </a:lnTo>
                  <a:lnTo>
                    <a:pt x="1018" y="623"/>
                  </a:lnTo>
                  <a:lnTo>
                    <a:pt x="1020" y="623"/>
                  </a:lnTo>
                  <a:lnTo>
                    <a:pt x="1020" y="621"/>
                  </a:lnTo>
                  <a:lnTo>
                    <a:pt x="1020" y="621"/>
                  </a:lnTo>
                  <a:lnTo>
                    <a:pt x="1020" y="621"/>
                  </a:lnTo>
                  <a:lnTo>
                    <a:pt x="1020" y="619"/>
                  </a:lnTo>
                  <a:lnTo>
                    <a:pt x="1018" y="617"/>
                  </a:lnTo>
                  <a:lnTo>
                    <a:pt x="1018" y="617"/>
                  </a:lnTo>
                  <a:lnTo>
                    <a:pt x="1016" y="617"/>
                  </a:lnTo>
                  <a:lnTo>
                    <a:pt x="1016" y="617"/>
                  </a:lnTo>
                  <a:lnTo>
                    <a:pt x="1016" y="617"/>
                  </a:lnTo>
                  <a:lnTo>
                    <a:pt x="1016" y="617"/>
                  </a:lnTo>
                  <a:lnTo>
                    <a:pt x="1018" y="617"/>
                  </a:lnTo>
                  <a:lnTo>
                    <a:pt x="1018" y="617"/>
                  </a:lnTo>
                  <a:lnTo>
                    <a:pt x="1022" y="617"/>
                  </a:lnTo>
                  <a:lnTo>
                    <a:pt x="1024" y="615"/>
                  </a:lnTo>
                  <a:lnTo>
                    <a:pt x="1024" y="615"/>
                  </a:lnTo>
                  <a:lnTo>
                    <a:pt x="1024" y="613"/>
                  </a:lnTo>
                  <a:lnTo>
                    <a:pt x="1024" y="613"/>
                  </a:lnTo>
                  <a:lnTo>
                    <a:pt x="1022" y="613"/>
                  </a:lnTo>
                  <a:lnTo>
                    <a:pt x="1022" y="613"/>
                  </a:lnTo>
                  <a:lnTo>
                    <a:pt x="1020" y="613"/>
                  </a:lnTo>
                  <a:lnTo>
                    <a:pt x="1020" y="611"/>
                  </a:lnTo>
                  <a:lnTo>
                    <a:pt x="1022" y="611"/>
                  </a:lnTo>
                  <a:lnTo>
                    <a:pt x="1022" y="611"/>
                  </a:lnTo>
                  <a:lnTo>
                    <a:pt x="1022" y="611"/>
                  </a:lnTo>
                  <a:lnTo>
                    <a:pt x="1022" y="609"/>
                  </a:lnTo>
                  <a:lnTo>
                    <a:pt x="1022" y="609"/>
                  </a:lnTo>
                  <a:lnTo>
                    <a:pt x="1022" y="609"/>
                  </a:lnTo>
                  <a:lnTo>
                    <a:pt x="1022" y="609"/>
                  </a:lnTo>
                  <a:lnTo>
                    <a:pt x="1022" y="609"/>
                  </a:lnTo>
                  <a:lnTo>
                    <a:pt x="1022" y="609"/>
                  </a:lnTo>
                  <a:lnTo>
                    <a:pt x="1022" y="609"/>
                  </a:lnTo>
                  <a:lnTo>
                    <a:pt x="1022" y="611"/>
                  </a:lnTo>
                  <a:lnTo>
                    <a:pt x="1024" y="611"/>
                  </a:lnTo>
                  <a:lnTo>
                    <a:pt x="1024" y="613"/>
                  </a:lnTo>
                  <a:lnTo>
                    <a:pt x="1024" y="613"/>
                  </a:lnTo>
                  <a:lnTo>
                    <a:pt x="1026" y="611"/>
                  </a:lnTo>
                  <a:lnTo>
                    <a:pt x="1026" y="611"/>
                  </a:lnTo>
                  <a:lnTo>
                    <a:pt x="1026" y="611"/>
                  </a:lnTo>
                  <a:lnTo>
                    <a:pt x="1026" y="611"/>
                  </a:lnTo>
                  <a:lnTo>
                    <a:pt x="1026" y="609"/>
                  </a:lnTo>
                  <a:lnTo>
                    <a:pt x="1026" y="607"/>
                  </a:lnTo>
                  <a:lnTo>
                    <a:pt x="1026" y="607"/>
                  </a:lnTo>
                  <a:lnTo>
                    <a:pt x="1026" y="605"/>
                  </a:lnTo>
                  <a:lnTo>
                    <a:pt x="1026" y="605"/>
                  </a:lnTo>
                  <a:lnTo>
                    <a:pt x="1026" y="605"/>
                  </a:lnTo>
                  <a:lnTo>
                    <a:pt x="1028" y="607"/>
                  </a:lnTo>
                  <a:lnTo>
                    <a:pt x="1030" y="607"/>
                  </a:lnTo>
                  <a:lnTo>
                    <a:pt x="1030" y="609"/>
                  </a:lnTo>
                  <a:lnTo>
                    <a:pt x="1030" y="607"/>
                  </a:lnTo>
                  <a:lnTo>
                    <a:pt x="1028" y="607"/>
                  </a:lnTo>
                  <a:lnTo>
                    <a:pt x="1028" y="611"/>
                  </a:lnTo>
                  <a:lnTo>
                    <a:pt x="1028" y="611"/>
                  </a:lnTo>
                  <a:lnTo>
                    <a:pt x="1028" y="611"/>
                  </a:lnTo>
                  <a:lnTo>
                    <a:pt x="1028" y="611"/>
                  </a:lnTo>
                  <a:lnTo>
                    <a:pt x="1028" y="611"/>
                  </a:lnTo>
                  <a:lnTo>
                    <a:pt x="1028" y="611"/>
                  </a:lnTo>
                  <a:lnTo>
                    <a:pt x="1030" y="613"/>
                  </a:lnTo>
                  <a:lnTo>
                    <a:pt x="1030" y="613"/>
                  </a:lnTo>
                  <a:lnTo>
                    <a:pt x="1030" y="613"/>
                  </a:lnTo>
                  <a:lnTo>
                    <a:pt x="1030" y="611"/>
                  </a:lnTo>
                  <a:lnTo>
                    <a:pt x="1030" y="611"/>
                  </a:lnTo>
                  <a:lnTo>
                    <a:pt x="1030" y="611"/>
                  </a:lnTo>
                  <a:lnTo>
                    <a:pt x="1030" y="611"/>
                  </a:lnTo>
                  <a:lnTo>
                    <a:pt x="1030" y="611"/>
                  </a:lnTo>
                  <a:lnTo>
                    <a:pt x="1030" y="609"/>
                  </a:lnTo>
                  <a:lnTo>
                    <a:pt x="1030" y="609"/>
                  </a:lnTo>
                  <a:lnTo>
                    <a:pt x="1032" y="611"/>
                  </a:lnTo>
                  <a:lnTo>
                    <a:pt x="1032" y="611"/>
                  </a:lnTo>
                  <a:lnTo>
                    <a:pt x="1032" y="611"/>
                  </a:lnTo>
                  <a:lnTo>
                    <a:pt x="1032" y="611"/>
                  </a:lnTo>
                  <a:lnTo>
                    <a:pt x="1034" y="611"/>
                  </a:lnTo>
                  <a:lnTo>
                    <a:pt x="1034" y="611"/>
                  </a:lnTo>
                  <a:lnTo>
                    <a:pt x="1034" y="611"/>
                  </a:lnTo>
                  <a:lnTo>
                    <a:pt x="1034" y="609"/>
                  </a:lnTo>
                  <a:lnTo>
                    <a:pt x="1036" y="609"/>
                  </a:lnTo>
                  <a:lnTo>
                    <a:pt x="1036" y="609"/>
                  </a:lnTo>
                  <a:lnTo>
                    <a:pt x="1038" y="607"/>
                  </a:lnTo>
                  <a:lnTo>
                    <a:pt x="1038" y="605"/>
                  </a:lnTo>
                  <a:lnTo>
                    <a:pt x="1038" y="605"/>
                  </a:lnTo>
                  <a:lnTo>
                    <a:pt x="1038" y="605"/>
                  </a:lnTo>
                  <a:lnTo>
                    <a:pt x="1038" y="603"/>
                  </a:lnTo>
                  <a:lnTo>
                    <a:pt x="1038" y="603"/>
                  </a:lnTo>
                  <a:lnTo>
                    <a:pt x="1038" y="603"/>
                  </a:lnTo>
                  <a:lnTo>
                    <a:pt x="1038" y="603"/>
                  </a:lnTo>
                  <a:lnTo>
                    <a:pt x="1036" y="603"/>
                  </a:lnTo>
                  <a:lnTo>
                    <a:pt x="1034" y="603"/>
                  </a:lnTo>
                  <a:lnTo>
                    <a:pt x="1034" y="603"/>
                  </a:lnTo>
                  <a:lnTo>
                    <a:pt x="1034" y="603"/>
                  </a:lnTo>
                  <a:lnTo>
                    <a:pt x="1034" y="603"/>
                  </a:lnTo>
                  <a:lnTo>
                    <a:pt x="1032" y="603"/>
                  </a:lnTo>
                  <a:lnTo>
                    <a:pt x="1032" y="603"/>
                  </a:lnTo>
                  <a:lnTo>
                    <a:pt x="1030" y="603"/>
                  </a:lnTo>
                  <a:lnTo>
                    <a:pt x="1030" y="603"/>
                  </a:lnTo>
                  <a:lnTo>
                    <a:pt x="1032" y="600"/>
                  </a:lnTo>
                  <a:lnTo>
                    <a:pt x="1032" y="600"/>
                  </a:lnTo>
                  <a:lnTo>
                    <a:pt x="1032" y="600"/>
                  </a:lnTo>
                  <a:lnTo>
                    <a:pt x="1036" y="598"/>
                  </a:lnTo>
                  <a:lnTo>
                    <a:pt x="1036" y="598"/>
                  </a:lnTo>
                  <a:lnTo>
                    <a:pt x="1038" y="598"/>
                  </a:lnTo>
                  <a:lnTo>
                    <a:pt x="1040" y="598"/>
                  </a:lnTo>
                  <a:lnTo>
                    <a:pt x="1040" y="598"/>
                  </a:lnTo>
                  <a:lnTo>
                    <a:pt x="1040" y="598"/>
                  </a:lnTo>
                  <a:lnTo>
                    <a:pt x="1043" y="598"/>
                  </a:lnTo>
                  <a:lnTo>
                    <a:pt x="1043" y="598"/>
                  </a:lnTo>
                  <a:lnTo>
                    <a:pt x="1043" y="598"/>
                  </a:lnTo>
                  <a:lnTo>
                    <a:pt x="1043" y="598"/>
                  </a:lnTo>
                  <a:lnTo>
                    <a:pt x="1045" y="598"/>
                  </a:lnTo>
                  <a:lnTo>
                    <a:pt x="1047" y="596"/>
                  </a:lnTo>
                  <a:lnTo>
                    <a:pt x="1047" y="596"/>
                  </a:lnTo>
                  <a:lnTo>
                    <a:pt x="1047" y="594"/>
                  </a:lnTo>
                  <a:lnTo>
                    <a:pt x="1047" y="594"/>
                  </a:lnTo>
                  <a:lnTo>
                    <a:pt x="1047" y="592"/>
                  </a:lnTo>
                  <a:lnTo>
                    <a:pt x="1049" y="592"/>
                  </a:lnTo>
                  <a:lnTo>
                    <a:pt x="1049" y="592"/>
                  </a:lnTo>
                  <a:lnTo>
                    <a:pt x="1049" y="592"/>
                  </a:lnTo>
                  <a:lnTo>
                    <a:pt x="1049" y="590"/>
                  </a:lnTo>
                  <a:lnTo>
                    <a:pt x="1049" y="590"/>
                  </a:lnTo>
                  <a:lnTo>
                    <a:pt x="1049" y="590"/>
                  </a:lnTo>
                  <a:lnTo>
                    <a:pt x="1049" y="588"/>
                  </a:lnTo>
                  <a:lnTo>
                    <a:pt x="1049" y="588"/>
                  </a:lnTo>
                  <a:lnTo>
                    <a:pt x="1049" y="588"/>
                  </a:lnTo>
                  <a:lnTo>
                    <a:pt x="1047" y="586"/>
                  </a:lnTo>
                  <a:lnTo>
                    <a:pt x="1047" y="586"/>
                  </a:lnTo>
                  <a:lnTo>
                    <a:pt x="1047" y="586"/>
                  </a:lnTo>
                  <a:lnTo>
                    <a:pt x="1047" y="586"/>
                  </a:lnTo>
                  <a:lnTo>
                    <a:pt x="1047" y="584"/>
                  </a:lnTo>
                  <a:lnTo>
                    <a:pt x="1047" y="584"/>
                  </a:lnTo>
                  <a:lnTo>
                    <a:pt x="1047" y="584"/>
                  </a:lnTo>
                  <a:lnTo>
                    <a:pt x="1047" y="584"/>
                  </a:lnTo>
                  <a:lnTo>
                    <a:pt x="1047" y="584"/>
                  </a:lnTo>
                  <a:lnTo>
                    <a:pt x="1047" y="584"/>
                  </a:lnTo>
                  <a:lnTo>
                    <a:pt x="1045" y="584"/>
                  </a:lnTo>
                  <a:lnTo>
                    <a:pt x="1045" y="584"/>
                  </a:lnTo>
                  <a:lnTo>
                    <a:pt x="1045" y="584"/>
                  </a:lnTo>
                  <a:lnTo>
                    <a:pt x="1045" y="582"/>
                  </a:lnTo>
                  <a:lnTo>
                    <a:pt x="1043" y="582"/>
                  </a:lnTo>
                  <a:lnTo>
                    <a:pt x="1040" y="580"/>
                  </a:lnTo>
                  <a:lnTo>
                    <a:pt x="1040" y="580"/>
                  </a:lnTo>
                  <a:lnTo>
                    <a:pt x="1040" y="580"/>
                  </a:lnTo>
                  <a:lnTo>
                    <a:pt x="1040" y="580"/>
                  </a:lnTo>
                  <a:lnTo>
                    <a:pt x="1040" y="578"/>
                  </a:lnTo>
                  <a:lnTo>
                    <a:pt x="1040" y="578"/>
                  </a:lnTo>
                  <a:lnTo>
                    <a:pt x="1038" y="578"/>
                  </a:lnTo>
                  <a:lnTo>
                    <a:pt x="1038" y="578"/>
                  </a:lnTo>
                  <a:lnTo>
                    <a:pt x="1036" y="578"/>
                  </a:lnTo>
                  <a:lnTo>
                    <a:pt x="1036" y="578"/>
                  </a:lnTo>
                  <a:lnTo>
                    <a:pt x="1036" y="578"/>
                  </a:lnTo>
                  <a:lnTo>
                    <a:pt x="1036" y="578"/>
                  </a:lnTo>
                  <a:lnTo>
                    <a:pt x="1036" y="578"/>
                  </a:lnTo>
                  <a:lnTo>
                    <a:pt x="1036" y="578"/>
                  </a:lnTo>
                  <a:lnTo>
                    <a:pt x="1036" y="576"/>
                  </a:lnTo>
                  <a:lnTo>
                    <a:pt x="1038" y="576"/>
                  </a:lnTo>
                  <a:lnTo>
                    <a:pt x="1040" y="576"/>
                  </a:lnTo>
                  <a:lnTo>
                    <a:pt x="1040" y="576"/>
                  </a:lnTo>
                  <a:lnTo>
                    <a:pt x="1040" y="578"/>
                  </a:lnTo>
                  <a:lnTo>
                    <a:pt x="1040" y="578"/>
                  </a:lnTo>
                  <a:lnTo>
                    <a:pt x="1040" y="580"/>
                  </a:lnTo>
                  <a:lnTo>
                    <a:pt x="1043" y="578"/>
                  </a:lnTo>
                  <a:lnTo>
                    <a:pt x="1043" y="578"/>
                  </a:lnTo>
                  <a:lnTo>
                    <a:pt x="1045" y="580"/>
                  </a:lnTo>
                  <a:lnTo>
                    <a:pt x="1045" y="580"/>
                  </a:lnTo>
                  <a:lnTo>
                    <a:pt x="1043" y="580"/>
                  </a:lnTo>
                  <a:lnTo>
                    <a:pt x="1043" y="580"/>
                  </a:lnTo>
                  <a:lnTo>
                    <a:pt x="1043" y="580"/>
                  </a:lnTo>
                  <a:lnTo>
                    <a:pt x="1043" y="580"/>
                  </a:lnTo>
                  <a:lnTo>
                    <a:pt x="1043" y="580"/>
                  </a:lnTo>
                  <a:lnTo>
                    <a:pt x="1047" y="580"/>
                  </a:lnTo>
                  <a:lnTo>
                    <a:pt x="1047" y="580"/>
                  </a:lnTo>
                  <a:lnTo>
                    <a:pt x="1047" y="580"/>
                  </a:lnTo>
                  <a:lnTo>
                    <a:pt x="1049" y="580"/>
                  </a:lnTo>
                  <a:lnTo>
                    <a:pt x="1049" y="580"/>
                  </a:lnTo>
                  <a:lnTo>
                    <a:pt x="1051" y="578"/>
                  </a:lnTo>
                  <a:lnTo>
                    <a:pt x="1051" y="578"/>
                  </a:lnTo>
                  <a:lnTo>
                    <a:pt x="1053" y="578"/>
                  </a:lnTo>
                  <a:lnTo>
                    <a:pt x="1053" y="578"/>
                  </a:lnTo>
                  <a:lnTo>
                    <a:pt x="1053" y="576"/>
                  </a:lnTo>
                  <a:lnTo>
                    <a:pt x="1053" y="576"/>
                  </a:lnTo>
                  <a:lnTo>
                    <a:pt x="1053" y="576"/>
                  </a:lnTo>
                  <a:lnTo>
                    <a:pt x="1053" y="576"/>
                  </a:lnTo>
                  <a:lnTo>
                    <a:pt x="1055" y="574"/>
                  </a:lnTo>
                  <a:lnTo>
                    <a:pt x="1057" y="572"/>
                  </a:lnTo>
                  <a:lnTo>
                    <a:pt x="1057" y="572"/>
                  </a:lnTo>
                  <a:lnTo>
                    <a:pt x="1057" y="572"/>
                  </a:lnTo>
                  <a:lnTo>
                    <a:pt x="1055" y="570"/>
                  </a:lnTo>
                  <a:lnTo>
                    <a:pt x="1055" y="570"/>
                  </a:lnTo>
                  <a:lnTo>
                    <a:pt x="1055" y="568"/>
                  </a:lnTo>
                  <a:lnTo>
                    <a:pt x="1055" y="568"/>
                  </a:lnTo>
                  <a:lnTo>
                    <a:pt x="1055" y="568"/>
                  </a:lnTo>
                  <a:lnTo>
                    <a:pt x="1055" y="566"/>
                  </a:lnTo>
                  <a:lnTo>
                    <a:pt x="1057" y="564"/>
                  </a:lnTo>
                  <a:lnTo>
                    <a:pt x="1059" y="562"/>
                  </a:lnTo>
                  <a:lnTo>
                    <a:pt x="1059" y="562"/>
                  </a:lnTo>
                  <a:lnTo>
                    <a:pt x="1061" y="562"/>
                  </a:lnTo>
                  <a:lnTo>
                    <a:pt x="1061" y="562"/>
                  </a:lnTo>
                  <a:lnTo>
                    <a:pt x="1061" y="559"/>
                  </a:lnTo>
                  <a:lnTo>
                    <a:pt x="1061" y="557"/>
                  </a:lnTo>
                  <a:lnTo>
                    <a:pt x="1061" y="557"/>
                  </a:lnTo>
                  <a:lnTo>
                    <a:pt x="1061" y="557"/>
                  </a:lnTo>
                  <a:lnTo>
                    <a:pt x="1063" y="557"/>
                  </a:lnTo>
                  <a:lnTo>
                    <a:pt x="1063" y="557"/>
                  </a:lnTo>
                  <a:lnTo>
                    <a:pt x="1063" y="557"/>
                  </a:lnTo>
                  <a:lnTo>
                    <a:pt x="1065" y="555"/>
                  </a:lnTo>
                  <a:lnTo>
                    <a:pt x="1065" y="553"/>
                  </a:lnTo>
                  <a:lnTo>
                    <a:pt x="1065" y="553"/>
                  </a:lnTo>
                  <a:lnTo>
                    <a:pt x="1067" y="553"/>
                  </a:lnTo>
                  <a:lnTo>
                    <a:pt x="1067" y="553"/>
                  </a:lnTo>
                  <a:lnTo>
                    <a:pt x="1067" y="553"/>
                  </a:lnTo>
                  <a:lnTo>
                    <a:pt x="1067" y="553"/>
                  </a:lnTo>
                  <a:lnTo>
                    <a:pt x="1067" y="553"/>
                  </a:lnTo>
                  <a:lnTo>
                    <a:pt x="1069" y="553"/>
                  </a:lnTo>
                  <a:lnTo>
                    <a:pt x="1069" y="555"/>
                  </a:lnTo>
                  <a:lnTo>
                    <a:pt x="1071" y="553"/>
                  </a:lnTo>
                  <a:lnTo>
                    <a:pt x="1071" y="553"/>
                  </a:lnTo>
                  <a:lnTo>
                    <a:pt x="1067" y="549"/>
                  </a:lnTo>
                  <a:lnTo>
                    <a:pt x="1067" y="549"/>
                  </a:lnTo>
                  <a:lnTo>
                    <a:pt x="1067" y="547"/>
                  </a:lnTo>
                  <a:lnTo>
                    <a:pt x="1067" y="547"/>
                  </a:lnTo>
                  <a:lnTo>
                    <a:pt x="1069" y="545"/>
                  </a:lnTo>
                  <a:lnTo>
                    <a:pt x="1069" y="545"/>
                  </a:lnTo>
                  <a:lnTo>
                    <a:pt x="1069" y="543"/>
                  </a:lnTo>
                  <a:lnTo>
                    <a:pt x="1071" y="543"/>
                  </a:lnTo>
                  <a:lnTo>
                    <a:pt x="1071" y="543"/>
                  </a:lnTo>
                  <a:lnTo>
                    <a:pt x="1073" y="541"/>
                  </a:lnTo>
                  <a:lnTo>
                    <a:pt x="1073" y="539"/>
                  </a:lnTo>
                  <a:lnTo>
                    <a:pt x="1075" y="539"/>
                  </a:lnTo>
                  <a:lnTo>
                    <a:pt x="1075" y="539"/>
                  </a:lnTo>
                  <a:lnTo>
                    <a:pt x="1077" y="539"/>
                  </a:lnTo>
                  <a:lnTo>
                    <a:pt x="1079" y="539"/>
                  </a:lnTo>
                  <a:lnTo>
                    <a:pt x="1079" y="539"/>
                  </a:lnTo>
                  <a:lnTo>
                    <a:pt x="1079" y="537"/>
                  </a:lnTo>
                  <a:lnTo>
                    <a:pt x="1079" y="537"/>
                  </a:lnTo>
                  <a:lnTo>
                    <a:pt x="1081" y="537"/>
                  </a:lnTo>
                  <a:lnTo>
                    <a:pt x="1083" y="537"/>
                  </a:lnTo>
                  <a:lnTo>
                    <a:pt x="1083" y="535"/>
                  </a:lnTo>
                  <a:lnTo>
                    <a:pt x="1083" y="535"/>
                  </a:lnTo>
                  <a:lnTo>
                    <a:pt x="1083" y="535"/>
                  </a:lnTo>
                  <a:lnTo>
                    <a:pt x="1086" y="531"/>
                  </a:lnTo>
                  <a:lnTo>
                    <a:pt x="1086" y="531"/>
                  </a:lnTo>
                  <a:lnTo>
                    <a:pt x="1088" y="529"/>
                  </a:lnTo>
                  <a:lnTo>
                    <a:pt x="1088" y="529"/>
                  </a:lnTo>
                  <a:lnTo>
                    <a:pt x="1088" y="529"/>
                  </a:lnTo>
                  <a:lnTo>
                    <a:pt x="1088" y="529"/>
                  </a:lnTo>
                  <a:lnTo>
                    <a:pt x="1088" y="529"/>
                  </a:lnTo>
                  <a:lnTo>
                    <a:pt x="1090" y="529"/>
                  </a:lnTo>
                  <a:lnTo>
                    <a:pt x="1090" y="529"/>
                  </a:lnTo>
                  <a:lnTo>
                    <a:pt x="1094" y="525"/>
                  </a:lnTo>
                  <a:lnTo>
                    <a:pt x="1096" y="525"/>
                  </a:lnTo>
                  <a:lnTo>
                    <a:pt x="1096" y="523"/>
                  </a:lnTo>
                  <a:lnTo>
                    <a:pt x="1096" y="523"/>
                  </a:lnTo>
                  <a:lnTo>
                    <a:pt x="1098" y="523"/>
                  </a:lnTo>
                  <a:lnTo>
                    <a:pt x="1098" y="523"/>
                  </a:lnTo>
                  <a:lnTo>
                    <a:pt x="1098" y="521"/>
                  </a:lnTo>
                  <a:lnTo>
                    <a:pt x="1098" y="521"/>
                  </a:lnTo>
                  <a:lnTo>
                    <a:pt x="1098" y="518"/>
                  </a:lnTo>
                  <a:lnTo>
                    <a:pt x="1098" y="518"/>
                  </a:lnTo>
                  <a:lnTo>
                    <a:pt x="1098" y="523"/>
                  </a:lnTo>
                  <a:lnTo>
                    <a:pt x="1098" y="523"/>
                  </a:lnTo>
                  <a:lnTo>
                    <a:pt x="1100" y="525"/>
                  </a:lnTo>
                  <a:lnTo>
                    <a:pt x="1102" y="525"/>
                  </a:lnTo>
                  <a:lnTo>
                    <a:pt x="1104" y="525"/>
                  </a:lnTo>
                  <a:lnTo>
                    <a:pt x="1104" y="525"/>
                  </a:lnTo>
                  <a:lnTo>
                    <a:pt x="1104" y="525"/>
                  </a:lnTo>
                  <a:lnTo>
                    <a:pt x="1104" y="525"/>
                  </a:lnTo>
                  <a:lnTo>
                    <a:pt x="1104" y="525"/>
                  </a:lnTo>
                  <a:lnTo>
                    <a:pt x="1104" y="525"/>
                  </a:lnTo>
                  <a:lnTo>
                    <a:pt x="1104" y="523"/>
                  </a:lnTo>
                  <a:lnTo>
                    <a:pt x="1104" y="523"/>
                  </a:lnTo>
                  <a:lnTo>
                    <a:pt x="1104" y="525"/>
                  </a:lnTo>
                  <a:lnTo>
                    <a:pt x="1104" y="525"/>
                  </a:lnTo>
                  <a:lnTo>
                    <a:pt x="1106" y="525"/>
                  </a:lnTo>
                  <a:lnTo>
                    <a:pt x="1112" y="525"/>
                  </a:lnTo>
                  <a:lnTo>
                    <a:pt x="1114" y="525"/>
                  </a:lnTo>
                  <a:lnTo>
                    <a:pt x="1114" y="523"/>
                  </a:lnTo>
                  <a:lnTo>
                    <a:pt x="1114" y="523"/>
                  </a:lnTo>
                  <a:lnTo>
                    <a:pt x="1114" y="521"/>
                  </a:lnTo>
                  <a:lnTo>
                    <a:pt x="1114" y="518"/>
                  </a:lnTo>
                  <a:lnTo>
                    <a:pt x="1114" y="518"/>
                  </a:lnTo>
                  <a:lnTo>
                    <a:pt x="1114" y="516"/>
                  </a:lnTo>
                  <a:lnTo>
                    <a:pt x="1114" y="516"/>
                  </a:lnTo>
                  <a:lnTo>
                    <a:pt x="1116" y="516"/>
                  </a:lnTo>
                  <a:lnTo>
                    <a:pt x="1116" y="514"/>
                  </a:lnTo>
                  <a:lnTo>
                    <a:pt x="1118" y="514"/>
                  </a:lnTo>
                  <a:lnTo>
                    <a:pt x="1120" y="512"/>
                  </a:lnTo>
                  <a:lnTo>
                    <a:pt x="1126" y="510"/>
                  </a:lnTo>
                  <a:lnTo>
                    <a:pt x="1126" y="510"/>
                  </a:lnTo>
                  <a:lnTo>
                    <a:pt x="1126" y="510"/>
                  </a:lnTo>
                  <a:lnTo>
                    <a:pt x="1129" y="510"/>
                  </a:lnTo>
                  <a:lnTo>
                    <a:pt x="1131" y="510"/>
                  </a:lnTo>
                  <a:lnTo>
                    <a:pt x="1131" y="510"/>
                  </a:lnTo>
                  <a:lnTo>
                    <a:pt x="1129" y="512"/>
                  </a:lnTo>
                  <a:lnTo>
                    <a:pt x="1129" y="512"/>
                  </a:lnTo>
                  <a:lnTo>
                    <a:pt x="1120" y="516"/>
                  </a:lnTo>
                  <a:lnTo>
                    <a:pt x="1120" y="516"/>
                  </a:lnTo>
                  <a:lnTo>
                    <a:pt x="1118" y="516"/>
                  </a:lnTo>
                  <a:lnTo>
                    <a:pt x="1118" y="518"/>
                  </a:lnTo>
                  <a:lnTo>
                    <a:pt x="1118" y="521"/>
                  </a:lnTo>
                  <a:lnTo>
                    <a:pt x="1118" y="521"/>
                  </a:lnTo>
                  <a:lnTo>
                    <a:pt x="1118" y="521"/>
                  </a:lnTo>
                  <a:lnTo>
                    <a:pt x="1116" y="521"/>
                  </a:lnTo>
                  <a:lnTo>
                    <a:pt x="1116" y="521"/>
                  </a:lnTo>
                  <a:lnTo>
                    <a:pt x="1116" y="523"/>
                  </a:lnTo>
                  <a:lnTo>
                    <a:pt x="1116" y="523"/>
                  </a:lnTo>
                  <a:lnTo>
                    <a:pt x="1114" y="525"/>
                  </a:lnTo>
                  <a:lnTo>
                    <a:pt x="1114" y="525"/>
                  </a:lnTo>
                  <a:lnTo>
                    <a:pt x="1114" y="527"/>
                  </a:lnTo>
                  <a:lnTo>
                    <a:pt x="1114" y="527"/>
                  </a:lnTo>
                  <a:lnTo>
                    <a:pt x="1112" y="527"/>
                  </a:lnTo>
                  <a:lnTo>
                    <a:pt x="1112" y="527"/>
                  </a:lnTo>
                  <a:lnTo>
                    <a:pt x="1112" y="527"/>
                  </a:lnTo>
                  <a:lnTo>
                    <a:pt x="1112" y="529"/>
                  </a:lnTo>
                  <a:lnTo>
                    <a:pt x="1110" y="529"/>
                  </a:lnTo>
                  <a:lnTo>
                    <a:pt x="1110" y="529"/>
                  </a:lnTo>
                  <a:lnTo>
                    <a:pt x="1114" y="533"/>
                  </a:lnTo>
                  <a:lnTo>
                    <a:pt x="1116" y="533"/>
                  </a:lnTo>
                  <a:lnTo>
                    <a:pt x="1118" y="535"/>
                  </a:lnTo>
                  <a:lnTo>
                    <a:pt x="1122" y="537"/>
                  </a:lnTo>
                  <a:lnTo>
                    <a:pt x="1124" y="537"/>
                  </a:lnTo>
                  <a:lnTo>
                    <a:pt x="1126" y="537"/>
                  </a:lnTo>
                  <a:lnTo>
                    <a:pt x="1129" y="539"/>
                  </a:lnTo>
                  <a:lnTo>
                    <a:pt x="1129" y="541"/>
                  </a:lnTo>
                  <a:lnTo>
                    <a:pt x="1131" y="541"/>
                  </a:lnTo>
                  <a:lnTo>
                    <a:pt x="1133" y="539"/>
                  </a:lnTo>
                  <a:lnTo>
                    <a:pt x="1135" y="539"/>
                  </a:lnTo>
                  <a:lnTo>
                    <a:pt x="1135" y="539"/>
                  </a:lnTo>
                  <a:lnTo>
                    <a:pt x="1137" y="541"/>
                  </a:lnTo>
                  <a:lnTo>
                    <a:pt x="1139" y="543"/>
                  </a:lnTo>
                  <a:lnTo>
                    <a:pt x="1137" y="543"/>
                  </a:lnTo>
                  <a:lnTo>
                    <a:pt x="1137" y="543"/>
                  </a:lnTo>
                  <a:lnTo>
                    <a:pt x="1137" y="543"/>
                  </a:lnTo>
                  <a:lnTo>
                    <a:pt x="1137" y="543"/>
                  </a:lnTo>
                  <a:lnTo>
                    <a:pt x="1137" y="543"/>
                  </a:lnTo>
                  <a:lnTo>
                    <a:pt x="1135" y="543"/>
                  </a:lnTo>
                  <a:lnTo>
                    <a:pt x="1126" y="541"/>
                  </a:lnTo>
                  <a:lnTo>
                    <a:pt x="1126" y="541"/>
                  </a:lnTo>
                  <a:lnTo>
                    <a:pt x="1124" y="541"/>
                  </a:lnTo>
                  <a:lnTo>
                    <a:pt x="1122" y="541"/>
                  </a:lnTo>
                  <a:lnTo>
                    <a:pt x="1122" y="541"/>
                  </a:lnTo>
                  <a:lnTo>
                    <a:pt x="1120" y="539"/>
                  </a:lnTo>
                  <a:lnTo>
                    <a:pt x="1120" y="539"/>
                  </a:lnTo>
                  <a:lnTo>
                    <a:pt x="1118" y="539"/>
                  </a:lnTo>
                  <a:lnTo>
                    <a:pt x="1118" y="539"/>
                  </a:lnTo>
                  <a:lnTo>
                    <a:pt x="1116" y="539"/>
                  </a:lnTo>
                  <a:lnTo>
                    <a:pt x="1114" y="541"/>
                  </a:lnTo>
                  <a:lnTo>
                    <a:pt x="1114" y="541"/>
                  </a:lnTo>
                  <a:lnTo>
                    <a:pt x="1112" y="543"/>
                  </a:lnTo>
                  <a:lnTo>
                    <a:pt x="1108" y="541"/>
                  </a:lnTo>
                  <a:lnTo>
                    <a:pt x="1108" y="541"/>
                  </a:lnTo>
                  <a:lnTo>
                    <a:pt x="1106" y="541"/>
                  </a:lnTo>
                  <a:lnTo>
                    <a:pt x="1106" y="539"/>
                  </a:lnTo>
                  <a:lnTo>
                    <a:pt x="1106" y="539"/>
                  </a:lnTo>
                  <a:lnTo>
                    <a:pt x="1104" y="537"/>
                  </a:lnTo>
                  <a:lnTo>
                    <a:pt x="1104" y="537"/>
                  </a:lnTo>
                  <a:lnTo>
                    <a:pt x="1104" y="535"/>
                  </a:lnTo>
                  <a:lnTo>
                    <a:pt x="1102" y="537"/>
                  </a:lnTo>
                  <a:lnTo>
                    <a:pt x="1098" y="539"/>
                  </a:lnTo>
                  <a:lnTo>
                    <a:pt x="1094" y="543"/>
                  </a:lnTo>
                  <a:lnTo>
                    <a:pt x="1088" y="549"/>
                  </a:lnTo>
                  <a:lnTo>
                    <a:pt x="1088" y="549"/>
                  </a:lnTo>
                  <a:lnTo>
                    <a:pt x="1088" y="551"/>
                  </a:lnTo>
                  <a:lnTo>
                    <a:pt x="1081" y="551"/>
                  </a:lnTo>
                  <a:lnTo>
                    <a:pt x="1081" y="551"/>
                  </a:lnTo>
                  <a:lnTo>
                    <a:pt x="1081" y="553"/>
                  </a:lnTo>
                  <a:lnTo>
                    <a:pt x="1079" y="553"/>
                  </a:lnTo>
                  <a:lnTo>
                    <a:pt x="1079" y="553"/>
                  </a:lnTo>
                  <a:lnTo>
                    <a:pt x="1077" y="553"/>
                  </a:lnTo>
                  <a:lnTo>
                    <a:pt x="1077" y="555"/>
                  </a:lnTo>
                  <a:lnTo>
                    <a:pt x="1079" y="555"/>
                  </a:lnTo>
                  <a:lnTo>
                    <a:pt x="1079" y="557"/>
                  </a:lnTo>
                  <a:lnTo>
                    <a:pt x="1079" y="557"/>
                  </a:lnTo>
                  <a:lnTo>
                    <a:pt x="1079" y="562"/>
                  </a:lnTo>
                  <a:lnTo>
                    <a:pt x="1081" y="562"/>
                  </a:lnTo>
                  <a:lnTo>
                    <a:pt x="1081" y="564"/>
                  </a:lnTo>
                  <a:lnTo>
                    <a:pt x="1081" y="564"/>
                  </a:lnTo>
                  <a:lnTo>
                    <a:pt x="1081" y="566"/>
                  </a:lnTo>
                  <a:lnTo>
                    <a:pt x="1081" y="566"/>
                  </a:lnTo>
                  <a:lnTo>
                    <a:pt x="1081" y="570"/>
                  </a:lnTo>
                  <a:lnTo>
                    <a:pt x="1081" y="572"/>
                  </a:lnTo>
                  <a:lnTo>
                    <a:pt x="1081" y="572"/>
                  </a:lnTo>
                  <a:lnTo>
                    <a:pt x="1081" y="572"/>
                  </a:lnTo>
                  <a:lnTo>
                    <a:pt x="1079" y="572"/>
                  </a:lnTo>
                  <a:lnTo>
                    <a:pt x="1079" y="572"/>
                  </a:lnTo>
                  <a:lnTo>
                    <a:pt x="1079" y="572"/>
                  </a:lnTo>
                  <a:lnTo>
                    <a:pt x="1079" y="574"/>
                  </a:lnTo>
                  <a:lnTo>
                    <a:pt x="1079" y="574"/>
                  </a:lnTo>
                  <a:lnTo>
                    <a:pt x="1079" y="576"/>
                  </a:lnTo>
                  <a:lnTo>
                    <a:pt x="1079" y="578"/>
                  </a:lnTo>
                  <a:lnTo>
                    <a:pt x="1079" y="580"/>
                  </a:lnTo>
                  <a:lnTo>
                    <a:pt x="1077" y="582"/>
                  </a:lnTo>
                  <a:lnTo>
                    <a:pt x="1071" y="590"/>
                  </a:lnTo>
                  <a:lnTo>
                    <a:pt x="1071" y="590"/>
                  </a:lnTo>
                  <a:lnTo>
                    <a:pt x="1071" y="592"/>
                  </a:lnTo>
                  <a:lnTo>
                    <a:pt x="1071" y="592"/>
                  </a:lnTo>
                  <a:lnTo>
                    <a:pt x="1069" y="600"/>
                  </a:lnTo>
                  <a:lnTo>
                    <a:pt x="1069" y="600"/>
                  </a:lnTo>
                  <a:lnTo>
                    <a:pt x="1069" y="603"/>
                  </a:lnTo>
                  <a:lnTo>
                    <a:pt x="1067" y="603"/>
                  </a:lnTo>
                  <a:lnTo>
                    <a:pt x="1067" y="603"/>
                  </a:lnTo>
                  <a:lnTo>
                    <a:pt x="1067" y="605"/>
                  </a:lnTo>
                  <a:lnTo>
                    <a:pt x="1069" y="607"/>
                  </a:lnTo>
                  <a:lnTo>
                    <a:pt x="1071" y="609"/>
                  </a:lnTo>
                  <a:lnTo>
                    <a:pt x="1071" y="609"/>
                  </a:lnTo>
                  <a:lnTo>
                    <a:pt x="1079" y="613"/>
                  </a:lnTo>
                  <a:lnTo>
                    <a:pt x="1079" y="613"/>
                  </a:lnTo>
                  <a:lnTo>
                    <a:pt x="1079" y="611"/>
                  </a:lnTo>
                  <a:lnTo>
                    <a:pt x="1079" y="611"/>
                  </a:lnTo>
                  <a:lnTo>
                    <a:pt x="1079" y="611"/>
                  </a:lnTo>
                  <a:lnTo>
                    <a:pt x="1079" y="609"/>
                  </a:lnTo>
                  <a:lnTo>
                    <a:pt x="1079" y="609"/>
                  </a:lnTo>
                  <a:lnTo>
                    <a:pt x="1079" y="609"/>
                  </a:lnTo>
                  <a:lnTo>
                    <a:pt x="1081" y="609"/>
                  </a:lnTo>
                  <a:lnTo>
                    <a:pt x="1086" y="605"/>
                  </a:lnTo>
                  <a:lnTo>
                    <a:pt x="1088" y="605"/>
                  </a:lnTo>
                  <a:lnTo>
                    <a:pt x="1088" y="603"/>
                  </a:lnTo>
                  <a:lnTo>
                    <a:pt x="1090" y="603"/>
                  </a:lnTo>
                  <a:lnTo>
                    <a:pt x="1090" y="603"/>
                  </a:lnTo>
                  <a:lnTo>
                    <a:pt x="1092" y="603"/>
                  </a:lnTo>
                  <a:lnTo>
                    <a:pt x="1090" y="605"/>
                  </a:lnTo>
                  <a:lnTo>
                    <a:pt x="1088" y="607"/>
                  </a:lnTo>
                  <a:lnTo>
                    <a:pt x="1088" y="607"/>
                  </a:lnTo>
                  <a:lnTo>
                    <a:pt x="1088" y="609"/>
                  </a:lnTo>
                  <a:lnTo>
                    <a:pt x="1088" y="609"/>
                  </a:lnTo>
                  <a:lnTo>
                    <a:pt x="1088" y="609"/>
                  </a:lnTo>
                  <a:lnTo>
                    <a:pt x="1086" y="609"/>
                  </a:lnTo>
                  <a:lnTo>
                    <a:pt x="1086" y="609"/>
                  </a:lnTo>
                  <a:lnTo>
                    <a:pt x="1086" y="611"/>
                  </a:lnTo>
                  <a:lnTo>
                    <a:pt x="1086" y="611"/>
                  </a:lnTo>
                  <a:lnTo>
                    <a:pt x="1088" y="613"/>
                  </a:lnTo>
                  <a:lnTo>
                    <a:pt x="1088" y="613"/>
                  </a:lnTo>
                  <a:lnTo>
                    <a:pt x="1086" y="613"/>
                  </a:lnTo>
                  <a:lnTo>
                    <a:pt x="1086" y="613"/>
                  </a:lnTo>
                  <a:lnTo>
                    <a:pt x="1083" y="613"/>
                  </a:lnTo>
                  <a:lnTo>
                    <a:pt x="1083" y="613"/>
                  </a:lnTo>
                  <a:lnTo>
                    <a:pt x="1083" y="615"/>
                  </a:lnTo>
                  <a:lnTo>
                    <a:pt x="1083" y="615"/>
                  </a:lnTo>
                  <a:lnTo>
                    <a:pt x="1083" y="615"/>
                  </a:lnTo>
                  <a:lnTo>
                    <a:pt x="1081" y="615"/>
                  </a:lnTo>
                  <a:lnTo>
                    <a:pt x="1081" y="615"/>
                  </a:lnTo>
                  <a:lnTo>
                    <a:pt x="1079" y="615"/>
                  </a:lnTo>
                  <a:lnTo>
                    <a:pt x="1079" y="617"/>
                  </a:lnTo>
                  <a:lnTo>
                    <a:pt x="1079" y="617"/>
                  </a:lnTo>
                  <a:lnTo>
                    <a:pt x="1079" y="619"/>
                  </a:lnTo>
                  <a:lnTo>
                    <a:pt x="1081" y="619"/>
                  </a:lnTo>
                  <a:lnTo>
                    <a:pt x="1081" y="621"/>
                  </a:lnTo>
                  <a:lnTo>
                    <a:pt x="1081" y="621"/>
                  </a:lnTo>
                  <a:lnTo>
                    <a:pt x="1081" y="621"/>
                  </a:lnTo>
                  <a:lnTo>
                    <a:pt x="1079" y="621"/>
                  </a:lnTo>
                  <a:lnTo>
                    <a:pt x="1079" y="619"/>
                  </a:lnTo>
                  <a:lnTo>
                    <a:pt x="1079" y="619"/>
                  </a:lnTo>
                  <a:lnTo>
                    <a:pt x="1075" y="619"/>
                  </a:lnTo>
                  <a:lnTo>
                    <a:pt x="1073" y="619"/>
                  </a:lnTo>
                  <a:lnTo>
                    <a:pt x="1073" y="619"/>
                  </a:lnTo>
                  <a:lnTo>
                    <a:pt x="1073" y="621"/>
                  </a:lnTo>
                  <a:lnTo>
                    <a:pt x="1071" y="621"/>
                  </a:lnTo>
                  <a:lnTo>
                    <a:pt x="1071" y="621"/>
                  </a:lnTo>
                  <a:lnTo>
                    <a:pt x="1069" y="623"/>
                  </a:lnTo>
                  <a:lnTo>
                    <a:pt x="1067" y="623"/>
                  </a:lnTo>
                  <a:lnTo>
                    <a:pt x="1067" y="623"/>
                  </a:lnTo>
                  <a:lnTo>
                    <a:pt x="1069" y="625"/>
                  </a:lnTo>
                  <a:lnTo>
                    <a:pt x="1069" y="625"/>
                  </a:lnTo>
                  <a:lnTo>
                    <a:pt x="1071" y="625"/>
                  </a:lnTo>
                  <a:lnTo>
                    <a:pt x="1067" y="625"/>
                  </a:lnTo>
                  <a:lnTo>
                    <a:pt x="1067" y="625"/>
                  </a:lnTo>
                  <a:lnTo>
                    <a:pt x="1067" y="627"/>
                  </a:lnTo>
                  <a:lnTo>
                    <a:pt x="1065" y="627"/>
                  </a:lnTo>
                  <a:lnTo>
                    <a:pt x="1065" y="627"/>
                  </a:lnTo>
                  <a:lnTo>
                    <a:pt x="1065" y="629"/>
                  </a:lnTo>
                  <a:lnTo>
                    <a:pt x="1065" y="629"/>
                  </a:lnTo>
                  <a:lnTo>
                    <a:pt x="1067" y="631"/>
                  </a:lnTo>
                  <a:lnTo>
                    <a:pt x="1067" y="631"/>
                  </a:lnTo>
                  <a:lnTo>
                    <a:pt x="1067" y="631"/>
                  </a:lnTo>
                  <a:lnTo>
                    <a:pt x="1069" y="631"/>
                  </a:lnTo>
                  <a:lnTo>
                    <a:pt x="1069" y="631"/>
                  </a:lnTo>
                  <a:lnTo>
                    <a:pt x="1069" y="631"/>
                  </a:lnTo>
                  <a:lnTo>
                    <a:pt x="1069" y="631"/>
                  </a:lnTo>
                  <a:lnTo>
                    <a:pt x="1067" y="631"/>
                  </a:lnTo>
                  <a:lnTo>
                    <a:pt x="1069" y="633"/>
                  </a:lnTo>
                  <a:lnTo>
                    <a:pt x="1069" y="633"/>
                  </a:lnTo>
                  <a:lnTo>
                    <a:pt x="1069" y="633"/>
                  </a:lnTo>
                  <a:lnTo>
                    <a:pt x="1071" y="633"/>
                  </a:lnTo>
                  <a:lnTo>
                    <a:pt x="1071" y="633"/>
                  </a:lnTo>
                  <a:lnTo>
                    <a:pt x="1071" y="633"/>
                  </a:lnTo>
                  <a:lnTo>
                    <a:pt x="1071" y="633"/>
                  </a:lnTo>
                  <a:lnTo>
                    <a:pt x="1073" y="635"/>
                  </a:lnTo>
                  <a:lnTo>
                    <a:pt x="1073" y="635"/>
                  </a:lnTo>
                  <a:lnTo>
                    <a:pt x="1077" y="635"/>
                  </a:lnTo>
                  <a:lnTo>
                    <a:pt x="1077" y="633"/>
                  </a:lnTo>
                  <a:lnTo>
                    <a:pt x="1075" y="635"/>
                  </a:lnTo>
                  <a:lnTo>
                    <a:pt x="1075" y="633"/>
                  </a:lnTo>
                  <a:lnTo>
                    <a:pt x="1075" y="633"/>
                  </a:lnTo>
                  <a:lnTo>
                    <a:pt x="1075" y="633"/>
                  </a:lnTo>
                  <a:lnTo>
                    <a:pt x="1077" y="633"/>
                  </a:lnTo>
                  <a:lnTo>
                    <a:pt x="1079" y="633"/>
                  </a:lnTo>
                  <a:lnTo>
                    <a:pt x="1079" y="633"/>
                  </a:lnTo>
                  <a:lnTo>
                    <a:pt x="1079" y="633"/>
                  </a:lnTo>
                  <a:lnTo>
                    <a:pt x="1079" y="633"/>
                  </a:lnTo>
                  <a:lnTo>
                    <a:pt x="1079" y="633"/>
                  </a:lnTo>
                  <a:lnTo>
                    <a:pt x="1077" y="633"/>
                  </a:lnTo>
                  <a:lnTo>
                    <a:pt x="1079" y="631"/>
                  </a:lnTo>
                  <a:lnTo>
                    <a:pt x="1081" y="631"/>
                  </a:lnTo>
                  <a:lnTo>
                    <a:pt x="1081" y="631"/>
                  </a:lnTo>
                  <a:lnTo>
                    <a:pt x="1081" y="631"/>
                  </a:lnTo>
                  <a:lnTo>
                    <a:pt x="1081" y="631"/>
                  </a:lnTo>
                  <a:lnTo>
                    <a:pt x="1081" y="631"/>
                  </a:lnTo>
                  <a:lnTo>
                    <a:pt x="1083" y="631"/>
                  </a:lnTo>
                  <a:lnTo>
                    <a:pt x="1083" y="631"/>
                  </a:lnTo>
                  <a:lnTo>
                    <a:pt x="1086" y="631"/>
                  </a:lnTo>
                  <a:lnTo>
                    <a:pt x="1086" y="631"/>
                  </a:lnTo>
                  <a:lnTo>
                    <a:pt x="1086" y="631"/>
                  </a:lnTo>
                  <a:lnTo>
                    <a:pt x="1088" y="633"/>
                  </a:lnTo>
                  <a:lnTo>
                    <a:pt x="1088" y="633"/>
                  </a:lnTo>
                  <a:lnTo>
                    <a:pt x="1088" y="633"/>
                  </a:lnTo>
                  <a:lnTo>
                    <a:pt x="1090" y="631"/>
                  </a:lnTo>
                  <a:lnTo>
                    <a:pt x="1090" y="631"/>
                  </a:lnTo>
                  <a:lnTo>
                    <a:pt x="1090" y="631"/>
                  </a:lnTo>
                  <a:lnTo>
                    <a:pt x="1090" y="631"/>
                  </a:lnTo>
                  <a:lnTo>
                    <a:pt x="1090" y="631"/>
                  </a:lnTo>
                  <a:lnTo>
                    <a:pt x="1090" y="631"/>
                  </a:lnTo>
                  <a:lnTo>
                    <a:pt x="1088" y="629"/>
                  </a:lnTo>
                  <a:lnTo>
                    <a:pt x="1088" y="629"/>
                  </a:lnTo>
                  <a:lnTo>
                    <a:pt x="1088" y="629"/>
                  </a:lnTo>
                  <a:lnTo>
                    <a:pt x="1086" y="629"/>
                  </a:lnTo>
                  <a:lnTo>
                    <a:pt x="1086" y="629"/>
                  </a:lnTo>
                  <a:lnTo>
                    <a:pt x="1086" y="629"/>
                  </a:lnTo>
                  <a:lnTo>
                    <a:pt x="1086" y="627"/>
                  </a:lnTo>
                  <a:lnTo>
                    <a:pt x="1086" y="627"/>
                  </a:lnTo>
                  <a:lnTo>
                    <a:pt x="1086" y="627"/>
                  </a:lnTo>
                  <a:lnTo>
                    <a:pt x="1086" y="627"/>
                  </a:lnTo>
                  <a:lnTo>
                    <a:pt x="1088" y="627"/>
                  </a:lnTo>
                  <a:lnTo>
                    <a:pt x="1090" y="629"/>
                  </a:lnTo>
                  <a:lnTo>
                    <a:pt x="1090" y="629"/>
                  </a:lnTo>
                  <a:lnTo>
                    <a:pt x="1090" y="629"/>
                  </a:lnTo>
                  <a:lnTo>
                    <a:pt x="1090" y="627"/>
                  </a:lnTo>
                  <a:lnTo>
                    <a:pt x="1090" y="627"/>
                  </a:lnTo>
                  <a:lnTo>
                    <a:pt x="1092" y="627"/>
                  </a:lnTo>
                  <a:lnTo>
                    <a:pt x="1092" y="629"/>
                  </a:lnTo>
                  <a:lnTo>
                    <a:pt x="1092" y="629"/>
                  </a:lnTo>
                  <a:lnTo>
                    <a:pt x="1092" y="629"/>
                  </a:lnTo>
                  <a:lnTo>
                    <a:pt x="1092" y="629"/>
                  </a:lnTo>
                  <a:lnTo>
                    <a:pt x="1092" y="629"/>
                  </a:lnTo>
                  <a:lnTo>
                    <a:pt x="1092" y="629"/>
                  </a:lnTo>
                  <a:lnTo>
                    <a:pt x="1092" y="631"/>
                  </a:lnTo>
                  <a:lnTo>
                    <a:pt x="1092" y="631"/>
                  </a:lnTo>
                  <a:lnTo>
                    <a:pt x="1094" y="633"/>
                  </a:lnTo>
                  <a:lnTo>
                    <a:pt x="1094" y="631"/>
                  </a:lnTo>
                  <a:lnTo>
                    <a:pt x="1094" y="631"/>
                  </a:lnTo>
                  <a:lnTo>
                    <a:pt x="1096" y="629"/>
                  </a:lnTo>
                  <a:lnTo>
                    <a:pt x="1096" y="629"/>
                  </a:lnTo>
                  <a:lnTo>
                    <a:pt x="1094" y="627"/>
                  </a:lnTo>
                  <a:lnTo>
                    <a:pt x="1094" y="627"/>
                  </a:lnTo>
                  <a:lnTo>
                    <a:pt x="1094" y="627"/>
                  </a:lnTo>
                  <a:lnTo>
                    <a:pt x="1096" y="625"/>
                  </a:lnTo>
                  <a:lnTo>
                    <a:pt x="1096" y="625"/>
                  </a:lnTo>
                  <a:lnTo>
                    <a:pt x="1096" y="625"/>
                  </a:lnTo>
                  <a:lnTo>
                    <a:pt x="1098" y="623"/>
                  </a:lnTo>
                  <a:lnTo>
                    <a:pt x="1098" y="623"/>
                  </a:lnTo>
                  <a:lnTo>
                    <a:pt x="1098" y="623"/>
                  </a:lnTo>
                  <a:lnTo>
                    <a:pt x="1098" y="623"/>
                  </a:lnTo>
                  <a:lnTo>
                    <a:pt x="1098" y="621"/>
                  </a:lnTo>
                  <a:lnTo>
                    <a:pt x="1098" y="621"/>
                  </a:lnTo>
                  <a:lnTo>
                    <a:pt x="1100" y="621"/>
                  </a:lnTo>
                  <a:lnTo>
                    <a:pt x="1102" y="621"/>
                  </a:lnTo>
                  <a:lnTo>
                    <a:pt x="1102" y="621"/>
                  </a:lnTo>
                  <a:lnTo>
                    <a:pt x="1102" y="619"/>
                  </a:lnTo>
                  <a:lnTo>
                    <a:pt x="1102" y="619"/>
                  </a:lnTo>
                  <a:lnTo>
                    <a:pt x="1102" y="619"/>
                  </a:lnTo>
                  <a:lnTo>
                    <a:pt x="1102" y="619"/>
                  </a:lnTo>
                  <a:lnTo>
                    <a:pt x="1102" y="619"/>
                  </a:lnTo>
                  <a:lnTo>
                    <a:pt x="1102" y="617"/>
                  </a:lnTo>
                  <a:lnTo>
                    <a:pt x="1102" y="617"/>
                  </a:lnTo>
                  <a:lnTo>
                    <a:pt x="1102" y="617"/>
                  </a:lnTo>
                  <a:lnTo>
                    <a:pt x="1102" y="615"/>
                  </a:lnTo>
                  <a:lnTo>
                    <a:pt x="1100" y="615"/>
                  </a:lnTo>
                  <a:lnTo>
                    <a:pt x="1100" y="615"/>
                  </a:lnTo>
                  <a:lnTo>
                    <a:pt x="1100" y="615"/>
                  </a:lnTo>
                  <a:lnTo>
                    <a:pt x="1102" y="613"/>
                  </a:lnTo>
                  <a:lnTo>
                    <a:pt x="1104" y="611"/>
                  </a:lnTo>
                  <a:lnTo>
                    <a:pt x="1104" y="611"/>
                  </a:lnTo>
                  <a:lnTo>
                    <a:pt x="1104" y="613"/>
                  </a:lnTo>
                  <a:lnTo>
                    <a:pt x="1104" y="615"/>
                  </a:lnTo>
                  <a:lnTo>
                    <a:pt x="1104" y="615"/>
                  </a:lnTo>
                  <a:lnTo>
                    <a:pt x="1104" y="617"/>
                  </a:lnTo>
                  <a:lnTo>
                    <a:pt x="1104" y="617"/>
                  </a:lnTo>
                  <a:lnTo>
                    <a:pt x="1104" y="619"/>
                  </a:lnTo>
                  <a:lnTo>
                    <a:pt x="1104" y="619"/>
                  </a:lnTo>
                  <a:lnTo>
                    <a:pt x="1106" y="619"/>
                  </a:lnTo>
                  <a:lnTo>
                    <a:pt x="1106" y="617"/>
                  </a:lnTo>
                  <a:lnTo>
                    <a:pt x="1106" y="617"/>
                  </a:lnTo>
                  <a:lnTo>
                    <a:pt x="1106" y="615"/>
                  </a:lnTo>
                  <a:lnTo>
                    <a:pt x="1108" y="613"/>
                  </a:lnTo>
                  <a:lnTo>
                    <a:pt x="1108" y="613"/>
                  </a:lnTo>
                  <a:lnTo>
                    <a:pt x="1108" y="611"/>
                  </a:lnTo>
                  <a:lnTo>
                    <a:pt x="1110" y="607"/>
                  </a:lnTo>
                  <a:lnTo>
                    <a:pt x="1110" y="605"/>
                  </a:lnTo>
                  <a:lnTo>
                    <a:pt x="1112" y="605"/>
                  </a:lnTo>
                  <a:lnTo>
                    <a:pt x="1110" y="607"/>
                  </a:lnTo>
                  <a:lnTo>
                    <a:pt x="1110" y="607"/>
                  </a:lnTo>
                  <a:lnTo>
                    <a:pt x="1110" y="609"/>
                  </a:lnTo>
                  <a:lnTo>
                    <a:pt x="1110" y="609"/>
                  </a:lnTo>
                  <a:lnTo>
                    <a:pt x="1110" y="611"/>
                  </a:lnTo>
                  <a:lnTo>
                    <a:pt x="1110" y="611"/>
                  </a:lnTo>
                  <a:lnTo>
                    <a:pt x="1110" y="611"/>
                  </a:lnTo>
                  <a:lnTo>
                    <a:pt x="1110" y="611"/>
                  </a:lnTo>
                  <a:lnTo>
                    <a:pt x="1110" y="613"/>
                  </a:lnTo>
                  <a:lnTo>
                    <a:pt x="1110" y="613"/>
                  </a:lnTo>
                  <a:lnTo>
                    <a:pt x="1110" y="613"/>
                  </a:lnTo>
                  <a:lnTo>
                    <a:pt x="1108" y="613"/>
                  </a:lnTo>
                  <a:lnTo>
                    <a:pt x="1108" y="615"/>
                  </a:lnTo>
                  <a:lnTo>
                    <a:pt x="1108" y="615"/>
                  </a:lnTo>
                  <a:lnTo>
                    <a:pt x="1108" y="615"/>
                  </a:lnTo>
                  <a:lnTo>
                    <a:pt x="1108" y="615"/>
                  </a:lnTo>
                  <a:lnTo>
                    <a:pt x="1108" y="615"/>
                  </a:lnTo>
                  <a:lnTo>
                    <a:pt x="1108" y="617"/>
                  </a:lnTo>
                  <a:lnTo>
                    <a:pt x="1108" y="617"/>
                  </a:lnTo>
                  <a:lnTo>
                    <a:pt x="1108" y="617"/>
                  </a:lnTo>
                  <a:lnTo>
                    <a:pt x="1108" y="617"/>
                  </a:lnTo>
                  <a:lnTo>
                    <a:pt x="1108" y="617"/>
                  </a:lnTo>
                  <a:lnTo>
                    <a:pt x="1108" y="617"/>
                  </a:lnTo>
                  <a:lnTo>
                    <a:pt x="1108" y="617"/>
                  </a:lnTo>
                  <a:lnTo>
                    <a:pt x="1108" y="617"/>
                  </a:lnTo>
                  <a:lnTo>
                    <a:pt x="1108" y="617"/>
                  </a:lnTo>
                  <a:lnTo>
                    <a:pt x="1108" y="619"/>
                  </a:lnTo>
                  <a:lnTo>
                    <a:pt x="1108" y="619"/>
                  </a:lnTo>
                  <a:lnTo>
                    <a:pt x="1110" y="617"/>
                  </a:lnTo>
                  <a:lnTo>
                    <a:pt x="1110" y="617"/>
                  </a:lnTo>
                  <a:lnTo>
                    <a:pt x="1110" y="617"/>
                  </a:lnTo>
                  <a:lnTo>
                    <a:pt x="1112" y="617"/>
                  </a:lnTo>
                  <a:lnTo>
                    <a:pt x="1110" y="615"/>
                  </a:lnTo>
                  <a:lnTo>
                    <a:pt x="1112" y="615"/>
                  </a:lnTo>
                  <a:lnTo>
                    <a:pt x="1112" y="615"/>
                  </a:lnTo>
                  <a:lnTo>
                    <a:pt x="1112" y="613"/>
                  </a:lnTo>
                  <a:lnTo>
                    <a:pt x="1112" y="613"/>
                  </a:lnTo>
                  <a:lnTo>
                    <a:pt x="1112" y="613"/>
                  </a:lnTo>
                  <a:lnTo>
                    <a:pt x="1112" y="611"/>
                  </a:lnTo>
                  <a:lnTo>
                    <a:pt x="1112" y="611"/>
                  </a:lnTo>
                  <a:lnTo>
                    <a:pt x="1114" y="613"/>
                  </a:lnTo>
                  <a:lnTo>
                    <a:pt x="1114" y="613"/>
                  </a:lnTo>
                  <a:lnTo>
                    <a:pt x="1114" y="613"/>
                  </a:lnTo>
                  <a:lnTo>
                    <a:pt x="1114" y="613"/>
                  </a:lnTo>
                  <a:lnTo>
                    <a:pt x="1114" y="611"/>
                  </a:lnTo>
                  <a:lnTo>
                    <a:pt x="1114" y="611"/>
                  </a:lnTo>
                  <a:lnTo>
                    <a:pt x="1114" y="611"/>
                  </a:lnTo>
                  <a:lnTo>
                    <a:pt x="1114" y="609"/>
                  </a:lnTo>
                  <a:lnTo>
                    <a:pt x="1114" y="609"/>
                  </a:lnTo>
                  <a:lnTo>
                    <a:pt x="1114" y="609"/>
                  </a:lnTo>
                  <a:lnTo>
                    <a:pt x="1114" y="607"/>
                  </a:lnTo>
                  <a:lnTo>
                    <a:pt x="1114" y="607"/>
                  </a:lnTo>
                  <a:lnTo>
                    <a:pt x="1114" y="607"/>
                  </a:lnTo>
                  <a:lnTo>
                    <a:pt x="1114" y="607"/>
                  </a:lnTo>
                  <a:lnTo>
                    <a:pt x="1114" y="607"/>
                  </a:lnTo>
                  <a:lnTo>
                    <a:pt x="1114" y="607"/>
                  </a:lnTo>
                  <a:lnTo>
                    <a:pt x="1116" y="607"/>
                  </a:lnTo>
                  <a:lnTo>
                    <a:pt x="1116" y="609"/>
                  </a:lnTo>
                  <a:lnTo>
                    <a:pt x="1116" y="609"/>
                  </a:lnTo>
                  <a:lnTo>
                    <a:pt x="1116" y="609"/>
                  </a:lnTo>
                  <a:lnTo>
                    <a:pt x="1116" y="609"/>
                  </a:lnTo>
                  <a:lnTo>
                    <a:pt x="1118" y="607"/>
                  </a:lnTo>
                  <a:lnTo>
                    <a:pt x="1118" y="605"/>
                  </a:lnTo>
                  <a:lnTo>
                    <a:pt x="1118" y="605"/>
                  </a:lnTo>
                  <a:lnTo>
                    <a:pt x="1118" y="605"/>
                  </a:lnTo>
                  <a:lnTo>
                    <a:pt x="1118" y="605"/>
                  </a:lnTo>
                  <a:lnTo>
                    <a:pt x="1118" y="603"/>
                  </a:lnTo>
                  <a:lnTo>
                    <a:pt x="1118" y="603"/>
                  </a:lnTo>
                  <a:lnTo>
                    <a:pt x="1116" y="603"/>
                  </a:lnTo>
                  <a:lnTo>
                    <a:pt x="1116" y="600"/>
                  </a:lnTo>
                  <a:lnTo>
                    <a:pt x="1116" y="600"/>
                  </a:lnTo>
                  <a:lnTo>
                    <a:pt x="1116" y="600"/>
                  </a:lnTo>
                  <a:lnTo>
                    <a:pt x="1118" y="600"/>
                  </a:lnTo>
                  <a:lnTo>
                    <a:pt x="1118" y="600"/>
                  </a:lnTo>
                  <a:lnTo>
                    <a:pt x="1118" y="603"/>
                  </a:lnTo>
                  <a:lnTo>
                    <a:pt x="1120" y="603"/>
                  </a:lnTo>
                  <a:lnTo>
                    <a:pt x="1120" y="605"/>
                  </a:lnTo>
                  <a:lnTo>
                    <a:pt x="1122" y="605"/>
                  </a:lnTo>
                  <a:lnTo>
                    <a:pt x="1122" y="605"/>
                  </a:lnTo>
                  <a:lnTo>
                    <a:pt x="1122" y="605"/>
                  </a:lnTo>
                  <a:lnTo>
                    <a:pt x="1122" y="607"/>
                  </a:lnTo>
                  <a:lnTo>
                    <a:pt x="1122" y="607"/>
                  </a:lnTo>
                  <a:lnTo>
                    <a:pt x="1122" y="607"/>
                  </a:lnTo>
                  <a:lnTo>
                    <a:pt x="1122" y="607"/>
                  </a:lnTo>
                  <a:lnTo>
                    <a:pt x="1124" y="607"/>
                  </a:lnTo>
                  <a:lnTo>
                    <a:pt x="1124" y="607"/>
                  </a:lnTo>
                  <a:lnTo>
                    <a:pt x="1124" y="607"/>
                  </a:lnTo>
                  <a:lnTo>
                    <a:pt x="1124" y="605"/>
                  </a:lnTo>
                  <a:lnTo>
                    <a:pt x="1122" y="600"/>
                  </a:lnTo>
                  <a:lnTo>
                    <a:pt x="1122" y="600"/>
                  </a:lnTo>
                  <a:lnTo>
                    <a:pt x="1120" y="598"/>
                  </a:lnTo>
                  <a:lnTo>
                    <a:pt x="1120" y="598"/>
                  </a:lnTo>
                  <a:lnTo>
                    <a:pt x="1120" y="598"/>
                  </a:lnTo>
                  <a:lnTo>
                    <a:pt x="1120" y="596"/>
                  </a:lnTo>
                  <a:lnTo>
                    <a:pt x="1120" y="596"/>
                  </a:lnTo>
                  <a:lnTo>
                    <a:pt x="1122" y="598"/>
                  </a:lnTo>
                  <a:lnTo>
                    <a:pt x="1122" y="598"/>
                  </a:lnTo>
                  <a:lnTo>
                    <a:pt x="1122" y="598"/>
                  </a:lnTo>
                  <a:lnTo>
                    <a:pt x="1122" y="596"/>
                  </a:lnTo>
                  <a:lnTo>
                    <a:pt x="1122" y="594"/>
                  </a:lnTo>
                  <a:lnTo>
                    <a:pt x="1122" y="592"/>
                  </a:lnTo>
                  <a:lnTo>
                    <a:pt x="1122" y="592"/>
                  </a:lnTo>
                  <a:lnTo>
                    <a:pt x="1124" y="592"/>
                  </a:lnTo>
                  <a:lnTo>
                    <a:pt x="1124" y="592"/>
                  </a:lnTo>
                  <a:lnTo>
                    <a:pt x="1126" y="594"/>
                  </a:lnTo>
                  <a:lnTo>
                    <a:pt x="1126" y="594"/>
                  </a:lnTo>
                  <a:lnTo>
                    <a:pt x="1126" y="596"/>
                  </a:lnTo>
                  <a:lnTo>
                    <a:pt x="1126" y="598"/>
                  </a:lnTo>
                  <a:lnTo>
                    <a:pt x="1124" y="598"/>
                  </a:lnTo>
                  <a:lnTo>
                    <a:pt x="1124" y="598"/>
                  </a:lnTo>
                  <a:lnTo>
                    <a:pt x="1126" y="600"/>
                  </a:lnTo>
                  <a:lnTo>
                    <a:pt x="1126" y="600"/>
                  </a:lnTo>
                  <a:lnTo>
                    <a:pt x="1126" y="600"/>
                  </a:lnTo>
                  <a:lnTo>
                    <a:pt x="1126" y="600"/>
                  </a:lnTo>
                  <a:lnTo>
                    <a:pt x="1126" y="600"/>
                  </a:lnTo>
                  <a:lnTo>
                    <a:pt x="1126" y="600"/>
                  </a:lnTo>
                  <a:lnTo>
                    <a:pt x="1126" y="600"/>
                  </a:lnTo>
                  <a:lnTo>
                    <a:pt x="1126" y="603"/>
                  </a:lnTo>
                  <a:lnTo>
                    <a:pt x="1129" y="603"/>
                  </a:lnTo>
                  <a:lnTo>
                    <a:pt x="1129" y="603"/>
                  </a:lnTo>
                  <a:lnTo>
                    <a:pt x="1129" y="605"/>
                  </a:lnTo>
                  <a:lnTo>
                    <a:pt x="1129" y="605"/>
                  </a:lnTo>
                  <a:lnTo>
                    <a:pt x="1129" y="605"/>
                  </a:lnTo>
                  <a:lnTo>
                    <a:pt x="1129" y="603"/>
                  </a:lnTo>
                  <a:lnTo>
                    <a:pt x="1129" y="603"/>
                  </a:lnTo>
                  <a:lnTo>
                    <a:pt x="1129" y="603"/>
                  </a:lnTo>
                  <a:lnTo>
                    <a:pt x="1129" y="603"/>
                  </a:lnTo>
                  <a:lnTo>
                    <a:pt x="1129" y="600"/>
                  </a:lnTo>
                  <a:lnTo>
                    <a:pt x="1129" y="600"/>
                  </a:lnTo>
                  <a:lnTo>
                    <a:pt x="1129" y="600"/>
                  </a:lnTo>
                  <a:lnTo>
                    <a:pt x="1129" y="600"/>
                  </a:lnTo>
                  <a:lnTo>
                    <a:pt x="1129" y="600"/>
                  </a:lnTo>
                  <a:lnTo>
                    <a:pt x="1129" y="600"/>
                  </a:lnTo>
                  <a:lnTo>
                    <a:pt x="1126" y="600"/>
                  </a:lnTo>
                  <a:lnTo>
                    <a:pt x="1126" y="598"/>
                  </a:lnTo>
                  <a:lnTo>
                    <a:pt x="1126" y="598"/>
                  </a:lnTo>
                  <a:lnTo>
                    <a:pt x="1126" y="598"/>
                  </a:lnTo>
                  <a:lnTo>
                    <a:pt x="1126" y="598"/>
                  </a:lnTo>
                  <a:lnTo>
                    <a:pt x="1126" y="596"/>
                  </a:lnTo>
                  <a:lnTo>
                    <a:pt x="1126" y="594"/>
                  </a:lnTo>
                  <a:lnTo>
                    <a:pt x="1129" y="594"/>
                  </a:lnTo>
                  <a:lnTo>
                    <a:pt x="1129" y="594"/>
                  </a:lnTo>
                  <a:lnTo>
                    <a:pt x="1129" y="592"/>
                  </a:lnTo>
                  <a:lnTo>
                    <a:pt x="1129" y="592"/>
                  </a:lnTo>
                  <a:lnTo>
                    <a:pt x="1129" y="592"/>
                  </a:lnTo>
                  <a:lnTo>
                    <a:pt x="1131" y="592"/>
                  </a:lnTo>
                  <a:lnTo>
                    <a:pt x="1131" y="592"/>
                  </a:lnTo>
                  <a:lnTo>
                    <a:pt x="1131" y="592"/>
                  </a:lnTo>
                  <a:lnTo>
                    <a:pt x="1131" y="592"/>
                  </a:lnTo>
                  <a:lnTo>
                    <a:pt x="1131" y="590"/>
                  </a:lnTo>
                  <a:lnTo>
                    <a:pt x="1131" y="590"/>
                  </a:lnTo>
                  <a:lnTo>
                    <a:pt x="1131" y="590"/>
                  </a:lnTo>
                  <a:lnTo>
                    <a:pt x="1131" y="590"/>
                  </a:lnTo>
                  <a:lnTo>
                    <a:pt x="1133" y="588"/>
                  </a:lnTo>
                  <a:lnTo>
                    <a:pt x="1131" y="588"/>
                  </a:lnTo>
                  <a:lnTo>
                    <a:pt x="1131" y="588"/>
                  </a:lnTo>
                  <a:lnTo>
                    <a:pt x="1131" y="586"/>
                  </a:lnTo>
                  <a:lnTo>
                    <a:pt x="1131" y="586"/>
                  </a:lnTo>
                  <a:lnTo>
                    <a:pt x="1131" y="584"/>
                  </a:lnTo>
                  <a:lnTo>
                    <a:pt x="1131" y="584"/>
                  </a:lnTo>
                  <a:lnTo>
                    <a:pt x="1131" y="582"/>
                  </a:lnTo>
                  <a:lnTo>
                    <a:pt x="1131" y="582"/>
                  </a:lnTo>
                  <a:lnTo>
                    <a:pt x="1133" y="582"/>
                  </a:lnTo>
                  <a:lnTo>
                    <a:pt x="1133" y="582"/>
                  </a:lnTo>
                  <a:lnTo>
                    <a:pt x="1133" y="584"/>
                  </a:lnTo>
                  <a:lnTo>
                    <a:pt x="1133" y="588"/>
                  </a:lnTo>
                  <a:lnTo>
                    <a:pt x="1135" y="588"/>
                  </a:lnTo>
                  <a:lnTo>
                    <a:pt x="1135" y="588"/>
                  </a:lnTo>
                  <a:lnTo>
                    <a:pt x="1135" y="588"/>
                  </a:lnTo>
                  <a:lnTo>
                    <a:pt x="1135" y="588"/>
                  </a:lnTo>
                  <a:lnTo>
                    <a:pt x="1135" y="588"/>
                  </a:lnTo>
                  <a:lnTo>
                    <a:pt x="1133" y="588"/>
                  </a:lnTo>
                  <a:lnTo>
                    <a:pt x="1133" y="590"/>
                  </a:lnTo>
                  <a:lnTo>
                    <a:pt x="1135" y="590"/>
                  </a:lnTo>
                  <a:lnTo>
                    <a:pt x="1135" y="590"/>
                  </a:lnTo>
                  <a:lnTo>
                    <a:pt x="1135" y="590"/>
                  </a:lnTo>
                  <a:lnTo>
                    <a:pt x="1135" y="590"/>
                  </a:lnTo>
                  <a:lnTo>
                    <a:pt x="1135" y="592"/>
                  </a:lnTo>
                  <a:lnTo>
                    <a:pt x="1135" y="592"/>
                  </a:lnTo>
                  <a:lnTo>
                    <a:pt x="1135" y="594"/>
                  </a:lnTo>
                  <a:lnTo>
                    <a:pt x="1135" y="594"/>
                  </a:lnTo>
                  <a:lnTo>
                    <a:pt x="1135" y="594"/>
                  </a:lnTo>
                  <a:lnTo>
                    <a:pt x="1137" y="594"/>
                  </a:lnTo>
                  <a:lnTo>
                    <a:pt x="1137" y="594"/>
                  </a:lnTo>
                  <a:lnTo>
                    <a:pt x="1137" y="592"/>
                  </a:lnTo>
                  <a:lnTo>
                    <a:pt x="1137" y="592"/>
                  </a:lnTo>
                  <a:lnTo>
                    <a:pt x="1137" y="592"/>
                  </a:lnTo>
                  <a:lnTo>
                    <a:pt x="1137" y="590"/>
                  </a:lnTo>
                  <a:lnTo>
                    <a:pt x="1137" y="590"/>
                  </a:lnTo>
                  <a:lnTo>
                    <a:pt x="1137" y="590"/>
                  </a:lnTo>
                  <a:lnTo>
                    <a:pt x="1137" y="590"/>
                  </a:lnTo>
                  <a:lnTo>
                    <a:pt x="1137" y="588"/>
                  </a:lnTo>
                  <a:lnTo>
                    <a:pt x="1137" y="588"/>
                  </a:lnTo>
                  <a:lnTo>
                    <a:pt x="1137" y="588"/>
                  </a:lnTo>
                  <a:lnTo>
                    <a:pt x="1139" y="586"/>
                  </a:lnTo>
                  <a:lnTo>
                    <a:pt x="1139" y="586"/>
                  </a:lnTo>
                  <a:lnTo>
                    <a:pt x="1141" y="586"/>
                  </a:lnTo>
                  <a:lnTo>
                    <a:pt x="1141" y="586"/>
                  </a:lnTo>
                  <a:lnTo>
                    <a:pt x="1141" y="586"/>
                  </a:lnTo>
                  <a:lnTo>
                    <a:pt x="1139" y="588"/>
                  </a:lnTo>
                  <a:lnTo>
                    <a:pt x="1139" y="588"/>
                  </a:lnTo>
                  <a:lnTo>
                    <a:pt x="1139" y="590"/>
                  </a:lnTo>
                  <a:lnTo>
                    <a:pt x="1141" y="590"/>
                  </a:lnTo>
                  <a:lnTo>
                    <a:pt x="1141" y="588"/>
                  </a:lnTo>
                  <a:lnTo>
                    <a:pt x="1141" y="590"/>
                  </a:lnTo>
                  <a:lnTo>
                    <a:pt x="1143" y="590"/>
                  </a:lnTo>
                  <a:lnTo>
                    <a:pt x="1143" y="590"/>
                  </a:lnTo>
                  <a:lnTo>
                    <a:pt x="1145" y="590"/>
                  </a:lnTo>
                  <a:lnTo>
                    <a:pt x="1145" y="590"/>
                  </a:lnTo>
                  <a:lnTo>
                    <a:pt x="1145" y="590"/>
                  </a:lnTo>
                  <a:lnTo>
                    <a:pt x="1147" y="590"/>
                  </a:lnTo>
                  <a:lnTo>
                    <a:pt x="1147" y="590"/>
                  </a:lnTo>
                  <a:lnTo>
                    <a:pt x="1149" y="590"/>
                  </a:lnTo>
                  <a:lnTo>
                    <a:pt x="1149" y="590"/>
                  </a:lnTo>
                  <a:lnTo>
                    <a:pt x="1149" y="590"/>
                  </a:lnTo>
                  <a:lnTo>
                    <a:pt x="1149" y="590"/>
                  </a:lnTo>
                  <a:lnTo>
                    <a:pt x="1151" y="590"/>
                  </a:lnTo>
                  <a:lnTo>
                    <a:pt x="1151" y="590"/>
                  </a:lnTo>
                  <a:lnTo>
                    <a:pt x="1151" y="590"/>
                  </a:lnTo>
                  <a:lnTo>
                    <a:pt x="1151" y="590"/>
                  </a:lnTo>
                  <a:lnTo>
                    <a:pt x="1151" y="590"/>
                  </a:lnTo>
                  <a:lnTo>
                    <a:pt x="1151" y="590"/>
                  </a:lnTo>
                  <a:lnTo>
                    <a:pt x="1151" y="590"/>
                  </a:lnTo>
                  <a:lnTo>
                    <a:pt x="1151" y="592"/>
                  </a:lnTo>
                  <a:lnTo>
                    <a:pt x="1151" y="592"/>
                  </a:lnTo>
                  <a:lnTo>
                    <a:pt x="1153" y="590"/>
                  </a:lnTo>
                  <a:lnTo>
                    <a:pt x="1153" y="588"/>
                  </a:lnTo>
                  <a:lnTo>
                    <a:pt x="1153" y="588"/>
                  </a:lnTo>
                  <a:lnTo>
                    <a:pt x="1153" y="588"/>
                  </a:lnTo>
                  <a:lnTo>
                    <a:pt x="1153" y="588"/>
                  </a:lnTo>
                  <a:lnTo>
                    <a:pt x="1153" y="586"/>
                  </a:lnTo>
                  <a:lnTo>
                    <a:pt x="1153" y="586"/>
                  </a:lnTo>
                  <a:lnTo>
                    <a:pt x="1155" y="586"/>
                  </a:lnTo>
                  <a:lnTo>
                    <a:pt x="1155" y="586"/>
                  </a:lnTo>
                  <a:lnTo>
                    <a:pt x="1155" y="588"/>
                  </a:lnTo>
                  <a:lnTo>
                    <a:pt x="1157" y="590"/>
                  </a:lnTo>
                  <a:lnTo>
                    <a:pt x="1157" y="588"/>
                  </a:lnTo>
                  <a:lnTo>
                    <a:pt x="1157" y="588"/>
                  </a:lnTo>
                  <a:lnTo>
                    <a:pt x="1157" y="586"/>
                  </a:lnTo>
                  <a:lnTo>
                    <a:pt x="1157" y="586"/>
                  </a:lnTo>
                  <a:lnTo>
                    <a:pt x="1157" y="586"/>
                  </a:lnTo>
                  <a:lnTo>
                    <a:pt x="1157" y="586"/>
                  </a:lnTo>
                  <a:lnTo>
                    <a:pt x="1157" y="586"/>
                  </a:lnTo>
                  <a:lnTo>
                    <a:pt x="1157" y="586"/>
                  </a:lnTo>
                  <a:lnTo>
                    <a:pt x="1157" y="586"/>
                  </a:lnTo>
                  <a:lnTo>
                    <a:pt x="1157" y="584"/>
                  </a:lnTo>
                  <a:lnTo>
                    <a:pt x="1157" y="584"/>
                  </a:lnTo>
                  <a:lnTo>
                    <a:pt x="1157" y="582"/>
                  </a:lnTo>
                  <a:lnTo>
                    <a:pt x="1157" y="580"/>
                  </a:lnTo>
                  <a:lnTo>
                    <a:pt x="1159" y="578"/>
                  </a:lnTo>
                  <a:lnTo>
                    <a:pt x="1159" y="578"/>
                  </a:lnTo>
                  <a:lnTo>
                    <a:pt x="1159" y="578"/>
                  </a:lnTo>
                  <a:lnTo>
                    <a:pt x="1159" y="578"/>
                  </a:lnTo>
                  <a:lnTo>
                    <a:pt x="1159" y="580"/>
                  </a:lnTo>
                  <a:lnTo>
                    <a:pt x="1159" y="580"/>
                  </a:lnTo>
                  <a:lnTo>
                    <a:pt x="1161" y="580"/>
                  </a:lnTo>
                  <a:lnTo>
                    <a:pt x="1163" y="580"/>
                  </a:lnTo>
                  <a:lnTo>
                    <a:pt x="1163" y="578"/>
                  </a:lnTo>
                  <a:lnTo>
                    <a:pt x="1163" y="576"/>
                  </a:lnTo>
                  <a:lnTo>
                    <a:pt x="1163" y="576"/>
                  </a:lnTo>
                  <a:lnTo>
                    <a:pt x="1163" y="574"/>
                  </a:lnTo>
                  <a:lnTo>
                    <a:pt x="1163" y="574"/>
                  </a:lnTo>
                  <a:lnTo>
                    <a:pt x="1163" y="574"/>
                  </a:lnTo>
                  <a:lnTo>
                    <a:pt x="1163" y="574"/>
                  </a:lnTo>
                  <a:lnTo>
                    <a:pt x="1163" y="574"/>
                  </a:lnTo>
                  <a:lnTo>
                    <a:pt x="1163" y="576"/>
                  </a:lnTo>
                  <a:lnTo>
                    <a:pt x="1161" y="578"/>
                  </a:lnTo>
                  <a:lnTo>
                    <a:pt x="1161" y="578"/>
                  </a:lnTo>
                  <a:lnTo>
                    <a:pt x="1161" y="576"/>
                  </a:lnTo>
                  <a:lnTo>
                    <a:pt x="1161" y="576"/>
                  </a:lnTo>
                  <a:lnTo>
                    <a:pt x="1161" y="576"/>
                  </a:lnTo>
                  <a:lnTo>
                    <a:pt x="1161" y="576"/>
                  </a:lnTo>
                  <a:lnTo>
                    <a:pt x="1161" y="574"/>
                  </a:lnTo>
                  <a:lnTo>
                    <a:pt x="1159" y="574"/>
                  </a:lnTo>
                  <a:lnTo>
                    <a:pt x="1161" y="574"/>
                  </a:lnTo>
                  <a:lnTo>
                    <a:pt x="1161" y="574"/>
                  </a:lnTo>
                  <a:lnTo>
                    <a:pt x="1161" y="574"/>
                  </a:lnTo>
                  <a:lnTo>
                    <a:pt x="1161" y="574"/>
                  </a:lnTo>
                  <a:lnTo>
                    <a:pt x="1159" y="574"/>
                  </a:lnTo>
                  <a:lnTo>
                    <a:pt x="1159" y="576"/>
                  </a:lnTo>
                  <a:lnTo>
                    <a:pt x="1157" y="576"/>
                  </a:lnTo>
                  <a:lnTo>
                    <a:pt x="1157" y="576"/>
                  </a:lnTo>
                  <a:lnTo>
                    <a:pt x="1157" y="578"/>
                  </a:lnTo>
                  <a:lnTo>
                    <a:pt x="1155" y="578"/>
                  </a:lnTo>
                  <a:lnTo>
                    <a:pt x="1155" y="576"/>
                  </a:lnTo>
                  <a:lnTo>
                    <a:pt x="1157" y="576"/>
                  </a:lnTo>
                  <a:lnTo>
                    <a:pt x="1157" y="576"/>
                  </a:lnTo>
                  <a:lnTo>
                    <a:pt x="1157" y="576"/>
                  </a:lnTo>
                  <a:lnTo>
                    <a:pt x="1157" y="576"/>
                  </a:lnTo>
                  <a:lnTo>
                    <a:pt x="1157" y="574"/>
                  </a:lnTo>
                  <a:lnTo>
                    <a:pt x="1157" y="574"/>
                  </a:lnTo>
                  <a:lnTo>
                    <a:pt x="1157" y="574"/>
                  </a:lnTo>
                  <a:lnTo>
                    <a:pt x="1157" y="574"/>
                  </a:lnTo>
                  <a:lnTo>
                    <a:pt x="1157" y="572"/>
                  </a:lnTo>
                  <a:lnTo>
                    <a:pt x="1157" y="572"/>
                  </a:lnTo>
                  <a:lnTo>
                    <a:pt x="1157" y="572"/>
                  </a:lnTo>
                  <a:lnTo>
                    <a:pt x="1157" y="572"/>
                  </a:lnTo>
                  <a:lnTo>
                    <a:pt x="1157" y="574"/>
                  </a:lnTo>
                  <a:lnTo>
                    <a:pt x="1157" y="574"/>
                  </a:lnTo>
                  <a:lnTo>
                    <a:pt x="1159" y="574"/>
                  </a:lnTo>
                  <a:lnTo>
                    <a:pt x="1159" y="572"/>
                  </a:lnTo>
                  <a:lnTo>
                    <a:pt x="1159" y="572"/>
                  </a:lnTo>
                  <a:lnTo>
                    <a:pt x="1161" y="572"/>
                  </a:lnTo>
                  <a:lnTo>
                    <a:pt x="1161" y="570"/>
                  </a:lnTo>
                  <a:lnTo>
                    <a:pt x="1161" y="568"/>
                  </a:lnTo>
                  <a:lnTo>
                    <a:pt x="1161" y="568"/>
                  </a:lnTo>
                  <a:lnTo>
                    <a:pt x="1159" y="568"/>
                  </a:lnTo>
                  <a:lnTo>
                    <a:pt x="1159" y="568"/>
                  </a:lnTo>
                  <a:lnTo>
                    <a:pt x="1159" y="568"/>
                  </a:lnTo>
                  <a:lnTo>
                    <a:pt x="1159" y="568"/>
                  </a:lnTo>
                  <a:lnTo>
                    <a:pt x="1159" y="566"/>
                  </a:lnTo>
                  <a:lnTo>
                    <a:pt x="1161" y="568"/>
                  </a:lnTo>
                  <a:lnTo>
                    <a:pt x="1161" y="568"/>
                  </a:lnTo>
                  <a:lnTo>
                    <a:pt x="1161" y="568"/>
                  </a:lnTo>
                  <a:lnTo>
                    <a:pt x="1161" y="568"/>
                  </a:lnTo>
                  <a:lnTo>
                    <a:pt x="1163" y="568"/>
                  </a:lnTo>
                  <a:lnTo>
                    <a:pt x="1163" y="568"/>
                  </a:lnTo>
                  <a:lnTo>
                    <a:pt x="1163" y="566"/>
                  </a:lnTo>
                  <a:lnTo>
                    <a:pt x="1161" y="566"/>
                  </a:lnTo>
                  <a:lnTo>
                    <a:pt x="1161" y="566"/>
                  </a:lnTo>
                  <a:lnTo>
                    <a:pt x="1161" y="566"/>
                  </a:lnTo>
                  <a:lnTo>
                    <a:pt x="1163" y="566"/>
                  </a:lnTo>
                  <a:lnTo>
                    <a:pt x="1163" y="566"/>
                  </a:lnTo>
                  <a:lnTo>
                    <a:pt x="1163" y="564"/>
                  </a:lnTo>
                  <a:lnTo>
                    <a:pt x="1163" y="564"/>
                  </a:lnTo>
                  <a:lnTo>
                    <a:pt x="1165" y="566"/>
                  </a:lnTo>
                  <a:lnTo>
                    <a:pt x="1165" y="566"/>
                  </a:lnTo>
                  <a:lnTo>
                    <a:pt x="1165" y="566"/>
                  </a:lnTo>
                  <a:lnTo>
                    <a:pt x="1165" y="564"/>
                  </a:lnTo>
                  <a:lnTo>
                    <a:pt x="1165" y="564"/>
                  </a:lnTo>
                  <a:lnTo>
                    <a:pt x="1167" y="564"/>
                  </a:lnTo>
                  <a:lnTo>
                    <a:pt x="1167" y="564"/>
                  </a:lnTo>
                  <a:lnTo>
                    <a:pt x="1167" y="562"/>
                  </a:lnTo>
                  <a:lnTo>
                    <a:pt x="1167" y="562"/>
                  </a:lnTo>
                  <a:lnTo>
                    <a:pt x="1167" y="562"/>
                  </a:lnTo>
                  <a:lnTo>
                    <a:pt x="1165" y="562"/>
                  </a:lnTo>
                  <a:lnTo>
                    <a:pt x="1165" y="562"/>
                  </a:lnTo>
                  <a:lnTo>
                    <a:pt x="1165" y="562"/>
                  </a:lnTo>
                  <a:lnTo>
                    <a:pt x="1165" y="562"/>
                  </a:lnTo>
                  <a:lnTo>
                    <a:pt x="1167" y="559"/>
                  </a:lnTo>
                  <a:lnTo>
                    <a:pt x="1167" y="559"/>
                  </a:lnTo>
                  <a:lnTo>
                    <a:pt x="1167" y="559"/>
                  </a:lnTo>
                  <a:lnTo>
                    <a:pt x="1165" y="559"/>
                  </a:lnTo>
                  <a:lnTo>
                    <a:pt x="1165" y="559"/>
                  </a:lnTo>
                  <a:lnTo>
                    <a:pt x="1165" y="559"/>
                  </a:lnTo>
                  <a:lnTo>
                    <a:pt x="1165" y="557"/>
                  </a:lnTo>
                  <a:lnTo>
                    <a:pt x="1165" y="557"/>
                  </a:lnTo>
                  <a:lnTo>
                    <a:pt x="1165" y="557"/>
                  </a:lnTo>
                  <a:lnTo>
                    <a:pt x="1165" y="557"/>
                  </a:lnTo>
                  <a:lnTo>
                    <a:pt x="1165" y="557"/>
                  </a:lnTo>
                  <a:lnTo>
                    <a:pt x="1163" y="557"/>
                  </a:lnTo>
                  <a:lnTo>
                    <a:pt x="1163" y="557"/>
                  </a:lnTo>
                  <a:lnTo>
                    <a:pt x="1163" y="555"/>
                  </a:lnTo>
                  <a:lnTo>
                    <a:pt x="1163" y="555"/>
                  </a:lnTo>
                  <a:lnTo>
                    <a:pt x="1163" y="555"/>
                  </a:lnTo>
                  <a:lnTo>
                    <a:pt x="1163" y="555"/>
                  </a:lnTo>
                  <a:lnTo>
                    <a:pt x="1163" y="555"/>
                  </a:lnTo>
                  <a:lnTo>
                    <a:pt x="1161" y="555"/>
                  </a:lnTo>
                  <a:lnTo>
                    <a:pt x="1161" y="555"/>
                  </a:lnTo>
                  <a:lnTo>
                    <a:pt x="1161" y="557"/>
                  </a:lnTo>
                  <a:lnTo>
                    <a:pt x="1161" y="559"/>
                  </a:lnTo>
                  <a:lnTo>
                    <a:pt x="1161" y="559"/>
                  </a:lnTo>
                  <a:lnTo>
                    <a:pt x="1161" y="559"/>
                  </a:lnTo>
                  <a:lnTo>
                    <a:pt x="1161" y="559"/>
                  </a:lnTo>
                  <a:lnTo>
                    <a:pt x="1161" y="559"/>
                  </a:lnTo>
                  <a:lnTo>
                    <a:pt x="1161" y="557"/>
                  </a:lnTo>
                  <a:lnTo>
                    <a:pt x="1161" y="557"/>
                  </a:lnTo>
                  <a:lnTo>
                    <a:pt x="1161" y="557"/>
                  </a:lnTo>
                  <a:lnTo>
                    <a:pt x="1161" y="557"/>
                  </a:lnTo>
                  <a:lnTo>
                    <a:pt x="1159" y="557"/>
                  </a:lnTo>
                  <a:lnTo>
                    <a:pt x="1159" y="559"/>
                  </a:lnTo>
                  <a:lnTo>
                    <a:pt x="1159" y="559"/>
                  </a:lnTo>
                  <a:lnTo>
                    <a:pt x="1159" y="559"/>
                  </a:lnTo>
                  <a:lnTo>
                    <a:pt x="1159" y="559"/>
                  </a:lnTo>
                  <a:lnTo>
                    <a:pt x="1159" y="559"/>
                  </a:lnTo>
                  <a:lnTo>
                    <a:pt x="1159" y="559"/>
                  </a:lnTo>
                  <a:lnTo>
                    <a:pt x="1159" y="559"/>
                  </a:lnTo>
                  <a:lnTo>
                    <a:pt x="1159" y="559"/>
                  </a:lnTo>
                  <a:lnTo>
                    <a:pt x="1159" y="562"/>
                  </a:lnTo>
                  <a:lnTo>
                    <a:pt x="1159" y="562"/>
                  </a:lnTo>
                  <a:lnTo>
                    <a:pt x="1159" y="562"/>
                  </a:lnTo>
                  <a:lnTo>
                    <a:pt x="1159" y="564"/>
                  </a:lnTo>
                  <a:lnTo>
                    <a:pt x="1159" y="564"/>
                  </a:lnTo>
                  <a:lnTo>
                    <a:pt x="1159" y="562"/>
                  </a:lnTo>
                  <a:lnTo>
                    <a:pt x="1159" y="562"/>
                  </a:lnTo>
                  <a:lnTo>
                    <a:pt x="1157" y="562"/>
                  </a:lnTo>
                  <a:lnTo>
                    <a:pt x="1157" y="562"/>
                  </a:lnTo>
                  <a:lnTo>
                    <a:pt x="1157" y="562"/>
                  </a:lnTo>
                  <a:lnTo>
                    <a:pt x="1157" y="562"/>
                  </a:lnTo>
                  <a:lnTo>
                    <a:pt x="1157" y="562"/>
                  </a:lnTo>
                  <a:lnTo>
                    <a:pt x="1157" y="559"/>
                  </a:lnTo>
                  <a:lnTo>
                    <a:pt x="1157" y="559"/>
                  </a:lnTo>
                  <a:lnTo>
                    <a:pt x="1155" y="562"/>
                  </a:lnTo>
                  <a:lnTo>
                    <a:pt x="1155" y="559"/>
                  </a:lnTo>
                  <a:lnTo>
                    <a:pt x="1155" y="559"/>
                  </a:lnTo>
                  <a:lnTo>
                    <a:pt x="1155" y="559"/>
                  </a:lnTo>
                  <a:lnTo>
                    <a:pt x="1155" y="559"/>
                  </a:lnTo>
                  <a:lnTo>
                    <a:pt x="1155" y="559"/>
                  </a:lnTo>
                  <a:lnTo>
                    <a:pt x="1153" y="559"/>
                  </a:lnTo>
                  <a:lnTo>
                    <a:pt x="1153" y="559"/>
                  </a:lnTo>
                  <a:lnTo>
                    <a:pt x="1151" y="562"/>
                  </a:lnTo>
                  <a:lnTo>
                    <a:pt x="1149" y="562"/>
                  </a:lnTo>
                  <a:lnTo>
                    <a:pt x="1149" y="564"/>
                  </a:lnTo>
                  <a:lnTo>
                    <a:pt x="1149" y="564"/>
                  </a:lnTo>
                  <a:lnTo>
                    <a:pt x="1149" y="564"/>
                  </a:lnTo>
                  <a:lnTo>
                    <a:pt x="1149" y="564"/>
                  </a:lnTo>
                  <a:lnTo>
                    <a:pt x="1149" y="562"/>
                  </a:lnTo>
                  <a:lnTo>
                    <a:pt x="1149" y="562"/>
                  </a:lnTo>
                  <a:lnTo>
                    <a:pt x="1151" y="559"/>
                  </a:lnTo>
                  <a:lnTo>
                    <a:pt x="1151" y="557"/>
                  </a:lnTo>
                  <a:lnTo>
                    <a:pt x="1153" y="557"/>
                  </a:lnTo>
                  <a:lnTo>
                    <a:pt x="1153" y="555"/>
                  </a:lnTo>
                  <a:lnTo>
                    <a:pt x="1153" y="557"/>
                  </a:lnTo>
                  <a:lnTo>
                    <a:pt x="1155" y="557"/>
                  </a:lnTo>
                  <a:lnTo>
                    <a:pt x="1155" y="557"/>
                  </a:lnTo>
                  <a:lnTo>
                    <a:pt x="1155" y="557"/>
                  </a:lnTo>
                  <a:lnTo>
                    <a:pt x="1155" y="557"/>
                  </a:lnTo>
                  <a:lnTo>
                    <a:pt x="1155" y="557"/>
                  </a:lnTo>
                  <a:lnTo>
                    <a:pt x="1157" y="559"/>
                  </a:lnTo>
                  <a:lnTo>
                    <a:pt x="1157" y="557"/>
                  </a:lnTo>
                  <a:lnTo>
                    <a:pt x="1159" y="555"/>
                  </a:lnTo>
                  <a:lnTo>
                    <a:pt x="1159" y="555"/>
                  </a:lnTo>
                  <a:lnTo>
                    <a:pt x="1159" y="555"/>
                  </a:lnTo>
                  <a:lnTo>
                    <a:pt x="1159" y="553"/>
                  </a:lnTo>
                  <a:lnTo>
                    <a:pt x="1159" y="553"/>
                  </a:lnTo>
                  <a:lnTo>
                    <a:pt x="1159" y="553"/>
                  </a:lnTo>
                  <a:lnTo>
                    <a:pt x="1159" y="553"/>
                  </a:lnTo>
                  <a:lnTo>
                    <a:pt x="1159" y="553"/>
                  </a:lnTo>
                  <a:lnTo>
                    <a:pt x="1159" y="551"/>
                  </a:lnTo>
                  <a:lnTo>
                    <a:pt x="1159" y="551"/>
                  </a:lnTo>
                  <a:lnTo>
                    <a:pt x="1159" y="551"/>
                  </a:lnTo>
                  <a:lnTo>
                    <a:pt x="1159" y="551"/>
                  </a:lnTo>
                  <a:lnTo>
                    <a:pt x="1157" y="549"/>
                  </a:lnTo>
                  <a:lnTo>
                    <a:pt x="1157" y="547"/>
                  </a:lnTo>
                  <a:lnTo>
                    <a:pt x="1157" y="547"/>
                  </a:lnTo>
                  <a:lnTo>
                    <a:pt x="1159" y="547"/>
                  </a:lnTo>
                  <a:lnTo>
                    <a:pt x="1159" y="547"/>
                  </a:lnTo>
                  <a:lnTo>
                    <a:pt x="1157" y="547"/>
                  </a:lnTo>
                  <a:lnTo>
                    <a:pt x="1157" y="549"/>
                  </a:lnTo>
                  <a:lnTo>
                    <a:pt x="1155" y="549"/>
                  </a:lnTo>
                  <a:lnTo>
                    <a:pt x="1155" y="551"/>
                  </a:lnTo>
                  <a:lnTo>
                    <a:pt x="1155" y="551"/>
                  </a:lnTo>
                  <a:lnTo>
                    <a:pt x="1155" y="551"/>
                  </a:lnTo>
                  <a:lnTo>
                    <a:pt x="1155" y="553"/>
                  </a:lnTo>
                  <a:lnTo>
                    <a:pt x="1155" y="553"/>
                  </a:lnTo>
                  <a:lnTo>
                    <a:pt x="1155" y="553"/>
                  </a:lnTo>
                  <a:lnTo>
                    <a:pt x="1153" y="553"/>
                  </a:lnTo>
                  <a:lnTo>
                    <a:pt x="1153" y="551"/>
                  </a:lnTo>
                  <a:lnTo>
                    <a:pt x="1153" y="551"/>
                  </a:lnTo>
                  <a:lnTo>
                    <a:pt x="1155" y="551"/>
                  </a:lnTo>
                  <a:lnTo>
                    <a:pt x="1155" y="551"/>
                  </a:lnTo>
                  <a:lnTo>
                    <a:pt x="1155" y="549"/>
                  </a:lnTo>
                  <a:lnTo>
                    <a:pt x="1155" y="549"/>
                  </a:lnTo>
                  <a:lnTo>
                    <a:pt x="1155" y="549"/>
                  </a:lnTo>
                  <a:lnTo>
                    <a:pt x="1155" y="549"/>
                  </a:lnTo>
                  <a:lnTo>
                    <a:pt x="1155" y="547"/>
                  </a:lnTo>
                  <a:lnTo>
                    <a:pt x="1155" y="547"/>
                  </a:lnTo>
                  <a:lnTo>
                    <a:pt x="1155" y="547"/>
                  </a:lnTo>
                  <a:lnTo>
                    <a:pt x="1155" y="547"/>
                  </a:lnTo>
                  <a:lnTo>
                    <a:pt x="1155" y="547"/>
                  </a:lnTo>
                  <a:lnTo>
                    <a:pt x="1155" y="547"/>
                  </a:lnTo>
                  <a:lnTo>
                    <a:pt x="1155" y="547"/>
                  </a:lnTo>
                  <a:lnTo>
                    <a:pt x="1155" y="547"/>
                  </a:lnTo>
                  <a:lnTo>
                    <a:pt x="1153" y="547"/>
                  </a:lnTo>
                  <a:lnTo>
                    <a:pt x="1153" y="547"/>
                  </a:lnTo>
                  <a:lnTo>
                    <a:pt x="1153" y="547"/>
                  </a:lnTo>
                  <a:lnTo>
                    <a:pt x="1153" y="547"/>
                  </a:lnTo>
                  <a:lnTo>
                    <a:pt x="1151" y="547"/>
                  </a:lnTo>
                  <a:lnTo>
                    <a:pt x="1151" y="547"/>
                  </a:lnTo>
                  <a:lnTo>
                    <a:pt x="1151" y="547"/>
                  </a:lnTo>
                  <a:lnTo>
                    <a:pt x="1151" y="549"/>
                  </a:lnTo>
                  <a:lnTo>
                    <a:pt x="1151" y="549"/>
                  </a:lnTo>
                  <a:lnTo>
                    <a:pt x="1149" y="549"/>
                  </a:lnTo>
                  <a:lnTo>
                    <a:pt x="1149" y="549"/>
                  </a:lnTo>
                  <a:lnTo>
                    <a:pt x="1149" y="549"/>
                  </a:lnTo>
                  <a:lnTo>
                    <a:pt x="1149" y="549"/>
                  </a:lnTo>
                  <a:lnTo>
                    <a:pt x="1149" y="551"/>
                  </a:lnTo>
                  <a:lnTo>
                    <a:pt x="1149" y="551"/>
                  </a:lnTo>
                  <a:lnTo>
                    <a:pt x="1149" y="551"/>
                  </a:lnTo>
                  <a:lnTo>
                    <a:pt x="1149" y="551"/>
                  </a:lnTo>
                  <a:lnTo>
                    <a:pt x="1149" y="551"/>
                  </a:lnTo>
                  <a:lnTo>
                    <a:pt x="1147" y="553"/>
                  </a:lnTo>
                  <a:lnTo>
                    <a:pt x="1147" y="553"/>
                  </a:lnTo>
                  <a:lnTo>
                    <a:pt x="1147" y="551"/>
                  </a:lnTo>
                  <a:lnTo>
                    <a:pt x="1147" y="551"/>
                  </a:lnTo>
                  <a:lnTo>
                    <a:pt x="1147" y="551"/>
                  </a:lnTo>
                  <a:lnTo>
                    <a:pt x="1147" y="549"/>
                  </a:lnTo>
                  <a:lnTo>
                    <a:pt x="1147" y="549"/>
                  </a:lnTo>
                  <a:lnTo>
                    <a:pt x="1149" y="549"/>
                  </a:lnTo>
                  <a:lnTo>
                    <a:pt x="1149" y="547"/>
                  </a:lnTo>
                  <a:lnTo>
                    <a:pt x="1149" y="547"/>
                  </a:lnTo>
                  <a:lnTo>
                    <a:pt x="1151" y="545"/>
                  </a:lnTo>
                  <a:lnTo>
                    <a:pt x="1153" y="545"/>
                  </a:lnTo>
                  <a:lnTo>
                    <a:pt x="1153" y="545"/>
                  </a:lnTo>
                  <a:lnTo>
                    <a:pt x="1151" y="545"/>
                  </a:lnTo>
                  <a:lnTo>
                    <a:pt x="1151" y="545"/>
                  </a:lnTo>
                  <a:lnTo>
                    <a:pt x="1151" y="545"/>
                  </a:lnTo>
                  <a:lnTo>
                    <a:pt x="1151" y="545"/>
                  </a:lnTo>
                  <a:lnTo>
                    <a:pt x="1149" y="545"/>
                  </a:lnTo>
                  <a:lnTo>
                    <a:pt x="1149" y="545"/>
                  </a:lnTo>
                  <a:lnTo>
                    <a:pt x="1149" y="545"/>
                  </a:lnTo>
                  <a:lnTo>
                    <a:pt x="1149" y="545"/>
                  </a:lnTo>
                  <a:lnTo>
                    <a:pt x="1147" y="547"/>
                  </a:lnTo>
                  <a:lnTo>
                    <a:pt x="1147" y="547"/>
                  </a:lnTo>
                  <a:lnTo>
                    <a:pt x="1149" y="543"/>
                  </a:lnTo>
                  <a:lnTo>
                    <a:pt x="1151" y="543"/>
                  </a:lnTo>
                  <a:lnTo>
                    <a:pt x="1153" y="543"/>
                  </a:lnTo>
                  <a:lnTo>
                    <a:pt x="1153" y="543"/>
                  </a:lnTo>
                  <a:lnTo>
                    <a:pt x="1155" y="545"/>
                  </a:lnTo>
                  <a:lnTo>
                    <a:pt x="1155" y="545"/>
                  </a:lnTo>
                  <a:lnTo>
                    <a:pt x="1155" y="545"/>
                  </a:lnTo>
                  <a:lnTo>
                    <a:pt x="1155" y="543"/>
                  </a:lnTo>
                  <a:lnTo>
                    <a:pt x="1153" y="543"/>
                  </a:lnTo>
                  <a:lnTo>
                    <a:pt x="1155" y="543"/>
                  </a:lnTo>
                  <a:lnTo>
                    <a:pt x="1155" y="543"/>
                  </a:lnTo>
                  <a:lnTo>
                    <a:pt x="1155" y="543"/>
                  </a:lnTo>
                  <a:lnTo>
                    <a:pt x="1155" y="543"/>
                  </a:lnTo>
                  <a:lnTo>
                    <a:pt x="1155" y="541"/>
                  </a:lnTo>
                  <a:lnTo>
                    <a:pt x="1155" y="541"/>
                  </a:lnTo>
                  <a:lnTo>
                    <a:pt x="1155" y="541"/>
                  </a:lnTo>
                  <a:lnTo>
                    <a:pt x="1155" y="539"/>
                  </a:lnTo>
                  <a:lnTo>
                    <a:pt x="1157" y="539"/>
                  </a:lnTo>
                  <a:lnTo>
                    <a:pt x="1157" y="539"/>
                  </a:lnTo>
                  <a:lnTo>
                    <a:pt x="1157" y="539"/>
                  </a:lnTo>
                  <a:lnTo>
                    <a:pt x="1155" y="537"/>
                  </a:lnTo>
                  <a:lnTo>
                    <a:pt x="1155" y="537"/>
                  </a:lnTo>
                  <a:lnTo>
                    <a:pt x="1155" y="537"/>
                  </a:lnTo>
                  <a:lnTo>
                    <a:pt x="1157" y="537"/>
                  </a:lnTo>
                  <a:lnTo>
                    <a:pt x="1157" y="537"/>
                  </a:lnTo>
                  <a:lnTo>
                    <a:pt x="1157" y="537"/>
                  </a:lnTo>
                  <a:lnTo>
                    <a:pt x="1157" y="535"/>
                  </a:lnTo>
                  <a:lnTo>
                    <a:pt x="1157" y="535"/>
                  </a:lnTo>
                  <a:lnTo>
                    <a:pt x="1159" y="533"/>
                  </a:lnTo>
                  <a:lnTo>
                    <a:pt x="1159" y="533"/>
                  </a:lnTo>
                  <a:lnTo>
                    <a:pt x="1159" y="533"/>
                  </a:lnTo>
                  <a:lnTo>
                    <a:pt x="1159" y="531"/>
                  </a:lnTo>
                  <a:lnTo>
                    <a:pt x="1159" y="531"/>
                  </a:lnTo>
                  <a:lnTo>
                    <a:pt x="1159" y="531"/>
                  </a:lnTo>
                  <a:lnTo>
                    <a:pt x="1157" y="531"/>
                  </a:lnTo>
                  <a:lnTo>
                    <a:pt x="1155" y="531"/>
                  </a:lnTo>
                  <a:lnTo>
                    <a:pt x="1155" y="533"/>
                  </a:lnTo>
                  <a:lnTo>
                    <a:pt x="1153" y="535"/>
                  </a:lnTo>
                  <a:lnTo>
                    <a:pt x="1153" y="535"/>
                  </a:lnTo>
                  <a:lnTo>
                    <a:pt x="1151" y="535"/>
                  </a:lnTo>
                  <a:lnTo>
                    <a:pt x="1151" y="535"/>
                  </a:lnTo>
                  <a:lnTo>
                    <a:pt x="1153" y="535"/>
                  </a:lnTo>
                  <a:lnTo>
                    <a:pt x="1153" y="535"/>
                  </a:lnTo>
                  <a:lnTo>
                    <a:pt x="1153" y="533"/>
                  </a:lnTo>
                  <a:lnTo>
                    <a:pt x="1153" y="533"/>
                  </a:lnTo>
                  <a:lnTo>
                    <a:pt x="1153" y="533"/>
                  </a:lnTo>
                  <a:lnTo>
                    <a:pt x="1153" y="533"/>
                  </a:lnTo>
                  <a:lnTo>
                    <a:pt x="1153" y="533"/>
                  </a:lnTo>
                  <a:lnTo>
                    <a:pt x="1153" y="531"/>
                  </a:lnTo>
                  <a:lnTo>
                    <a:pt x="1153" y="531"/>
                  </a:lnTo>
                  <a:lnTo>
                    <a:pt x="1155" y="531"/>
                  </a:lnTo>
                  <a:lnTo>
                    <a:pt x="1155" y="531"/>
                  </a:lnTo>
                  <a:lnTo>
                    <a:pt x="1157" y="529"/>
                  </a:lnTo>
                  <a:lnTo>
                    <a:pt x="1157" y="529"/>
                  </a:lnTo>
                  <a:lnTo>
                    <a:pt x="1159" y="529"/>
                  </a:lnTo>
                  <a:lnTo>
                    <a:pt x="1159" y="529"/>
                  </a:lnTo>
                  <a:lnTo>
                    <a:pt x="1159" y="529"/>
                  </a:lnTo>
                  <a:lnTo>
                    <a:pt x="1159" y="529"/>
                  </a:lnTo>
                  <a:lnTo>
                    <a:pt x="1159" y="529"/>
                  </a:lnTo>
                  <a:lnTo>
                    <a:pt x="1159" y="531"/>
                  </a:lnTo>
                  <a:lnTo>
                    <a:pt x="1159" y="531"/>
                  </a:lnTo>
                  <a:lnTo>
                    <a:pt x="1161" y="533"/>
                  </a:lnTo>
                  <a:lnTo>
                    <a:pt x="1161" y="533"/>
                  </a:lnTo>
                  <a:lnTo>
                    <a:pt x="1161" y="533"/>
                  </a:lnTo>
                  <a:lnTo>
                    <a:pt x="1161" y="533"/>
                  </a:lnTo>
                  <a:lnTo>
                    <a:pt x="1161" y="533"/>
                  </a:lnTo>
                  <a:lnTo>
                    <a:pt x="1163" y="533"/>
                  </a:lnTo>
                  <a:lnTo>
                    <a:pt x="1163" y="531"/>
                  </a:lnTo>
                  <a:lnTo>
                    <a:pt x="1163" y="529"/>
                  </a:lnTo>
                  <a:lnTo>
                    <a:pt x="1165" y="525"/>
                  </a:lnTo>
                  <a:lnTo>
                    <a:pt x="1165" y="525"/>
                  </a:lnTo>
                  <a:lnTo>
                    <a:pt x="1165" y="525"/>
                  </a:lnTo>
                  <a:lnTo>
                    <a:pt x="1165" y="523"/>
                  </a:lnTo>
                  <a:lnTo>
                    <a:pt x="1167" y="521"/>
                  </a:lnTo>
                  <a:lnTo>
                    <a:pt x="1167" y="521"/>
                  </a:lnTo>
                  <a:lnTo>
                    <a:pt x="1167" y="518"/>
                  </a:lnTo>
                  <a:lnTo>
                    <a:pt x="1169" y="518"/>
                  </a:lnTo>
                  <a:lnTo>
                    <a:pt x="1169" y="518"/>
                  </a:lnTo>
                  <a:lnTo>
                    <a:pt x="1169" y="521"/>
                  </a:lnTo>
                  <a:lnTo>
                    <a:pt x="1167" y="523"/>
                  </a:lnTo>
                  <a:lnTo>
                    <a:pt x="1167" y="523"/>
                  </a:lnTo>
                  <a:lnTo>
                    <a:pt x="1169" y="523"/>
                  </a:lnTo>
                  <a:lnTo>
                    <a:pt x="1169" y="521"/>
                  </a:lnTo>
                  <a:lnTo>
                    <a:pt x="1169" y="523"/>
                  </a:lnTo>
                  <a:lnTo>
                    <a:pt x="1169" y="523"/>
                  </a:lnTo>
                  <a:lnTo>
                    <a:pt x="1167" y="523"/>
                  </a:lnTo>
                  <a:lnTo>
                    <a:pt x="1167" y="525"/>
                  </a:lnTo>
                  <a:lnTo>
                    <a:pt x="1167" y="525"/>
                  </a:lnTo>
                  <a:lnTo>
                    <a:pt x="1167" y="527"/>
                  </a:lnTo>
                  <a:lnTo>
                    <a:pt x="1165" y="527"/>
                  </a:lnTo>
                  <a:lnTo>
                    <a:pt x="1165" y="527"/>
                  </a:lnTo>
                  <a:lnTo>
                    <a:pt x="1165" y="529"/>
                  </a:lnTo>
                  <a:lnTo>
                    <a:pt x="1165" y="531"/>
                  </a:lnTo>
                  <a:lnTo>
                    <a:pt x="1165" y="531"/>
                  </a:lnTo>
                  <a:lnTo>
                    <a:pt x="1165" y="531"/>
                  </a:lnTo>
                  <a:lnTo>
                    <a:pt x="1165" y="531"/>
                  </a:lnTo>
                  <a:lnTo>
                    <a:pt x="1165" y="533"/>
                  </a:lnTo>
                  <a:lnTo>
                    <a:pt x="1163" y="533"/>
                  </a:lnTo>
                  <a:lnTo>
                    <a:pt x="1163" y="533"/>
                  </a:lnTo>
                  <a:lnTo>
                    <a:pt x="1163" y="533"/>
                  </a:lnTo>
                  <a:lnTo>
                    <a:pt x="1163" y="535"/>
                  </a:lnTo>
                  <a:lnTo>
                    <a:pt x="1163" y="535"/>
                  </a:lnTo>
                  <a:lnTo>
                    <a:pt x="1163" y="535"/>
                  </a:lnTo>
                  <a:lnTo>
                    <a:pt x="1163" y="535"/>
                  </a:lnTo>
                  <a:lnTo>
                    <a:pt x="1163" y="535"/>
                  </a:lnTo>
                  <a:lnTo>
                    <a:pt x="1163" y="537"/>
                  </a:lnTo>
                  <a:lnTo>
                    <a:pt x="1161" y="537"/>
                  </a:lnTo>
                  <a:lnTo>
                    <a:pt x="1163" y="537"/>
                  </a:lnTo>
                  <a:lnTo>
                    <a:pt x="1163" y="537"/>
                  </a:lnTo>
                  <a:lnTo>
                    <a:pt x="1165" y="539"/>
                  </a:lnTo>
                  <a:lnTo>
                    <a:pt x="1165" y="539"/>
                  </a:lnTo>
                  <a:lnTo>
                    <a:pt x="1165" y="539"/>
                  </a:lnTo>
                  <a:lnTo>
                    <a:pt x="1165" y="539"/>
                  </a:lnTo>
                  <a:lnTo>
                    <a:pt x="1165" y="541"/>
                  </a:lnTo>
                  <a:lnTo>
                    <a:pt x="1165" y="541"/>
                  </a:lnTo>
                  <a:lnTo>
                    <a:pt x="1167" y="541"/>
                  </a:lnTo>
                  <a:lnTo>
                    <a:pt x="1167" y="543"/>
                  </a:lnTo>
                  <a:lnTo>
                    <a:pt x="1169" y="543"/>
                  </a:lnTo>
                  <a:lnTo>
                    <a:pt x="1169" y="543"/>
                  </a:lnTo>
                  <a:lnTo>
                    <a:pt x="1169" y="541"/>
                  </a:lnTo>
                  <a:lnTo>
                    <a:pt x="1169" y="541"/>
                  </a:lnTo>
                  <a:lnTo>
                    <a:pt x="1169" y="541"/>
                  </a:lnTo>
                  <a:lnTo>
                    <a:pt x="1169" y="541"/>
                  </a:lnTo>
                  <a:lnTo>
                    <a:pt x="1169" y="541"/>
                  </a:lnTo>
                  <a:lnTo>
                    <a:pt x="1169" y="541"/>
                  </a:lnTo>
                  <a:lnTo>
                    <a:pt x="1169" y="541"/>
                  </a:lnTo>
                  <a:lnTo>
                    <a:pt x="1167" y="541"/>
                  </a:lnTo>
                  <a:lnTo>
                    <a:pt x="1169" y="539"/>
                  </a:lnTo>
                  <a:lnTo>
                    <a:pt x="1169" y="539"/>
                  </a:lnTo>
                  <a:lnTo>
                    <a:pt x="1169" y="537"/>
                  </a:lnTo>
                  <a:lnTo>
                    <a:pt x="1169" y="537"/>
                  </a:lnTo>
                  <a:lnTo>
                    <a:pt x="1169" y="537"/>
                  </a:lnTo>
                  <a:lnTo>
                    <a:pt x="1169" y="537"/>
                  </a:lnTo>
                  <a:lnTo>
                    <a:pt x="1169" y="537"/>
                  </a:lnTo>
                  <a:lnTo>
                    <a:pt x="1169" y="537"/>
                  </a:lnTo>
                  <a:lnTo>
                    <a:pt x="1172" y="535"/>
                  </a:lnTo>
                  <a:lnTo>
                    <a:pt x="1172" y="537"/>
                  </a:lnTo>
                  <a:lnTo>
                    <a:pt x="1172" y="537"/>
                  </a:lnTo>
                  <a:lnTo>
                    <a:pt x="1169" y="537"/>
                  </a:lnTo>
                  <a:lnTo>
                    <a:pt x="1169" y="539"/>
                  </a:lnTo>
                  <a:lnTo>
                    <a:pt x="1169" y="539"/>
                  </a:lnTo>
                  <a:lnTo>
                    <a:pt x="1172" y="539"/>
                  </a:lnTo>
                  <a:lnTo>
                    <a:pt x="1172" y="539"/>
                  </a:lnTo>
                  <a:lnTo>
                    <a:pt x="1172" y="539"/>
                  </a:lnTo>
                  <a:lnTo>
                    <a:pt x="1172" y="541"/>
                  </a:lnTo>
                  <a:lnTo>
                    <a:pt x="1172" y="541"/>
                  </a:lnTo>
                  <a:lnTo>
                    <a:pt x="1174" y="541"/>
                  </a:lnTo>
                  <a:lnTo>
                    <a:pt x="1174" y="539"/>
                  </a:lnTo>
                  <a:lnTo>
                    <a:pt x="1174" y="539"/>
                  </a:lnTo>
                  <a:lnTo>
                    <a:pt x="1174" y="537"/>
                  </a:lnTo>
                  <a:lnTo>
                    <a:pt x="1174" y="537"/>
                  </a:lnTo>
                  <a:lnTo>
                    <a:pt x="1174" y="535"/>
                  </a:lnTo>
                  <a:lnTo>
                    <a:pt x="1174" y="535"/>
                  </a:lnTo>
                  <a:lnTo>
                    <a:pt x="1174" y="535"/>
                  </a:lnTo>
                  <a:lnTo>
                    <a:pt x="1174" y="535"/>
                  </a:lnTo>
                  <a:lnTo>
                    <a:pt x="1174" y="535"/>
                  </a:lnTo>
                  <a:lnTo>
                    <a:pt x="1172" y="535"/>
                  </a:lnTo>
                  <a:lnTo>
                    <a:pt x="1172" y="535"/>
                  </a:lnTo>
                  <a:lnTo>
                    <a:pt x="1174" y="533"/>
                  </a:lnTo>
                  <a:lnTo>
                    <a:pt x="1174" y="533"/>
                  </a:lnTo>
                  <a:lnTo>
                    <a:pt x="1174" y="533"/>
                  </a:lnTo>
                  <a:lnTo>
                    <a:pt x="1174" y="533"/>
                  </a:lnTo>
                  <a:lnTo>
                    <a:pt x="1174" y="533"/>
                  </a:lnTo>
                  <a:lnTo>
                    <a:pt x="1174" y="533"/>
                  </a:lnTo>
                  <a:lnTo>
                    <a:pt x="1174" y="533"/>
                  </a:lnTo>
                  <a:lnTo>
                    <a:pt x="1172" y="533"/>
                  </a:lnTo>
                  <a:lnTo>
                    <a:pt x="1172" y="533"/>
                  </a:lnTo>
                  <a:lnTo>
                    <a:pt x="1172" y="533"/>
                  </a:lnTo>
                  <a:lnTo>
                    <a:pt x="1172" y="533"/>
                  </a:lnTo>
                  <a:lnTo>
                    <a:pt x="1172" y="531"/>
                  </a:lnTo>
                  <a:lnTo>
                    <a:pt x="1174" y="531"/>
                  </a:lnTo>
                  <a:lnTo>
                    <a:pt x="1174" y="531"/>
                  </a:lnTo>
                  <a:lnTo>
                    <a:pt x="1174" y="529"/>
                  </a:lnTo>
                  <a:lnTo>
                    <a:pt x="1174" y="527"/>
                  </a:lnTo>
                  <a:lnTo>
                    <a:pt x="1174" y="527"/>
                  </a:lnTo>
                  <a:lnTo>
                    <a:pt x="1174" y="527"/>
                  </a:lnTo>
                  <a:lnTo>
                    <a:pt x="1174" y="527"/>
                  </a:lnTo>
                  <a:lnTo>
                    <a:pt x="1174" y="525"/>
                  </a:lnTo>
                  <a:lnTo>
                    <a:pt x="1174" y="525"/>
                  </a:lnTo>
                  <a:lnTo>
                    <a:pt x="1174" y="525"/>
                  </a:lnTo>
                  <a:lnTo>
                    <a:pt x="1174" y="525"/>
                  </a:lnTo>
                  <a:lnTo>
                    <a:pt x="1176" y="525"/>
                  </a:lnTo>
                  <a:lnTo>
                    <a:pt x="1174" y="525"/>
                  </a:lnTo>
                  <a:lnTo>
                    <a:pt x="1174" y="527"/>
                  </a:lnTo>
                  <a:lnTo>
                    <a:pt x="1174" y="527"/>
                  </a:lnTo>
                  <a:lnTo>
                    <a:pt x="1176" y="529"/>
                  </a:lnTo>
                  <a:lnTo>
                    <a:pt x="1176" y="529"/>
                  </a:lnTo>
                  <a:lnTo>
                    <a:pt x="1176" y="529"/>
                  </a:lnTo>
                  <a:lnTo>
                    <a:pt x="1176" y="529"/>
                  </a:lnTo>
                  <a:lnTo>
                    <a:pt x="1176" y="529"/>
                  </a:lnTo>
                  <a:lnTo>
                    <a:pt x="1176" y="529"/>
                  </a:lnTo>
                  <a:lnTo>
                    <a:pt x="1176" y="529"/>
                  </a:lnTo>
                  <a:lnTo>
                    <a:pt x="1174" y="531"/>
                  </a:lnTo>
                  <a:lnTo>
                    <a:pt x="1176" y="531"/>
                  </a:lnTo>
                  <a:lnTo>
                    <a:pt x="1176" y="533"/>
                  </a:lnTo>
                  <a:lnTo>
                    <a:pt x="1176" y="533"/>
                  </a:lnTo>
                  <a:lnTo>
                    <a:pt x="1176" y="533"/>
                  </a:lnTo>
                  <a:lnTo>
                    <a:pt x="1176" y="537"/>
                  </a:lnTo>
                  <a:lnTo>
                    <a:pt x="1176" y="537"/>
                  </a:lnTo>
                  <a:lnTo>
                    <a:pt x="1176" y="537"/>
                  </a:lnTo>
                  <a:lnTo>
                    <a:pt x="1176" y="535"/>
                  </a:lnTo>
                  <a:lnTo>
                    <a:pt x="1176" y="533"/>
                  </a:lnTo>
                  <a:lnTo>
                    <a:pt x="1178" y="533"/>
                  </a:lnTo>
                  <a:lnTo>
                    <a:pt x="1178" y="533"/>
                  </a:lnTo>
                  <a:lnTo>
                    <a:pt x="1178" y="533"/>
                  </a:lnTo>
                  <a:lnTo>
                    <a:pt x="1178" y="533"/>
                  </a:lnTo>
                  <a:lnTo>
                    <a:pt x="1178" y="535"/>
                  </a:lnTo>
                  <a:lnTo>
                    <a:pt x="1178" y="535"/>
                  </a:lnTo>
                  <a:lnTo>
                    <a:pt x="1178" y="535"/>
                  </a:lnTo>
                  <a:lnTo>
                    <a:pt x="1178" y="533"/>
                  </a:lnTo>
                  <a:lnTo>
                    <a:pt x="1178" y="533"/>
                  </a:lnTo>
                  <a:lnTo>
                    <a:pt x="1180" y="533"/>
                  </a:lnTo>
                  <a:lnTo>
                    <a:pt x="1178" y="537"/>
                  </a:lnTo>
                  <a:lnTo>
                    <a:pt x="1178" y="537"/>
                  </a:lnTo>
                  <a:lnTo>
                    <a:pt x="1178" y="537"/>
                  </a:lnTo>
                  <a:lnTo>
                    <a:pt x="1178" y="537"/>
                  </a:lnTo>
                  <a:lnTo>
                    <a:pt x="1180" y="537"/>
                  </a:lnTo>
                  <a:lnTo>
                    <a:pt x="1180" y="537"/>
                  </a:lnTo>
                  <a:lnTo>
                    <a:pt x="1180" y="539"/>
                  </a:lnTo>
                  <a:lnTo>
                    <a:pt x="1180" y="537"/>
                  </a:lnTo>
                  <a:lnTo>
                    <a:pt x="1182" y="537"/>
                  </a:lnTo>
                  <a:lnTo>
                    <a:pt x="1180" y="537"/>
                  </a:lnTo>
                  <a:lnTo>
                    <a:pt x="1182" y="535"/>
                  </a:lnTo>
                  <a:lnTo>
                    <a:pt x="1182" y="535"/>
                  </a:lnTo>
                  <a:lnTo>
                    <a:pt x="1182" y="535"/>
                  </a:lnTo>
                  <a:lnTo>
                    <a:pt x="1182" y="535"/>
                  </a:lnTo>
                  <a:lnTo>
                    <a:pt x="1182" y="533"/>
                  </a:lnTo>
                  <a:lnTo>
                    <a:pt x="1182" y="533"/>
                  </a:lnTo>
                  <a:lnTo>
                    <a:pt x="1182" y="533"/>
                  </a:lnTo>
                  <a:lnTo>
                    <a:pt x="1182" y="533"/>
                  </a:lnTo>
                  <a:lnTo>
                    <a:pt x="1182" y="533"/>
                  </a:lnTo>
                  <a:lnTo>
                    <a:pt x="1182" y="533"/>
                  </a:lnTo>
                  <a:lnTo>
                    <a:pt x="1184" y="531"/>
                  </a:lnTo>
                  <a:lnTo>
                    <a:pt x="1184" y="531"/>
                  </a:lnTo>
                  <a:lnTo>
                    <a:pt x="1184" y="531"/>
                  </a:lnTo>
                  <a:lnTo>
                    <a:pt x="1184" y="533"/>
                  </a:lnTo>
                  <a:lnTo>
                    <a:pt x="1184" y="533"/>
                  </a:lnTo>
                  <a:lnTo>
                    <a:pt x="1184" y="535"/>
                  </a:lnTo>
                  <a:lnTo>
                    <a:pt x="1184" y="535"/>
                  </a:lnTo>
                  <a:lnTo>
                    <a:pt x="1184" y="535"/>
                  </a:lnTo>
                  <a:lnTo>
                    <a:pt x="1184" y="535"/>
                  </a:lnTo>
                  <a:lnTo>
                    <a:pt x="1184" y="533"/>
                  </a:lnTo>
                  <a:lnTo>
                    <a:pt x="1184" y="533"/>
                  </a:lnTo>
                  <a:lnTo>
                    <a:pt x="1184" y="533"/>
                  </a:lnTo>
                  <a:lnTo>
                    <a:pt x="1186" y="531"/>
                  </a:lnTo>
                  <a:lnTo>
                    <a:pt x="1186" y="531"/>
                  </a:lnTo>
                  <a:lnTo>
                    <a:pt x="1186" y="531"/>
                  </a:lnTo>
                  <a:lnTo>
                    <a:pt x="1188" y="531"/>
                  </a:lnTo>
                  <a:lnTo>
                    <a:pt x="1188" y="531"/>
                  </a:lnTo>
                  <a:lnTo>
                    <a:pt x="1188" y="533"/>
                  </a:lnTo>
                  <a:lnTo>
                    <a:pt x="1186" y="533"/>
                  </a:lnTo>
                  <a:lnTo>
                    <a:pt x="1188" y="533"/>
                  </a:lnTo>
                  <a:lnTo>
                    <a:pt x="1188" y="533"/>
                  </a:lnTo>
                  <a:lnTo>
                    <a:pt x="1188" y="533"/>
                  </a:lnTo>
                  <a:lnTo>
                    <a:pt x="1188" y="533"/>
                  </a:lnTo>
                  <a:lnTo>
                    <a:pt x="1188" y="531"/>
                  </a:lnTo>
                  <a:lnTo>
                    <a:pt x="1188" y="531"/>
                  </a:lnTo>
                  <a:lnTo>
                    <a:pt x="1188" y="531"/>
                  </a:lnTo>
                  <a:lnTo>
                    <a:pt x="1188" y="531"/>
                  </a:lnTo>
                  <a:lnTo>
                    <a:pt x="1188" y="531"/>
                  </a:lnTo>
                  <a:lnTo>
                    <a:pt x="1188" y="531"/>
                  </a:lnTo>
                  <a:lnTo>
                    <a:pt x="1188" y="533"/>
                  </a:lnTo>
                  <a:lnTo>
                    <a:pt x="1188" y="533"/>
                  </a:lnTo>
                  <a:lnTo>
                    <a:pt x="1188" y="535"/>
                  </a:lnTo>
                  <a:lnTo>
                    <a:pt x="1190" y="535"/>
                  </a:lnTo>
                  <a:lnTo>
                    <a:pt x="1190" y="535"/>
                  </a:lnTo>
                  <a:lnTo>
                    <a:pt x="1190" y="533"/>
                  </a:lnTo>
                  <a:lnTo>
                    <a:pt x="1192" y="533"/>
                  </a:lnTo>
                  <a:lnTo>
                    <a:pt x="1192" y="533"/>
                  </a:lnTo>
                  <a:lnTo>
                    <a:pt x="1192" y="531"/>
                  </a:lnTo>
                  <a:lnTo>
                    <a:pt x="1192" y="529"/>
                  </a:lnTo>
                  <a:lnTo>
                    <a:pt x="1194" y="527"/>
                  </a:lnTo>
                  <a:lnTo>
                    <a:pt x="1196" y="527"/>
                  </a:lnTo>
                  <a:lnTo>
                    <a:pt x="1196" y="525"/>
                  </a:lnTo>
                  <a:lnTo>
                    <a:pt x="1198" y="525"/>
                  </a:lnTo>
                  <a:lnTo>
                    <a:pt x="1198" y="523"/>
                  </a:lnTo>
                  <a:lnTo>
                    <a:pt x="1200" y="523"/>
                  </a:lnTo>
                  <a:lnTo>
                    <a:pt x="1202" y="523"/>
                  </a:lnTo>
                  <a:lnTo>
                    <a:pt x="1202" y="523"/>
                  </a:lnTo>
                  <a:lnTo>
                    <a:pt x="1204" y="523"/>
                  </a:lnTo>
                  <a:lnTo>
                    <a:pt x="1204" y="523"/>
                  </a:lnTo>
                  <a:lnTo>
                    <a:pt x="1206" y="523"/>
                  </a:lnTo>
                  <a:lnTo>
                    <a:pt x="1206" y="525"/>
                  </a:lnTo>
                  <a:lnTo>
                    <a:pt x="1206" y="525"/>
                  </a:lnTo>
                  <a:lnTo>
                    <a:pt x="1198" y="527"/>
                  </a:lnTo>
                  <a:lnTo>
                    <a:pt x="1196" y="527"/>
                  </a:lnTo>
                  <a:lnTo>
                    <a:pt x="1196" y="527"/>
                  </a:lnTo>
                  <a:lnTo>
                    <a:pt x="1198" y="527"/>
                  </a:lnTo>
                  <a:lnTo>
                    <a:pt x="1198" y="529"/>
                  </a:lnTo>
                  <a:lnTo>
                    <a:pt x="1198" y="529"/>
                  </a:lnTo>
                  <a:lnTo>
                    <a:pt x="1198" y="529"/>
                  </a:lnTo>
                  <a:lnTo>
                    <a:pt x="1198" y="529"/>
                  </a:lnTo>
                  <a:lnTo>
                    <a:pt x="1198" y="529"/>
                  </a:lnTo>
                  <a:lnTo>
                    <a:pt x="1196" y="529"/>
                  </a:lnTo>
                  <a:lnTo>
                    <a:pt x="1196" y="529"/>
                  </a:lnTo>
                  <a:lnTo>
                    <a:pt x="1196" y="529"/>
                  </a:lnTo>
                  <a:lnTo>
                    <a:pt x="1196" y="531"/>
                  </a:lnTo>
                  <a:lnTo>
                    <a:pt x="1196" y="531"/>
                  </a:lnTo>
                  <a:lnTo>
                    <a:pt x="1196" y="533"/>
                  </a:lnTo>
                  <a:lnTo>
                    <a:pt x="1196" y="533"/>
                  </a:lnTo>
                  <a:lnTo>
                    <a:pt x="1198" y="533"/>
                  </a:lnTo>
                  <a:lnTo>
                    <a:pt x="1198" y="533"/>
                  </a:lnTo>
                  <a:lnTo>
                    <a:pt x="1198" y="533"/>
                  </a:lnTo>
                  <a:lnTo>
                    <a:pt x="1196" y="533"/>
                  </a:lnTo>
                  <a:lnTo>
                    <a:pt x="1196" y="533"/>
                  </a:lnTo>
                  <a:lnTo>
                    <a:pt x="1196" y="533"/>
                  </a:lnTo>
                  <a:lnTo>
                    <a:pt x="1194" y="533"/>
                  </a:lnTo>
                  <a:lnTo>
                    <a:pt x="1194" y="533"/>
                  </a:lnTo>
                  <a:lnTo>
                    <a:pt x="1196" y="535"/>
                  </a:lnTo>
                  <a:lnTo>
                    <a:pt x="1196" y="535"/>
                  </a:lnTo>
                  <a:lnTo>
                    <a:pt x="1196" y="535"/>
                  </a:lnTo>
                  <a:lnTo>
                    <a:pt x="1196" y="535"/>
                  </a:lnTo>
                  <a:lnTo>
                    <a:pt x="1196" y="535"/>
                  </a:lnTo>
                  <a:lnTo>
                    <a:pt x="1196" y="537"/>
                  </a:lnTo>
                  <a:lnTo>
                    <a:pt x="1196" y="537"/>
                  </a:lnTo>
                  <a:lnTo>
                    <a:pt x="1196" y="537"/>
                  </a:lnTo>
                  <a:lnTo>
                    <a:pt x="1198" y="537"/>
                  </a:lnTo>
                  <a:lnTo>
                    <a:pt x="1198" y="537"/>
                  </a:lnTo>
                  <a:lnTo>
                    <a:pt x="1198" y="537"/>
                  </a:lnTo>
                  <a:lnTo>
                    <a:pt x="1198" y="537"/>
                  </a:lnTo>
                  <a:lnTo>
                    <a:pt x="1198" y="537"/>
                  </a:lnTo>
                  <a:lnTo>
                    <a:pt x="1198" y="537"/>
                  </a:lnTo>
                  <a:lnTo>
                    <a:pt x="1198" y="537"/>
                  </a:lnTo>
                  <a:lnTo>
                    <a:pt x="1198" y="537"/>
                  </a:lnTo>
                  <a:lnTo>
                    <a:pt x="1198" y="539"/>
                  </a:lnTo>
                  <a:lnTo>
                    <a:pt x="1198" y="539"/>
                  </a:lnTo>
                  <a:lnTo>
                    <a:pt x="1198" y="539"/>
                  </a:lnTo>
                  <a:lnTo>
                    <a:pt x="1198" y="539"/>
                  </a:lnTo>
                  <a:lnTo>
                    <a:pt x="1198" y="539"/>
                  </a:lnTo>
                  <a:lnTo>
                    <a:pt x="1200" y="539"/>
                  </a:lnTo>
                  <a:lnTo>
                    <a:pt x="1200" y="537"/>
                  </a:lnTo>
                  <a:lnTo>
                    <a:pt x="1200" y="539"/>
                  </a:lnTo>
                  <a:lnTo>
                    <a:pt x="1200" y="539"/>
                  </a:lnTo>
                  <a:lnTo>
                    <a:pt x="1202" y="539"/>
                  </a:lnTo>
                  <a:lnTo>
                    <a:pt x="1204" y="537"/>
                  </a:lnTo>
                  <a:lnTo>
                    <a:pt x="1204" y="539"/>
                  </a:lnTo>
                  <a:lnTo>
                    <a:pt x="1204" y="539"/>
                  </a:lnTo>
                  <a:lnTo>
                    <a:pt x="1204" y="539"/>
                  </a:lnTo>
                  <a:lnTo>
                    <a:pt x="1204" y="539"/>
                  </a:lnTo>
                  <a:lnTo>
                    <a:pt x="1204" y="539"/>
                  </a:lnTo>
                  <a:lnTo>
                    <a:pt x="1206" y="539"/>
                  </a:lnTo>
                  <a:lnTo>
                    <a:pt x="1206" y="537"/>
                  </a:lnTo>
                  <a:lnTo>
                    <a:pt x="1208" y="535"/>
                  </a:lnTo>
                  <a:lnTo>
                    <a:pt x="1208" y="535"/>
                  </a:lnTo>
                  <a:lnTo>
                    <a:pt x="1212" y="537"/>
                  </a:lnTo>
                  <a:lnTo>
                    <a:pt x="1208" y="537"/>
                  </a:lnTo>
                  <a:lnTo>
                    <a:pt x="1208" y="537"/>
                  </a:lnTo>
                  <a:lnTo>
                    <a:pt x="1208" y="537"/>
                  </a:lnTo>
                  <a:lnTo>
                    <a:pt x="1208" y="539"/>
                  </a:lnTo>
                  <a:lnTo>
                    <a:pt x="1208" y="539"/>
                  </a:lnTo>
                  <a:lnTo>
                    <a:pt x="1208" y="539"/>
                  </a:lnTo>
                  <a:lnTo>
                    <a:pt x="1208" y="539"/>
                  </a:lnTo>
                  <a:lnTo>
                    <a:pt x="1206" y="541"/>
                  </a:lnTo>
                  <a:lnTo>
                    <a:pt x="1204" y="541"/>
                  </a:lnTo>
                  <a:lnTo>
                    <a:pt x="1204" y="541"/>
                  </a:lnTo>
                  <a:lnTo>
                    <a:pt x="1204" y="541"/>
                  </a:lnTo>
                  <a:lnTo>
                    <a:pt x="1202" y="541"/>
                  </a:lnTo>
                  <a:lnTo>
                    <a:pt x="1202" y="541"/>
                  </a:lnTo>
                  <a:lnTo>
                    <a:pt x="1200" y="543"/>
                  </a:lnTo>
                  <a:lnTo>
                    <a:pt x="1202" y="541"/>
                  </a:lnTo>
                  <a:lnTo>
                    <a:pt x="1202" y="543"/>
                  </a:lnTo>
                  <a:lnTo>
                    <a:pt x="1202" y="543"/>
                  </a:lnTo>
                  <a:lnTo>
                    <a:pt x="1202" y="543"/>
                  </a:lnTo>
                  <a:lnTo>
                    <a:pt x="1202" y="543"/>
                  </a:lnTo>
                  <a:lnTo>
                    <a:pt x="1202" y="543"/>
                  </a:lnTo>
                  <a:lnTo>
                    <a:pt x="1200" y="543"/>
                  </a:lnTo>
                  <a:lnTo>
                    <a:pt x="1200" y="543"/>
                  </a:lnTo>
                  <a:lnTo>
                    <a:pt x="1200" y="543"/>
                  </a:lnTo>
                  <a:lnTo>
                    <a:pt x="1200" y="543"/>
                  </a:lnTo>
                  <a:lnTo>
                    <a:pt x="1198" y="543"/>
                  </a:lnTo>
                  <a:lnTo>
                    <a:pt x="1198" y="545"/>
                  </a:lnTo>
                  <a:lnTo>
                    <a:pt x="1198" y="543"/>
                  </a:lnTo>
                  <a:lnTo>
                    <a:pt x="1198" y="543"/>
                  </a:lnTo>
                  <a:lnTo>
                    <a:pt x="1198" y="543"/>
                  </a:lnTo>
                  <a:lnTo>
                    <a:pt x="1198" y="543"/>
                  </a:lnTo>
                  <a:lnTo>
                    <a:pt x="1198" y="545"/>
                  </a:lnTo>
                  <a:lnTo>
                    <a:pt x="1198" y="545"/>
                  </a:lnTo>
                  <a:lnTo>
                    <a:pt x="1198" y="545"/>
                  </a:lnTo>
                  <a:lnTo>
                    <a:pt x="1198" y="545"/>
                  </a:lnTo>
                  <a:lnTo>
                    <a:pt x="1198" y="545"/>
                  </a:lnTo>
                  <a:lnTo>
                    <a:pt x="1198" y="547"/>
                  </a:lnTo>
                  <a:lnTo>
                    <a:pt x="1200" y="545"/>
                  </a:lnTo>
                  <a:lnTo>
                    <a:pt x="1202" y="545"/>
                  </a:lnTo>
                  <a:lnTo>
                    <a:pt x="1202" y="547"/>
                  </a:lnTo>
                  <a:lnTo>
                    <a:pt x="1202" y="547"/>
                  </a:lnTo>
                  <a:lnTo>
                    <a:pt x="1204" y="545"/>
                  </a:lnTo>
                  <a:lnTo>
                    <a:pt x="1204" y="545"/>
                  </a:lnTo>
                  <a:lnTo>
                    <a:pt x="1204" y="545"/>
                  </a:lnTo>
                  <a:lnTo>
                    <a:pt x="1204" y="545"/>
                  </a:lnTo>
                  <a:lnTo>
                    <a:pt x="1206" y="543"/>
                  </a:lnTo>
                  <a:lnTo>
                    <a:pt x="1206" y="541"/>
                  </a:lnTo>
                  <a:lnTo>
                    <a:pt x="1208" y="541"/>
                  </a:lnTo>
                  <a:lnTo>
                    <a:pt x="1206" y="541"/>
                  </a:lnTo>
                  <a:lnTo>
                    <a:pt x="1206" y="541"/>
                  </a:lnTo>
                  <a:lnTo>
                    <a:pt x="1206" y="543"/>
                  </a:lnTo>
                  <a:lnTo>
                    <a:pt x="1206" y="543"/>
                  </a:lnTo>
                  <a:lnTo>
                    <a:pt x="1206" y="543"/>
                  </a:lnTo>
                  <a:lnTo>
                    <a:pt x="1208" y="543"/>
                  </a:lnTo>
                  <a:lnTo>
                    <a:pt x="1208" y="543"/>
                  </a:lnTo>
                  <a:lnTo>
                    <a:pt x="1208" y="543"/>
                  </a:lnTo>
                  <a:lnTo>
                    <a:pt x="1208" y="543"/>
                  </a:lnTo>
                  <a:lnTo>
                    <a:pt x="1208" y="543"/>
                  </a:lnTo>
                  <a:lnTo>
                    <a:pt x="1208" y="541"/>
                  </a:lnTo>
                  <a:lnTo>
                    <a:pt x="1210" y="541"/>
                  </a:lnTo>
                  <a:lnTo>
                    <a:pt x="1210" y="541"/>
                  </a:lnTo>
                  <a:lnTo>
                    <a:pt x="1210" y="541"/>
                  </a:lnTo>
                  <a:lnTo>
                    <a:pt x="1210" y="543"/>
                  </a:lnTo>
                  <a:lnTo>
                    <a:pt x="1210" y="543"/>
                  </a:lnTo>
                  <a:lnTo>
                    <a:pt x="1210" y="543"/>
                  </a:lnTo>
                  <a:lnTo>
                    <a:pt x="1212" y="541"/>
                  </a:lnTo>
                  <a:lnTo>
                    <a:pt x="1212" y="541"/>
                  </a:lnTo>
                  <a:lnTo>
                    <a:pt x="1212" y="539"/>
                  </a:lnTo>
                  <a:lnTo>
                    <a:pt x="1212" y="539"/>
                  </a:lnTo>
                  <a:lnTo>
                    <a:pt x="1212" y="539"/>
                  </a:lnTo>
                  <a:lnTo>
                    <a:pt x="1212" y="539"/>
                  </a:lnTo>
                  <a:lnTo>
                    <a:pt x="1212" y="539"/>
                  </a:lnTo>
                  <a:lnTo>
                    <a:pt x="1215" y="539"/>
                  </a:lnTo>
                  <a:lnTo>
                    <a:pt x="1215" y="539"/>
                  </a:lnTo>
                  <a:lnTo>
                    <a:pt x="1215" y="541"/>
                  </a:lnTo>
                  <a:lnTo>
                    <a:pt x="1215" y="541"/>
                  </a:lnTo>
                  <a:lnTo>
                    <a:pt x="1215" y="541"/>
                  </a:lnTo>
                  <a:lnTo>
                    <a:pt x="1215" y="541"/>
                  </a:lnTo>
                  <a:lnTo>
                    <a:pt x="1212" y="541"/>
                  </a:lnTo>
                  <a:lnTo>
                    <a:pt x="1212" y="541"/>
                  </a:lnTo>
                  <a:lnTo>
                    <a:pt x="1212" y="543"/>
                  </a:lnTo>
                  <a:lnTo>
                    <a:pt x="1212" y="543"/>
                  </a:lnTo>
                  <a:lnTo>
                    <a:pt x="1212" y="543"/>
                  </a:lnTo>
                  <a:lnTo>
                    <a:pt x="1212" y="543"/>
                  </a:lnTo>
                  <a:lnTo>
                    <a:pt x="1210" y="547"/>
                  </a:lnTo>
                  <a:lnTo>
                    <a:pt x="1208" y="547"/>
                  </a:lnTo>
                  <a:lnTo>
                    <a:pt x="1208" y="547"/>
                  </a:lnTo>
                  <a:lnTo>
                    <a:pt x="1208" y="547"/>
                  </a:lnTo>
                  <a:lnTo>
                    <a:pt x="1208" y="547"/>
                  </a:lnTo>
                  <a:lnTo>
                    <a:pt x="1208" y="547"/>
                  </a:lnTo>
                  <a:lnTo>
                    <a:pt x="1208" y="547"/>
                  </a:lnTo>
                  <a:lnTo>
                    <a:pt x="1208" y="547"/>
                  </a:lnTo>
                  <a:lnTo>
                    <a:pt x="1208" y="547"/>
                  </a:lnTo>
                  <a:lnTo>
                    <a:pt x="1210" y="549"/>
                  </a:lnTo>
                  <a:lnTo>
                    <a:pt x="1210" y="547"/>
                  </a:lnTo>
                  <a:lnTo>
                    <a:pt x="1215" y="545"/>
                  </a:lnTo>
                  <a:lnTo>
                    <a:pt x="1215" y="545"/>
                  </a:lnTo>
                  <a:lnTo>
                    <a:pt x="1215" y="545"/>
                  </a:lnTo>
                  <a:lnTo>
                    <a:pt x="1217" y="545"/>
                  </a:lnTo>
                  <a:lnTo>
                    <a:pt x="1217" y="543"/>
                  </a:lnTo>
                  <a:lnTo>
                    <a:pt x="1217" y="543"/>
                  </a:lnTo>
                  <a:lnTo>
                    <a:pt x="1217" y="545"/>
                  </a:lnTo>
                  <a:lnTo>
                    <a:pt x="1217" y="545"/>
                  </a:lnTo>
                  <a:lnTo>
                    <a:pt x="1217" y="545"/>
                  </a:lnTo>
                  <a:lnTo>
                    <a:pt x="1217" y="547"/>
                  </a:lnTo>
                  <a:lnTo>
                    <a:pt x="1215" y="547"/>
                  </a:lnTo>
                  <a:lnTo>
                    <a:pt x="1215" y="547"/>
                  </a:lnTo>
                  <a:lnTo>
                    <a:pt x="1217" y="547"/>
                  </a:lnTo>
                  <a:lnTo>
                    <a:pt x="1217" y="547"/>
                  </a:lnTo>
                  <a:lnTo>
                    <a:pt x="1219" y="545"/>
                  </a:lnTo>
                  <a:lnTo>
                    <a:pt x="1219" y="545"/>
                  </a:lnTo>
                  <a:lnTo>
                    <a:pt x="1219" y="543"/>
                  </a:lnTo>
                  <a:lnTo>
                    <a:pt x="1219" y="543"/>
                  </a:lnTo>
                  <a:lnTo>
                    <a:pt x="1219" y="545"/>
                  </a:lnTo>
                  <a:lnTo>
                    <a:pt x="1219" y="545"/>
                  </a:lnTo>
                  <a:lnTo>
                    <a:pt x="1219" y="545"/>
                  </a:lnTo>
                  <a:lnTo>
                    <a:pt x="1219" y="545"/>
                  </a:lnTo>
                  <a:lnTo>
                    <a:pt x="1221" y="545"/>
                  </a:lnTo>
                  <a:lnTo>
                    <a:pt x="1221" y="545"/>
                  </a:lnTo>
                  <a:lnTo>
                    <a:pt x="1221" y="547"/>
                  </a:lnTo>
                  <a:lnTo>
                    <a:pt x="1219" y="547"/>
                  </a:lnTo>
                  <a:lnTo>
                    <a:pt x="1219" y="547"/>
                  </a:lnTo>
                  <a:lnTo>
                    <a:pt x="1219" y="547"/>
                  </a:lnTo>
                  <a:lnTo>
                    <a:pt x="1223" y="545"/>
                  </a:lnTo>
                  <a:lnTo>
                    <a:pt x="1225" y="545"/>
                  </a:lnTo>
                  <a:lnTo>
                    <a:pt x="1225" y="545"/>
                  </a:lnTo>
                  <a:lnTo>
                    <a:pt x="1225" y="545"/>
                  </a:lnTo>
                  <a:lnTo>
                    <a:pt x="1225" y="545"/>
                  </a:lnTo>
                  <a:lnTo>
                    <a:pt x="1225" y="545"/>
                  </a:lnTo>
                  <a:lnTo>
                    <a:pt x="1225" y="547"/>
                  </a:lnTo>
                  <a:lnTo>
                    <a:pt x="1225" y="547"/>
                  </a:lnTo>
                  <a:lnTo>
                    <a:pt x="1223" y="547"/>
                  </a:lnTo>
                  <a:lnTo>
                    <a:pt x="1223" y="551"/>
                  </a:lnTo>
                  <a:lnTo>
                    <a:pt x="1221" y="553"/>
                  </a:lnTo>
                  <a:lnTo>
                    <a:pt x="1221" y="555"/>
                  </a:lnTo>
                  <a:lnTo>
                    <a:pt x="1219" y="555"/>
                  </a:lnTo>
                  <a:lnTo>
                    <a:pt x="1219" y="555"/>
                  </a:lnTo>
                  <a:lnTo>
                    <a:pt x="1219" y="555"/>
                  </a:lnTo>
                  <a:lnTo>
                    <a:pt x="1221" y="555"/>
                  </a:lnTo>
                  <a:lnTo>
                    <a:pt x="1223" y="555"/>
                  </a:lnTo>
                  <a:lnTo>
                    <a:pt x="1225" y="555"/>
                  </a:lnTo>
                  <a:lnTo>
                    <a:pt x="1227" y="555"/>
                  </a:lnTo>
                  <a:lnTo>
                    <a:pt x="1227" y="555"/>
                  </a:lnTo>
                  <a:lnTo>
                    <a:pt x="1229" y="555"/>
                  </a:lnTo>
                  <a:lnTo>
                    <a:pt x="1229" y="555"/>
                  </a:lnTo>
                  <a:lnTo>
                    <a:pt x="1229" y="557"/>
                  </a:lnTo>
                  <a:lnTo>
                    <a:pt x="1229" y="557"/>
                  </a:lnTo>
                  <a:lnTo>
                    <a:pt x="1231" y="557"/>
                  </a:lnTo>
                  <a:lnTo>
                    <a:pt x="1231" y="557"/>
                  </a:lnTo>
                  <a:lnTo>
                    <a:pt x="1231" y="559"/>
                  </a:lnTo>
                  <a:lnTo>
                    <a:pt x="1231" y="559"/>
                  </a:lnTo>
                  <a:lnTo>
                    <a:pt x="1233" y="559"/>
                  </a:lnTo>
                  <a:lnTo>
                    <a:pt x="1233" y="559"/>
                  </a:lnTo>
                  <a:lnTo>
                    <a:pt x="1233" y="559"/>
                  </a:lnTo>
                  <a:lnTo>
                    <a:pt x="1235" y="559"/>
                  </a:lnTo>
                  <a:lnTo>
                    <a:pt x="1235" y="559"/>
                  </a:lnTo>
                  <a:lnTo>
                    <a:pt x="1237" y="559"/>
                  </a:lnTo>
                  <a:lnTo>
                    <a:pt x="1239" y="555"/>
                  </a:lnTo>
                  <a:lnTo>
                    <a:pt x="1239" y="555"/>
                  </a:lnTo>
                  <a:lnTo>
                    <a:pt x="1239" y="555"/>
                  </a:lnTo>
                  <a:lnTo>
                    <a:pt x="1239" y="553"/>
                  </a:lnTo>
                  <a:lnTo>
                    <a:pt x="1241" y="551"/>
                  </a:lnTo>
                  <a:lnTo>
                    <a:pt x="1241" y="549"/>
                  </a:lnTo>
                  <a:lnTo>
                    <a:pt x="1241" y="549"/>
                  </a:lnTo>
                  <a:lnTo>
                    <a:pt x="1241" y="549"/>
                  </a:lnTo>
                  <a:lnTo>
                    <a:pt x="1243" y="547"/>
                  </a:lnTo>
                  <a:lnTo>
                    <a:pt x="1243" y="547"/>
                  </a:lnTo>
                  <a:lnTo>
                    <a:pt x="1243" y="547"/>
                  </a:lnTo>
                  <a:lnTo>
                    <a:pt x="1243" y="545"/>
                  </a:lnTo>
                  <a:lnTo>
                    <a:pt x="1245" y="545"/>
                  </a:lnTo>
                  <a:lnTo>
                    <a:pt x="1245" y="543"/>
                  </a:lnTo>
                  <a:lnTo>
                    <a:pt x="1245" y="543"/>
                  </a:lnTo>
                  <a:lnTo>
                    <a:pt x="1245" y="541"/>
                  </a:lnTo>
                  <a:lnTo>
                    <a:pt x="1247" y="541"/>
                  </a:lnTo>
                  <a:lnTo>
                    <a:pt x="1247" y="541"/>
                  </a:lnTo>
                  <a:lnTo>
                    <a:pt x="1247" y="539"/>
                  </a:lnTo>
                  <a:lnTo>
                    <a:pt x="1249" y="539"/>
                  </a:lnTo>
                  <a:lnTo>
                    <a:pt x="1249" y="539"/>
                  </a:lnTo>
                  <a:lnTo>
                    <a:pt x="1249" y="539"/>
                  </a:lnTo>
                  <a:lnTo>
                    <a:pt x="1249" y="539"/>
                  </a:lnTo>
                  <a:lnTo>
                    <a:pt x="1249" y="541"/>
                  </a:lnTo>
                  <a:lnTo>
                    <a:pt x="1249" y="541"/>
                  </a:lnTo>
                  <a:lnTo>
                    <a:pt x="1249" y="541"/>
                  </a:lnTo>
                  <a:lnTo>
                    <a:pt x="1249" y="541"/>
                  </a:lnTo>
                  <a:lnTo>
                    <a:pt x="1249" y="541"/>
                  </a:lnTo>
                  <a:lnTo>
                    <a:pt x="1247" y="541"/>
                  </a:lnTo>
                  <a:lnTo>
                    <a:pt x="1247" y="541"/>
                  </a:lnTo>
                  <a:lnTo>
                    <a:pt x="1247" y="541"/>
                  </a:lnTo>
                  <a:lnTo>
                    <a:pt x="1247" y="543"/>
                  </a:lnTo>
                  <a:lnTo>
                    <a:pt x="1247" y="543"/>
                  </a:lnTo>
                  <a:lnTo>
                    <a:pt x="1247" y="543"/>
                  </a:lnTo>
                  <a:lnTo>
                    <a:pt x="1247" y="543"/>
                  </a:lnTo>
                  <a:lnTo>
                    <a:pt x="1247" y="543"/>
                  </a:lnTo>
                  <a:lnTo>
                    <a:pt x="1245" y="545"/>
                  </a:lnTo>
                  <a:lnTo>
                    <a:pt x="1245" y="545"/>
                  </a:lnTo>
                  <a:lnTo>
                    <a:pt x="1245" y="545"/>
                  </a:lnTo>
                  <a:lnTo>
                    <a:pt x="1245" y="547"/>
                  </a:lnTo>
                  <a:lnTo>
                    <a:pt x="1245" y="547"/>
                  </a:lnTo>
                  <a:lnTo>
                    <a:pt x="1245" y="547"/>
                  </a:lnTo>
                  <a:lnTo>
                    <a:pt x="1245" y="549"/>
                  </a:lnTo>
                  <a:lnTo>
                    <a:pt x="1245" y="549"/>
                  </a:lnTo>
                  <a:lnTo>
                    <a:pt x="1245" y="549"/>
                  </a:lnTo>
                  <a:lnTo>
                    <a:pt x="1245" y="549"/>
                  </a:lnTo>
                  <a:lnTo>
                    <a:pt x="1245" y="549"/>
                  </a:lnTo>
                  <a:lnTo>
                    <a:pt x="1245" y="549"/>
                  </a:lnTo>
                  <a:lnTo>
                    <a:pt x="1245" y="549"/>
                  </a:lnTo>
                  <a:lnTo>
                    <a:pt x="1245" y="551"/>
                  </a:lnTo>
                  <a:lnTo>
                    <a:pt x="1245" y="551"/>
                  </a:lnTo>
                  <a:lnTo>
                    <a:pt x="1245" y="551"/>
                  </a:lnTo>
                  <a:lnTo>
                    <a:pt x="1245" y="551"/>
                  </a:lnTo>
                  <a:lnTo>
                    <a:pt x="1245" y="553"/>
                  </a:lnTo>
                  <a:lnTo>
                    <a:pt x="1245" y="553"/>
                  </a:lnTo>
                  <a:lnTo>
                    <a:pt x="1245" y="551"/>
                  </a:lnTo>
                  <a:lnTo>
                    <a:pt x="1247" y="551"/>
                  </a:lnTo>
                  <a:lnTo>
                    <a:pt x="1247" y="551"/>
                  </a:lnTo>
                  <a:lnTo>
                    <a:pt x="1247" y="551"/>
                  </a:lnTo>
                  <a:lnTo>
                    <a:pt x="1247" y="553"/>
                  </a:lnTo>
                  <a:lnTo>
                    <a:pt x="1245" y="553"/>
                  </a:lnTo>
                  <a:lnTo>
                    <a:pt x="1245" y="555"/>
                  </a:lnTo>
                  <a:lnTo>
                    <a:pt x="1247" y="555"/>
                  </a:lnTo>
                  <a:lnTo>
                    <a:pt x="1247" y="555"/>
                  </a:lnTo>
                  <a:lnTo>
                    <a:pt x="1245" y="555"/>
                  </a:lnTo>
                  <a:lnTo>
                    <a:pt x="1245" y="555"/>
                  </a:lnTo>
                  <a:lnTo>
                    <a:pt x="1245" y="555"/>
                  </a:lnTo>
                  <a:lnTo>
                    <a:pt x="1245" y="557"/>
                  </a:lnTo>
                  <a:lnTo>
                    <a:pt x="1245" y="557"/>
                  </a:lnTo>
                  <a:lnTo>
                    <a:pt x="1245" y="557"/>
                  </a:lnTo>
                  <a:lnTo>
                    <a:pt x="1245" y="557"/>
                  </a:lnTo>
                  <a:lnTo>
                    <a:pt x="1245" y="557"/>
                  </a:lnTo>
                  <a:lnTo>
                    <a:pt x="1245" y="557"/>
                  </a:lnTo>
                  <a:lnTo>
                    <a:pt x="1245" y="559"/>
                  </a:lnTo>
                  <a:lnTo>
                    <a:pt x="1245" y="559"/>
                  </a:lnTo>
                  <a:lnTo>
                    <a:pt x="1245" y="559"/>
                  </a:lnTo>
                  <a:lnTo>
                    <a:pt x="1245" y="562"/>
                  </a:lnTo>
                  <a:lnTo>
                    <a:pt x="1245" y="562"/>
                  </a:lnTo>
                  <a:lnTo>
                    <a:pt x="1245" y="562"/>
                  </a:lnTo>
                  <a:lnTo>
                    <a:pt x="1245" y="562"/>
                  </a:lnTo>
                  <a:lnTo>
                    <a:pt x="1245" y="562"/>
                  </a:lnTo>
                  <a:lnTo>
                    <a:pt x="1245" y="562"/>
                  </a:lnTo>
                  <a:lnTo>
                    <a:pt x="1247" y="562"/>
                  </a:lnTo>
                  <a:lnTo>
                    <a:pt x="1247" y="562"/>
                  </a:lnTo>
                  <a:lnTo>
                    <a:pt x="1247" y="562"/>
                  </a:lnTo>
                  <a:lnTo>
                    <a:pt x="1247" y="562"/>
                  </a:lnTo>
                  <a:lnTo>
                    <a:pt x="1247" y="562"/>
                  </a:lnTo>
                  <a:lnTo>
                    <a:pt x="1247" y="562"/>
                  </a:lnTo>
                  <a:lnTo>
                    <a:pt x="1247" y="562"/>
                  </a:lnTo>
                  <a:lnTo>
                    <a:pt x="1247" y="562"/>
                  </a:lnTo>
                  <a:lnTo>
                    <a:pt x="1249" y="562"/>
                  </a:lnTo>
                  <a:lnTo>
                    <a:pt x="1249" y="562"/>
                  </a:lnTo>
                  <a:lnTo>
                    <a:pt x="1249" y="562"/>
                  </a:lnTo>
                  <a:lnTo>
                    <a:pt x="1249" y="562"/>
                  </a:lnTo>
                  <a:lnTo>
                    <a:pt x="1249" y="562"/>
                  </a:lnTo>
                  <a:lnTo>
                    <a:pt x="1251" y="562"/>
                  </a:lnTo>
                  <a:lnTo>
                    <a:pt x="1251" y="564"/>
                  </a:lnTo>
                  <a:lnTo>
                    <a:pt x="1253" y="564"/>
                  </a:lnTo>
                  <a:lnTo>
                    <a:pt x="1253" y="566"/>
                  </a:lnTo>
                  <a:lnTo>
                    <a:pt x="1253" y="564"/>
                  </a:lnTo>
                  <a:lnTo>
                    <a:pt x="1251" y="564"/>
                  </a:lnTo>
                  <a:lnTo>
                    <a:pt x="1251" y="564"/>
                  </a:lnTo>
                  <a:lnTo>
                    <a:pt x="1251" y="564"/>
                  </a:lnTo>
                  <a:lnTo>
                    <a:pt x="1251" y="566"/>
                  </a:lnTo>
                  <a:lnTo>
                    <a:pt x="1253" y="566"/>
                  </a:lnTo>
                  <a:lnTo>
                    <a:pt x="1256" y="566"/>
                  </a:lnTo>
                  <a:lnTo>
                    <a:pt x="1256" y="566"/>
                  </a:lnTo>
                  <a:lnTo>
                    <a:pt x="1256" y="566"/>
                  </a:lnTo>
                  <a:lnTo>
                    <a:pt x="1258" y="564"/>
                  </a:lnTo>
                  <a:lnTo>
                    <a:pt x="1258" y="566"/>
                  </a:lnTo>
                  <a:lnTo>
                    <a:pt x="1258" y="566"/>
                  </a:lnTo>
                  <a:lnTo>
                    <a:pt x="1258" y="566"/>
                  </a:lnTo>
                  <a:lnTo>
                    <a:pt x="1258" y="566"/>
                  </a:lnTo>
                  <a:lnTo>
                    <a:pt x="1258" y="566"/>
                  </a:lnTo>
                  <a:lnTo>
                    <a:pt x="1260" y="566"/>
                  </a:lnTo>
                  <a:lnTo>
                    <a:pt x="1260" y="566"/>
                  </a:lnTo>
                  <a:lnTo>
                    <a:pt x="1260" y="564"/>
                  </a:lnTo>
                  <a:lnTo>
                    <a:pt x="1264" y="566"/>
                  </a:lnTo>
                  <a:lnTo>
                    <a:pt x="1264" y="564"/>
                  </a:lnTo>
                  <a:lnTo>
                    <a:pt x="1264" y="564"/>
                  </a:lnTo>
                  <a:lnTo>
                    <a:pt x="1264" y="564"/>
                  </a:lnTo>
                  <a:lnTo>
                    <a:pt x="1264" y="564"/>
                  </a:lnTo>
                  <a:lnTo>
                    <a:pt x="1264" y="564"/>
                  </a:lnTo>
                  <a:lnTo>
                    <a:pt x="1264" y="566"/>
                  </a:lnTo>
                  <a:lnTo>
                    <a:pt x="1264" y="566"/>
                  </a:lnTo>
                  <a:lnTo>
                    <a:pt x="1264" y="566"/>
                  </a:lnTo>
                  <a:lnTo>
                    <a:pt x="1264" y="566"/>
                  </a:lnTo>
                  <a:lnTo>
                    <a:pt x="1264" y="566"/>
                  </a:lnTo>
                  <a:lnTo>
                    <a:pt x="1264" y="568"/>
                  </a:lnTo>
                  <a:lnTo>
                    <a:pt x="1264" y="568"/>
                  </a:lnTo>
                  <a:lnTo>
                    <a:pt x="1264" y="568"/>
                  </a:lnTo>
                  <a:lnTo>
                    <a:pt x="1270" y="570"/>
                  </a:lnTo>
                  <a:lnTo>
                    <a:pt x="1270" y="570"/>
                  </a:lnTo>
                  <a:lnTo>
                    <a:pt x="1270" y="572"/>
                  </a:lnTo>
                  <a:lnTo>
                    <a:pt x="1270" y="572"/>
                  </a:lnTo>
                  <a:lnTo>
                    <a:pt x="1268" y="572"/>
                  </a:lnTo>
                  <a:lnTo>
                    <a:pt x="1264" y="574"/>
                  </a:lnTo>
                  <a:lnTo>
                    <a:pt x="1268" y="572"/>
                  </a:lnTo>
                  <a:lnTo>
                    <a:pt x="1270" y="572"/>
                  </a:lnTo>
                  <a:lnTo>
                    <a:pt x="1274" y="574"/>
                  </a:lnTo>
                  <a:lnTo>
                    <a:pt x="1274" y="574"/>
                  </a:lnTo>
                  <a:lnTo>
                    <a:pt x="1278" y="572"/>
                  </a:lnTo>
                  <a:lnTo>
                    <a:pt x="1280" y="570"/>
                  </a:lnTo>
                  <a:lnTo>
                    <a:pt x="1284" y="568"/>
                  </a:lnTo>
                  <a:lnTo>
                    <a:pt x="1290" y="568"/>
                  </a:lnTo>
                  <a:lnTo>
                    <a:pt x="1296" y="564"/>
                  </a:lnTo>
                  <a:lnTo>
                    <a:pt x="1301" y="564"/>
                  </a:lnTo>
                  <a:lnTo>
                    <a:pt x="1305" y="564"/>
                  </a:lnTo>
                  <a:lnTo>
                    <a:pt x="1309" y="564"/>
                  </a:lnTo>
                  <a:lnTo>
                    <a:pt x="1313" y="564"/>
                  </a:lnTo>
                  <a:lnTo>
                    <a:pt x="1317" y="564"/>
                  </a:lnTo>
                  <a:lnTo>
                    <a:pt x="1319" y="564"/>
                  </a:lnTo>
                  <a:lnTo>
                    <a:pt x="1323" y="564"/>
                  </a:lnTo>
                  <a:lnTo>
                    <a:pt x="1325" y="564"/>
                  </a:lnTo>
                  <a:lnTo>
                    <a:pt x="1329" y="566"/>
                  </a:lnTo>
                  <a:lnTo>
                    <a:pt x="1331" y="566"/>
                  </a:lnTo>
                  <a:lnTo>
                    <a:pt x="1331" y="566"/>
                  </a:lnTo>
                  <a:lnTo>
                    <a:pt x="1335" y="562"/>
                  </a:lnTo>
                  <a:lnTo>
                    <a:pt x="1337" y="562"/>
                  </a:lnTo>
                  <a:lnTo>
                    <a:pt x="1337" y="562"/>
                  </a:lnTo>
                  <a:lnTo>
                    <a:pt x="1337" y="559"/>
                  </a:lnTo>
                  <a:lnTo>
                    <a:pt x="1337" y="559"/>
                  </a:lnTo>
                  <a:lnTo>
                    <a:pt x="1335" y="559"/>
                  </a:lnTo>
                  <a:lnTo>
                    <a:pt x="1335" y="559"/>
                  </a:lnTo>
                  <a:lnTo>
                    <a:pt x="1335" y="559"/>
                  </a:lnTo>
                  <a:lnTo>
                    <a:pt x="1335" y="557"/>
                  </a:lnTo>
                  <a:lnTo>
                    <a:pt x="1333" y="557"/>
                  </a:lnTo>
                  <a:lnTo>
                    <a:pt x="1333" y="555"/>
                  </a:lnTo>
                  <a:lnTo>
                    <a:pt x="1335" y="555"/>
                  </a:lnTo>
                  <a:lnTo>
                    <a:pt x="1337" y="555"/>
                  </a:lnTo>
                  <a:lnTo>
                    <a:pt x="1337" y="555"/>
                  </a:lnTo>
                  <a:lnTo>
                    <a:pt x="1337" y="557"/>
                  </a:lnTo>
                  <a:lnTo>
                    <a:pt x="1339" y="557"/>
                  </a:lnTo>
                  <a:lnTo>
                    <a:pt x="1339" y="557"/>
                  </a:lnTo>
                  <a:lnTo>
                    <a:pt x="1339" y="557"/>
                  </a:lnTo>
                  <a:lnTo>
                    <a:pt x="1339" y="557"/>
                  </a:lnTo>
                  <a:lnTo>
                    <a:pt x="1339" y="559"/>
                  </a:lnTo>
                  <a:lnTo>
                    <a:pt x="1339" y="559"/>
                  </a:lnTo>
                  <a:lnTo>
                    <a:pt x="1339" y="559"/>
                  </a:lnTo>
                  <a:lnTo>
                    <a:pt x="1342" y="562"/>
                  </a:lnTo>
                  <a:lnTo>
                    <a:pt x="1342" y="562"/>
                  </a:lnTo>
                  <a:lnTo>
                    <a:pt x="1342" y="564"/>
                  </a:lnTo>
                  <a:lnTo>
                    <a:pt x="1342" y="564"/>
                  </a:lnTo>
                  <a:lnTo>
                    <a:pt x="1342" y="564"/>
                  </a:lnTo>
                  <a:lnTo>
                    <a:pt x="1342" y="566"/>
                  </a:lnTo>
                  <a:lnTo>
                    <a:pt x="1339" y="566"/>
                  </a:lnTo>
                  <a:lnTo>
                    <a:pt x="1339" y="566"/>
                  </a:lnTo>
                  <a:lnTo>
                    <a:pt x="1339" y="566"/>
                  </a:lnTo>
                  <a:lnTo>
                    <a:pt x="1339" y="566"/>
                  </a:lnTo>
                  <a:lnTo>
                    <a:pt x="1337" y="568"/>
                  </a:lnTo>
                  <a:lnTo>
                    <a:pt x="1337" y="568"/>
                  </a:lnTo>
                  <a:lnTo>
                    <a:pt x="1337" y="568"/>
                  </a:lnTo>
                  <a:lnTo>
                    <a:pt x="1337" y="568"/>
                  </a:lnTo>
                  <a:lnTo>
                    <a:pt x="1337" y="566"/>
                  </a:lnTo>
                  <a:lnTo>
                    <a:pt x="1337" y="566"/>
                  </a:lnTo>
                  <a:lnTo>
                    <a:pt x="1337" y="566"/>
                  </a:lnTo>
                  <a:lnTo>
                    <a:pt x="1337" y="568"/>
                  </a:lnTo>
                  <a:lnTo>
                    <a:pt x="1337" y="568"/>
                  </a:lnTo>
                  <a:lnTo>
                    <a:pt x="1337" y="568"/>
                  </a:lnTo>
                  <a:lnTo>
                    <a:pt x="1337" y="570"/>
                  </a:lnTo>
                  <a:lnTo>
                    <a:pt x="1339" y="570"/>
                  </a:lnTo>
                  <a:lnTo>
                    <a:pt x="1342" y="570"/>
                  </a:lnTo>
                  <a:lnTo>
                    <a:pt x="1346" y="570"/>
                  </a:lnTo>
                  <a:lnTo>
                    <a:pt x="1350" y="572"/>
                  </a:lnTo>
                  <a:lnTo>
                    <a:pt x="1354" y="572"/>
                  </a:lnTo>
                  <a:lnTo>
                    <a:pt x="1356" y="574"/>
                  </a:lnTo>
                  <a:lnTo>
                    <a:pt x="1358" y="574"/>
                  </a:lnTo>
                  <a:lnTo>
                    <a:pt x="1360" y="574"/>
                  </a:lnTo>
                  <a:lnTo>
                    <a:pt x="1364" y="572"/>
                  </a:lnTo>
                  <a:lnTo>
                    <a:pt x="1368" y="572"/>
                  </a:lnTo>
                  <a:lnTo>
                    <a:pt x="1370" y="572"/>
                  </a:lnTo>
                  <a:lnTo>
                    <a:pt x="1372" y="570"/>
                  </a:lnTo>
                  <a:lnTo>
                    <a:pt x="1374" y="568"/>
                  </a:lnTo>
                  <a:lnTo>
                    <a:pt x="1376" y="566"/>
                  </a:lnTo>
                  <a:lnTo>
                    <a:pt x="1378" y="564"/>
                  </a:lnTo>
                  <a:lnTo>
                    <a:pt x="1380" y="562"/>
                  </a:lnTo>
                  <a:lnTo>
                    <a:pt x="1380" y="559"/>
                  </a:lnTo>
                  <a:lnTo>
                    <a:pt x="1380" y="557"/>
                  </a:lnTo>
                  <a:lnTo>
                    <a:pt x="1382" y="555"/>
                  </a:lnTo>
                  <a:lnTo>
                    <a:pt x="1382" y="555"/>
                  </a:lnTo>
                  <a:lnTo>
                    <a:pt x="1385" y="555"/>
                  </a:lnTo>
                  <a:lnTo>
                    <a:pt x="1385" y="555"/>
                  </a:lnTo>
                  <a:lnTo>
                    <a:pt x="1385" y="555"/>
                  </a:lnTo>
                  <a:lnTo>
                    <a:pt x="1382" y="553"/>
                  </a:lnTo>
                  <a:lnTo>
                    <a:pt x="1385" y="551"/>
                  </a:lnTo>
                  <a:lnTo>
                    <a:pt x="1385" y="551"/>
                  </a:lnTo>
                  <a:lnTo>
                    <a:pt x="1385" y="549"/>
                  </a:lnTo>
                  <a:lnTo>
                    <a:pt x="1385" y="549"/>
                  </a:lnTo>
                  <a:lnTo>
                    <a:pt x="1385" y="549"/>
                  </a:lnTo>
                  <a:lnTo>
                    <a:pt x="1387" y="551"/>
                  </a:lnTo>
                  <a:lnTo>
                    <a:pt x="1387" y="551"/>
                  </a:lnTo>
                  <a:lnTo>
                    <a:pt x="1389" y="551"/>
                  </a:lnTo>
                  <a:lnTo>
                    <a:pt x="1389" y="551"/>
                  </a:lnTo>
                  <a:lnTo>
                    <a:pt x="1389" y="553"/>
                  </a:lnTo>
                  <a:lnTo>
                    <a:pt x="1389" y="553"/>
                  </a:lnTo>
                  <a:lnTo>
                    <a:pt x="1391" y="553"/>
                  </a:lnTo>
                  <a:lnTo>
                    <a:pt x="1391" y="553"/>
                  </a:lnTo>
                  <a:lnTo>
                    <a:pt x="1393" y="557"/>
                  </a:lnTo>
                  <a:lnTo>
                    <a:pt x="1395" y="557"/>
                  </a:lnTo>
                  <a:lnTo>
                    <a:pt x="1399" y="557"/>
                  </a:lnTo>
                  <a:lnTo>
                    <a:pt x="1399" y="557"/>
                  </a:lnTo>
                  <a:lnTo>
                    <a:pt x="1401" y="557"/>
                  </a:lnTo>
                  <a:lnTo>
                    <a:pt x="1403" y="557"/>
                  </a:lnTo>
                  <a:lnTo>
                    <a:pt x="1403" y="557"/>
                  </a:lnTo>
                  <a:lnTo>
                    <a:pt x="1403" y="557"/>
                  </a:lnTo>
                  <a:lnTo>
                    <a:pt x="1403" y="559"/>
                  </a:lnTo>
                  <a:lnTo>
                    <a:pt x="1403" y="559"/>
                  </a:lnTo>
                  <a:lnTo>
                    <a:pt x="1401" y="557"/>
                  </a:lnTo>
                  <a:lnTo>
                    <a:pt x="1399" y="557"/>
                  </a:lnTo>
                  <a:lnTo>
                    <a:pt x="1399" y="557"/>
                  </a:lnTo>
                  <a:lnTo>
                    <a:pt x="1395" y="557"/>
                  </a:lnTo>
                  <a:lnTo>
                    <a:pt x="1393" y="559"/>
                  </a:lnTo>
                  <a:lnTo>
                    <a:pt x="1393" y="559"/>
                  </a:lnTo>
                  <a:lnTo>
                    <a:pt x="1393" y="559"/>
                  </a:lnTo>
                  <a:lnTo>
                    <a:pt x="1395" y="562"/>
                  </a:lnTo>
                  <a:lnTo>
                    <a:pt x="1395" y="562"/>
                  </a:lnTo>
                  <a:lnTo>
                    <a:pt x="1395" y="562"/>
                  </a:lnTo>
                  <a:lnTo>
                    <a:pt x="1393" y="564"/>
                  </a:lnTo>
                  <a:lnTo>
                    <a:pt x="1393" y="564"/>
                  </a:lnTo>
                  <a:lnTo>
                    <a:pt x="1395" y="564"/>
                  </a:lnTo>
                  <a:lnTo>
                    <a:pt x="1395" y="564"/>
                  </a:lnTo>
                  <a:lnTo>
                    <a:pt x="1395" y="564"/>
                  </a:lnTo>
                  <a:lnTo>
                    <a:pt x="1395" y="564"/>
                  </a:lnTo>
                  <a:lnTo>
                    <a:pt x="1395" y="566"/>
                  </a:lnTo>
                  <a:lnTo>
                    <a:pt x="1395" y="566"/>
                  </a:lnTo>
                  <a:lnTo>
                    <a:pt x="1395" y="568"/>
                  </a:lnTo>
                  <a:lnTo>
                    <a:pt x="1395" y="568"/>
                  </a:lnTo>
                  <a:lnTo>
                    <a:pt x="1397" y="570"/>
                  </a:lnTo>
                  <a:lnTo>
                    <a:pt x="1397" y="570"/>
                  </a:lnTo>
                  <a:lnTo>
                    <a:pt x="1397" y="572"/>
                  </a:lnTo>
                  <a:lnTo>
                    <a:pt x="1397" y="572"/>
                  </a:lnTo>
                  <a:lnTo>
                    <a:pt x="1397" y="572"/>
                  </a:lnTo>
                  <a:lnTo>
                    <a:pt x="1395" y="572"/>
                  </a:lnTo>
                  <a:lnTo>
                    <a:pt x="1395" y="572"/>
                  </a:lnTo>
                  <a:lnTo>
                    <a:pt x="1395" y="570"/>
                  </a:lnTo>
                  <a:lnTo>
                    <a:pt x="1395" y="570"/>
                  </a:lnTo>
                  <a:lnTo>
                    <a:pt x="1397" y="570"/>
                  </a:lnTo>
                  <a:lnTo>
                    <a:pt x="1395" y="570"/>
                  </a:lnTo>
                  <a:lnTo>
                    <a:pt x="1395" y="568"/>
                  </a:lnTo>
                  <a:lnTo>
                    <a:pt x="1395" y="566"/>
                  </a:lnTo>
                  <a:lnTo>
                    <a:pt x="1395" y="566"/>
                  </a:lnTo>
                  <a:lnTo>
                    <a:pt x="1393" y="566"/>
                  </a:lnTo>
                  <a:lnTo>
                    <a:pt x="1393" y="566"/>
                  </a:lnTo>
                  <a:lnTo>
                    <a:pt x="1393" y="566"/>
                  </a:lnTo>
                  <a:lnTo>
                    <a:pt x="1393" y="566"/>
                  </a:lnTo>
                  <a:lnTo>
                    <a:pt x="1393" y="564"/>
                  </a:lnTo>
                  <a:lnTo>
                    <a:pt x="1393" y="564"/>
                  </a:lnTo>
                  <a:lnTo>
                    <a:pt x="1393" y="562"/>
                  </a:lnTo>
                  <a:lnTo>
                    <a:pt x="1393" y="562"/>
                  </a:lnTo>
                  <a:lnTo>
                    <a:pt x="1393" y="559"/>
                  </a:lnTo>
                  <a:lnTo>
                    <a:pt x="1393" y="557"/>
                  </a:lnTo>
                  <a:lnTo>
                    <a:pt x="1391" y="555"/>
                  </a:lnTo>
                  <a:lnTo>
                    <a:pt x="1389" y="553"/>
                  </a:lnTo>
                  <a:lnTo>
                    <a:pt x="1387" y="553"/>
                  </a:lnTo>
                  <a:lnTo>
                    <a:pt x="1387" y="551"/>
                  </a:lnTo>
                  <a:lnTo>
                    <a:pt x="1387" y="553"/>
                  </a:lnTo>
                  <a:lnTo>
                    <a:pt x="1387" y="555"/>
                  </a:lnTo>
                  <a:lnTo>
                    <a:pt x="1385" y="555"/>
                  </a:lnTo>
                  <a:lnTo>
                    <a:pt x="1385" y="555"/>
                  </a:lnTo>
                  <a:lnTo>
                    <a:pt x="1385" y="555"/>
                  </a:lnTo>
                  <a:lnTo>
                    <a:pt x="1385" y="555"/>
                  </a:lnTo>
                  <a:lnTo>
                    <a:pt x="1385" y="557"/>
                  </a:lnTo>
                  <a:lnTo>
                    <a:pt x="1385" y="557"/>
                  </a:lnTo>
                  <a:lnTo>
                    <a:pt x="1385" y="557"/>
                  </a:lnTo>
                  <a:lnTo>
                    <a:pt x="1385" y="559"/>
                  </a:lnTo>
                  <a:lnTo>
                    <a:pt x="1385" y="562"/>
                  </a:lnTo>
                  <a:lnTo>
                    <a:pt x="1387" y="564"/>
                  </a:lnTo>
                  <a:lnTo>
                    <a:pt x="1387" y="564"/>
                  </a:lnTo>
                  <a:lnTo>
                    <a:pt x="1387" y="564"/>
                  </a:lnTo>
                  <a:lnTo>
                    <a:pt x="1387" y="566"/>
                  </a:lnTo>
                  <a:lnTo>
                    <a:pt x="1389" y="566"/>
                  </a:lnTo>
                  <a:lnTo>
                    <a:pt x="1389" y="568"/>
                  </a:lnTo>
                  <a:lnTo>
                    <a:pt x="1389" y="568"/>
                  </a:lnTo>
                  <a:lnTo>
                    <a:pt x="1389" y="572"/>
                  </a:lnTo>
                  <a:lnTo>
                    <a:pt x="1387" y="572"/>
                  </a:lnTo>
                  <a:lnTo>
                    <a:pt x="1389" y="572"/>
                  </a:lnTo>
                  <a:lnTo>
                    <a:pt x="1387" y="574"/>
                  </a:lnTo>
                  <a:lnTo>
                    <a:pt x="1387" y="574"/>
                  </a:lnTo>
                  <a:lnTo>
                    <a:pt x="1387" y="574"/>
                  </a:lnTo>
                  <a:lnTo>
                    <a:pt x="1387" y="574"/>
                  </a:lnTo>
                  <a:lnTo>
                    <a:pt x="1387" y="574"/>
                  </a:lnTo>
                  <a:lnTo>
                    <a:pt x="1387" y="574"/>
                  </a:lnTo>
                  <a:lnTo>
                    <a:pt x="1387" y="574"/>
                  </a:lnTo>
                  <a:lnTo>
                    <a:pt x="1385" y="574"/>
                  </a:lnTo>
                  <a:lnTo>
                    <a:pt x="1385" y="576"/>
                  </a:lnTo>
                  <a:lnTo>
                    <a:pt x="1385" y="576"/>
                  </a:lnTo>
                  <a:lnTo>
                    <a:pt x="1385" y="576"/>
                  </a:lnTo>
                  <a:lnTo>
                    <a:pt x="1385" y="576"/>
                  </a:lnTo>
                  <a:lnTo>
                    <a:pt x="1385" y="576"/>
                  </a:lnTo>
                  <a:lnTo>
                    <a:pt x="1385" y="576"/>
                  </a:lnTo>
                  <a:lnTo>
                    <a:pt x="1382" y="576"/>
                  </a:lnTo>
                  <a:lnTo>
                    <a:pt x="1382" y="578"/>
                  </a:lnTo>
                  <a:lnTo>
                    <a:pt x="1389" y="580"/>
                  </a:lnTo>
                  <a:lnTo>
                    <a:pt x="1391" y="580"/>
                  </a:lnTo>
                  <a:lnTo>
                    <a:pt x="1391" y="580"/>
                  </a:lnTo>
                  <a:lnTo>
                    <a:pt x="1393" y="582"/>
                  </a:lnTo>
                  <a:lnTo>
                    <a:pt x="1393" y="582"/>
                  </a:lnTo>
                  <a:lnTo>
                    <a:pt x="1395" y="582"/>
                  </a:lnTo>
                  <a:lnTo>
                    <a:pt x="1395" y="582"/>
                  </a:lnTo>
                  <a:lnTo>
                    <a:pt x="1395" y="582"/>
                  </a:lnTo>
                  <a:lnTo>
                    <a:pt x="1395" y="582"/>
                  </a:lnTo>
                  <a:lnTo>
                    <a:pt x="1397" y="582"/>
                  </a:lnTo>
                  <a:lnTo>
                    <a:pt x="1397" y="582"/>
                  </a:lnTo>
                  <a:lnTo>
                    <a:pt x="1397" y="582"/>
                  </a:lnTo>
                  <a:lnTo>
                    <a:pt x="1397" y="582"/>
                  </a:lnTo>
                  <a:lnTo>
                    <a:pt x="1395" y="582"/>
                  </a:lnTo>
                  <a:lnTo>
                    <a:pt x="1395" y="582"/>
                  </a:lnTo>
                  <a:lnTo>
                    <a:pt x="1393" y="582"/>
                  </a:lnTo>
                  <a:lnTo>
                    <a:pt x="1393" y="582"/>
                  </a:lnTo>
                  <a:lnTo>
                    <a:pt x="1395" y="582"/>
                  </a:lnTo>
                  <a:lnTo>
                    <a:pt x="1395" y="584"/>
                  </a:lnTo>
                  <a:lnTo>
                    <a:pt x="1397" y="584"/>
                  </a:lnTo>
                  <a:lnTo>
                    <a:pt x="1397" y="584"/>
                  </a:lnTo>
                  <a:lnTo>
                    <a:pt x="1397" y="584"/>
                  </a:lnTo>
                  <a:lnTo>
                    <a:pt x="1399" y="584"/>
                  </a:lnTo>
                  <a:lnTo>
                    <a:pt x="1399" y="584"/>
                  </a:lnTo>
                  <a:lnTo>
                    <a:pt x="1399" y="582"/>
                  </a:lnTo>
                  <a:lnTo>
                    <a:pt x="1399" y="582"/>
                  </a:lnTo>
                  <a:lnTo>
                    <a:pt x="1399" y="582"/>
                  </a:lnTo>
                  <a:lnTo>
                    <a:pt x="1399" y="582"/>
                  </a:lnTo>
                  <a:lnTo>
                    <a:pt x="1399" y="582"/>
                  </a:lnTo>
                  <a:lnTo>
                    <a:pt x="1399" y="582"/>
                  </a:lnTo>
                  <a:lnTo>
                    <a:pt x="1399" y="584"/>
                  </a:lnTo>
                  <a:lnTo>
                    <a:pt x="1399" y="584"/>
                  </a:lnTo>
                  <a:lnTo>
                    <a:pt x="1401" y="584"/>
                  </a:lnTo>
                  <a:lnTo>
                    <a:pt x="1401" y="584"/>
                  </a:lnTo>
                  <a:lnTo>
                    <a:pt x="1401" y="584"/>
                  </a:lnTo>
                  <a:lnTo>
                    <a:pt x="1401" y="584"/>
                  </a:lnTo>
                  <a:lnTo>
                    <a:pt x="1403" y="584"/>
                  </a:lnTo>
                  <a:lnTo>
                    <a:pt x="1403" y="584"/>
                  </a:lnTo>
                  <a:lnTo>
                    <a:pt x="1403" y="586"/>
                  </a:lnTo>
                  <a:lnTo>
                    <a:pt x="1401" y="584"/>
                  </a:lnTo>
                  <a:lnTo>
                    <a:pt x="1401" y="584"/>
                  </a:lnTo>
                  <a:lnTo>
                    <a:pt x="1407" y="586"/>
                  </a:lnTo>
                  <a:lnTo>
                    <a:pt x="1411" y="588"/>
                  </a:lnTo>
                  <a:lnTo>
                    <a:pt x="1413" y="588"/>
                  </a:lnTo>
                  <a:lnTo>
                    <a:pt x="1413" y="588"/>
                  </a:lnTo>
                  <a:lnTo>
                    <a:pt x="1415" y="588"/>
                  </a:lnTo>
                  <a:lnTo>
                    <a:pt x="1415" y="590"/>
                  </a:lnTo>
                  <a:lnTo>
                    <a:pt x="1417" y="590"/>
                  </a:lnTo>
                  <a:lnTo>
                    <a:pt x="1417" y="590"/>
                  </a:lnTo>
                  <a:lnTo>
                    <a:pt x="1417" y="590"/>
                  </a:lnTo>
                  <a:lnTo>
                    <a:pt x="1417" y="590"/>
                  </a:lnTo>
                  <a:lnTo>
                    <a:pt x="1417" y="590"/>
                  </a:lnTo>
                  <a:lnTo>
                    <a:pt x="1417" y="590"/>
                  </a:lnTo>
                  <a:lnTo>
                    <a:pt x="1419" y="588"/>
                  </a:lnTo>
                  <a:lnTo>
                    <a:pt x="1419" y="588"/>
                  </a:lnTo>
                  <a:lnTo>
                    <a:pt x="1419" y="588"/>
                  </a:lnTo>
                  <a:lnTo>
                    <a:pt x="1421" y="586"/>
                  </a:lnTo>
                  <a:lnTo>
                    <a:pt x="1421" y="588"/>
                  </a:lnTo>
                  <a:lnTo>
                    <a:pt x="1421" y="588"/>
                  </a:lnTo>
                  <a:lnTo>
                    <a:pt x="1421" y="588"/>
                  </a:lnTo>
                  <a:lnTo>
                    <a:pt x="1421" y="588"/>
                  </a:lnTo>
                  <a:lnTo>
                    <a:pt x="1421" y="590"/>
                  </a:lnTo>
                  <a:lnTo>
                    <a:pt x="1421" y="590"/>
                  </a:lnTo>
                  <a:lnTo>
                    <a:pt x="1421" y="590"/>
                  </a:lnTo>
                  <a:lnTo>
                    <a:pt x="1421" y="590"/>
                  </a:lnTo>
                  <a:lnTo>
                    <a:pt x="1421" y="590"/>
                  </a:lnTo>
                  <a:lnTo>
                    <a:pt x="1419" y="592"/>
                  </a:lnTo>
                  <a:lnTo>
                    <a:pt x="1419" y="592"/>
                  </a:lnTo>
                  <a:lnTo>
                    <a:pt x="1423" y="590"/>
                  </a:lnTo>
                  <a:lnTo>
                    <a:pt x="1425" y="590"/>
                  </a:lnTo>
                  <a:lnTo>
                    <a:pt x="1425" y="592"/>
                  </a:lnTo>
                  <a:lnTo>
                    <a:pt x="1425" y="592"/>
                  </a:lnTo>
                  <a:lnTo>
                    <a:pt x="1423" y="592"/>
                  </a:lnTo>
                  <a:lnTo>
                    <a:pt x="1425" y="592"/>
                  </a:lnTo>
                  <a:lnTo>
                    <a:pt x="1425" y="592"/>
                  </a:lnTo>
                  <a:lnTo>
                    <a:pt x="1428" y="592"/>
                  </a:lnTo>
                  <a:lnTo>
                    <a:pt x="1428" y="592"/>
                  </a:lnTo>
                  <a:lnTo>
                    <a:pt x="1430" y="592"/>
                  </a:lnTo>
                  <a:lnTo>
                    <a:pt x="1432" y="594"/>
                  </a:lnTo>
                  <a:lnTo>
                    <a:pt x="1438" y="598"/>
                  </a:lnTo>
                  <a:lnTo>
                    <a:pt x="1440" y="598"/>
                  </a:lnTo>
                  <a:lnTo>
                    <a:pt x="1440" y="600"/>
                  </a:lnTo>
                  <a:lnTo>
                    <a:pt x="1440" y="603"/>
                  </a:lnTo>
                  <a:lnTo>
                    <a:pt x="1440" y="603"/>
                  </a:lnTo>
                  <a:lnTo>
                    <a:pt x="1440" y="603"/>
                  </a:lnTo>
                  <a:lnTo>
                    <a:pt x="1440" y="605"/>
                  </a:lnTo>
                  <a:lnTo>
                    <a:pt x="1440" y="605"/>
                  </a:lnTo>
                  <a:lnTo>
                    <a:pt x="1442" y="605"/>
                  </a:lnTo>
                  <a:lnTo>
                    <a:pt x="1442" y="605"/>
                  </a:lnTo>
                  <a:lnTo>
                    <a:pt x="1442" y="605"/>
                  </a:lnTo>
                  <a:lnTo>
                    <a:pt x="1448" y="609"/>
                  </a:lnTo>
                  <a:lnTo>
                    <a:pt x="1448" y="609"/>
                  </a:lnTo>
                  <a:lnTo>
                    <a:pt x="1448" y="611"/>
                  </a:lnTo>
                  <a:lnTo>
                    <a:pt x="1450" y="611"/>
                  </a:lnTo>
                  <a:lnTo>
                    <a:pt x="1450" y="611"/>
                  </a:lnTo>
                  <a:lnTo>
                    <a:pt x="1452" y="609"/>
                  </a:lnTo>
                  <a:lnTo>
                    <a:pt x="1452" y="609"/>
                  </a:lnTo>
                  <a:lnTo>
                    <a:pt x="1452" y="609"/>
                  </a:lnTo>
                  <a:lnTo>
                    <a:pt x="1454" y="607"/>
                  </a:lnTo>
                  <a:lnTo>
                    <a:pt x="1454" y="607"/>
                  </a:lnTo>
                  <a:lnTo>
                    <a:pt x="1454" y="607"/>
                  </a:lnTo>
                  <a:lnTo>
                    <a:pt x="1454" y="607"/>
                  </a:lnTo>
                  <a:lnTo>
                    <a:pt x="1454" y="609"/>
                  </a:lnTo>
                  <a:lnTo>
                    <a:pt x="1454" y="609"/>
                  </a:lnTo>
                  <a:lnTo>
                    <a:pt x="1454" y="609"/>
                  </a:lnTo>
                  <a:lnTo>
                    <a:pt x="1454" y="609"/>
                  </a:lnTo>
                  <a:lnTo>
                    <a:pt x="1454" y="609"/>
                  </a:lnTo>
                  <a:lnTo>
                    <a:pt x="1452" y="611"/>
                  </a:lnTo>
                  <a:lnTo>
                    <a:pt x="1452" y="611"/>
                  </a:lnTo>
                  <a:lnTo>
                    <a:pt x="1450" y="611"/>
                  </a:lnTo>
                  <a:lnTo>
                    <a:pt x="1450" y="611"/>
                  </a:lnTo>
                  <a:lnTo>
                    <a:pt x="1450" y="611"/>
                  </a:lnTo>
                  <a:lnTo>
                    <a:pt x="1450" y="611"/>
                  </a:lnTo>
                  <a:lnTo>
                    <a:pt x="1452" y="611"/>
                  </a:lnTo>
                  <a:lnTo>
                    <a:pt x="1452" y="613"/>
                  </a:lnTo>
                  <a:lnTo>
                    <a:pt x="1454" y="613"/>
                  </a:lnTo>
                  <a:lnTo>
                    <a:pt x="1456" y="613"/>
                  </a:lnTo>
                  <a:lnTo>
                    <a:pt x="1458" y="615"/>
                  </a:lnTo>
                  <a:lnTo>
                    <a:pt x="1460" y="615"/>
                  </a:lnTo>
                  <a:lnTo>
                    <a:pt x="1460" y="615"/>
                  </a:lnTo>
                  <a:lnTo>
                    <a:pt x="1460" y="615"/>
                  </a:lnTo>
                  <a:lnTo>
                    <a:pt x="1460" y="617"/>
                  </a:lnTo>
                  <a:lnTo>
                    <a:pt x="1462" y="617"/>
                  </a:lnTo>
                  <a:lnTo>
                    <a:pt x="1464" y="617"/>
                  </a:lnTo>
                  <a:lnTo>
                    <a:pt x="1466" y="619"/>
                  </a:lnTo>
                  <a:lnTo>
                    <a:pt x="1466" y="619"/>
                  </a:lnTo>
                  <a:lnTo>
                    <a:pt x="1468" y="619"/>
                  </a:lnTo>
                  <a:lnTo>
                    <a:pt x="1468" y="619"/>
                  </a:lnTo>
                  <a:lnTo>
                    <a:pt x="1468" y="617"/>
                  </a:lnTo>
                  <a:lnTo>
                    <a:pt x="1471" y="617"/>
                  </a:lnTo>
                  <a:lnTo>
                    <a:pt x="1471" y="617"/>
                  </a:lnTo>
                  <a:lnTo>
                    <a:pt x="1471" y="617"/>
                  </a:lnTo>
                  <a:lnTo>
                    <a:pt x="1473" y="617"/>
                  </a:lnTo>
                  <a:lnTo>
                    <a:pt x="1473" y="619"/>
                  </a:lnTo>
                  <a:lnTo>
                    <a:pt x="1473" y="619"/>
                  </a:lnTo>
                  <a:lnTo>
                    <a:pt x="1473" y="619"/>
                  </a:lnTo>
                  <a:lnTo>
                    <a:pt x="1473" y="619"/>
                  </a:lnTo>
                  <a:lnTo>
                    <a:pt x="1473" y="617"/>
                  </a:lnTo>
                  <a:lnTo>
                    <a:pt x="1475" y="617"/>
                  </a:lnTo>
                  <a:lnTo>
                    <a:pt x="1475" y="619"/>
                  </a:lnTo>
                  <a:lnTo>
                    <a:pt x="1475" y="619"/>
                  </a:lnTo>
                  <a:lnTo>
                    <a:pt x="1475" y="619"/>
                  </a:lnTo>
                  <a:lnTo>
                    <a:pt x="1475" y="619"/>
                  </a:lnTo>
                  <a:lnTo>
                    <a:pt x="1475" y="621"/>
                  </a:lnTo>
                  <a:lnTo>
                    <a:pt x="1475" y="621"/>
                  </a:lnTo>
                  <a:lnTo>
                    <a:pt x="1475" y="621"/>
                  </a:lnTo>
                  <a:lnTo>
                    <a:pt x="1477" y="619"/>
                  </a:lnTo>
                  <a:lnTo>
                    <a:pt x="1477" y="619"/>
                  </a:lnTo>
                  <a:lnTo>
                    <a:pt x="1477" y="621"/>
                  </a:lnTo>
                  <a:lnTo>
                    <a:pt x="1477" y="621"/>
                  </a:lnTo>
                  <a:lnTo>
                    <a:pt x="1477" y="621"/>
                  </a:lnTo>
                  <a:lnTo>
                    <a:pt x="1477" y="621"/>
                  </a:lnTo>
                  <a:lnTo>
                    <a:pt x="1477" y="621"/>
                  </a:lnTo>
                  <a:lnTo>
                    <a:pt x="1479" y="621"/>
                  </a:lnTo>
                  <a:lnTo>
                    <a:pt x="1479" y="621"/>
                  </a:lnTo>
                  <a:lnTo>
                    <a:pt x="1479" y="621"/>
                  </a:lnTo>
                  <a:lnTo>
                    <a:pt x="1479" y="621"/>
                  </a:lnTo>
                  <a:lnTo>
                    <a:pt x="1479" y="621"/>
                  </a:lnTo>
                  <a:lnTo>
                    <a:pt x="1479" y="621"/>
                  </a:lnTo>
                  <a:lnTo>
                    <a:pt x="1479" y="621"/>
                  </a:lnTo>
                  <a:lnTo>
                    <a:pt x="1479" y="621"/>
                  </a:lnTo>
                  <a:lnTo>
                    <a:pt x="1481" y="621"/>
                  </a:lnTo>
                  <a:lnTo>
                    <a:pt x="1481" y="621"/>
                  </a:lnTo>
                  <a:lnTo>
                    <a:pt x="1479" y="621"/>
                  </a:lnTo>
                  <a:lnTo>
                    <a:pt x="1479" y="623"/>
                  </a:lnTo>
                  <a:lnTo>
                    <a:pt x="1479" y="623"/>
                  </a:lnTo>
                  <a:lnTo>
                    <a:pt x="1481" y="625"/>
                  </a:lnTo>
                  <a:lnTo>
                    <a:pt x="1481" y="625"/>
                  </a:lnTo>
                  <a:lnTo>
                    <a:pt x="1481" y="625"/>
                  </a:lnTo>
                  <a:lnTo>
                    <a:pt x="1481" y="625"/>
                  </a:lnTo>
                  <a:lnTo>
                    <a:pt x="1481" y="623"/>
                  </a:lnTo>
                  <a:lnTo>
                    <a:pt x="1481" y="623"/>
                  </a:lnTo>
                  <a:lnTo>
                    <a:pt x="1483" y="623"/>
                  </a:lnTo>
                  <a:lnTo>
                    <a:pt x="1483" y="623"/>
                  </a:lnTo>
                  <a:lnTo>
                    <a:pt x="1483" y="623"/>
                  </a:lnTo>
                  <a:lnTo>
                    <a:pt x="1483" y="621"/>
                  </a:lnTo>
                  <a:lnTo>
                    <a:pt x="1483" y="621"/>
                  </a:lnTo>
                  <a:lnTo>
                    <a:pt x="1483" y="621"/>
                  </a:lnTo>
                  <a:lnTo>
                    <a:pt x="1483" y="621"/>
                  </a:lnTo>
                  <a:lnTo>
                    <a:pt x="1479" y="619"/>
                  </a:lnTo>
                  <a:lnTo>
                    <a:pt x="1481" y="617"/>
                  </a:lnTo>
                  <a:lnTo>
                    <a:pt x="1481" y="617"/>
                  </a:lnTo>
                  <a:lnTo>
                    <a:pt x="1481" y="617"/>
                  </a:lnTo>
                  <a:lnTo>
                    <a:pt x="1481" y="617"/>
                  </a:lnTo>
                  <a:lnTo>
                    <a:pt x="1483" y="617"/>
                  </a:lnTo>
                  <a:lnTo>
                    <a:pt x="1483" y="617"/>
                  </a:lnTo>
                  <a:lnTo>
                    <a:pt x="1483" y="617"/>
                  </a:lnTo>
                  <a:lnTo>
                    <a:pt x="1483" y="617"/>
                  </a:lnTo>
                  <a:lnTo>
                    <a:pt x="1483" y="617"/>
                  </a:lnTo>
                  <a:lnTo>
                    <a:pt x="1483" y="619"/>
                  </a:lnTo>
                  <a:lnTo>
                    <a:pt x="1483" y="619"/>
                  </a:lnTo>
                  <a:lnTo>
                    <a:pt x="1485" y="619"/>
                  </a:lnTo>
                  <a:lnTo>
                    <a:pt x="1485" y="617"/>
                  </a:lnTo>
                  <a:lnTo>
                    <a:pt x="1487" y="619"/>
                  </a:lnTo>
                  <a:lnTo>
                    <a:pt x="1487" y="619"/>
                  </a:lnTo>
                  <a:lnTo>
                    <a:pt x="1487" y="617"/>
                  </a:lnTo>
                  <a:lnTo>
                    <a:pt x="1487" y="617"/>
                  </a:lnTo>
                  <a:lnTo>
                    <a:pt x="1487" y="615"/>
                  </a:lnTo>
                  <a:lnTo>
                    <a:pt x="1487" y="615"/>
                  </a:lnTo>
                  <a:lnTo>
                    <a:pt x="1487" y="615"/>
                  </a:lnTo>
                  <a:lnTo>
                    <a:pt x="1485" y="615"/>
                  </a:lnTo>
                  <a:lnTo>
                    <a:pt x="1485" y="615"/>
                  </a:lnTo>
                  <a:lnTo>
                    <a:pt x="1485" y="615"/>
                  </a:lnTo>
                  <a:lnTo>
                    <a:pt x="1485" y="615"/>
                  </a:lnTo>
                  <a:lnTo>
                    <a:pt x="1485" y="615"/>
                  </a:lnTo>
                  <a:lnTo>
                    <a:pt x="1485" y="615"/>
                  </a:lnTo>
                  <a:lnTo>
                    <a:pt x="1485" y="615"/>
                  </a:lnTo>
                  <a:lnTo>
                    <a:pt x="1483" y="615"/>
                  </a:lnTo>
                  <a:lnTo>
                    <a:pt x="1483" y="617"/>
                  </a:lnTo>
                  <a:lnTo>
                    <a:pt x="1485" y="617"/>
                  </a:lnTo>
                  <a:lnTo>
                    <a:pt x="1485" y="617"/>
                  </a:lnTo>
                  <a:lnTo>
                    <a:pt x="1483" y="617"/>
                  </a:lnTo>
                  <a:lnTo>
                    <a:pt x="1483" y="617"/>
                  </a:lnTo>
                  <a:lnTo>
                    <a:pt x="1483" y="617"/>
                  </a:lnTo>
                  <a:lnTo>
                    <a:pt x="1483" y="617"/>
                  </a:lnTo>
                  <a:lnTo>
                    <a:pt x="1483" y="617"/>
                  </a:lnTo>
                  <a:lnTo>
                    <a:pt x="1483" y="617"/>
                  </a:lnTo>
                  <a:lnTo>
                    <a:pt x="1483" y="617"/>
                  </a:lnTo>
                  <a:lnTo>
                    <a:pt x="1481" y="617"/>
                  </a:lnTo>
                  <a:lnTo>
                    <a:pt x="1483" y="615"/>
                  </a:lnTo>
                  <a:lnTo>
                    <a:pt x="1483" y="615"/>
                  </a:lnTo>
                  <a:lnTo>
                    <a:pt x="1483" y="615"/>
                  </a:lnTo>
                  <a:lnTo>
                    <a:pt x="1483" y="613"/>
                  </a:lnTo>
                  <a:lnTo>
                    <a:pt x="1483" y="613"/>
                  </a:lnTo>
                  <a:lnTo>
                    <a:pt x="1483" y="613"/>
                  </a:lnTo>
                  <a:lnTo>
                    <a:pt x="1483" y="613"/>
                  </a:lnTo>
                  <a:lnTo>
                    <a:pt x="1483" y="613"/>
                  </a:lnTo>
                  <a:lnTo>
                    <a:pt x="1483" y="613"/>
                  </a:lnTo>
                  <a:lnTo>
                    <a:pt x="1483" y="613"/>
                  </a:lnTo>
                  <a:lnTo>
                    <a:pt x="1483" y="613"/>
                  </a:lnTo>
                  <a:lnTo>
                    <a:pt x="1485" y="615"/>
                  </a:lnTo>
                  <a:lnTo>
                    <a:pt x="1487" y="615"/>
                  </a:lnTo>
                  <a:lnTo>
                    <a:pt x="1487" y="615"/>
                  </a:lnTo>
                  <a:lnTo>
                    <a:pt x="1487" y="613"/>
                  </a:lnTo>
                  <a:lnTo>
                    <a:pt x="1489" y="615"/>
                  </a:lnTo>
                  <a:lnTo>
                    <a:pt x="1489" y="615"/>
                  </a:lnTo>
                  <a:lnTo>
                    <a:pt x="1489" y="615"/>
                  </a:lnTo>
                  <a:lnTo>
                    <a:pt x="1489" y="617"/>
                  </a:lnTo>
                  <a:lnTo>
                    <a:pt x="1489" y="617"/>
                  </a:lnTo>
                  <a:lnTo>
                    <a:pt x="1491" y="617"/>
                  </a:lnTo>
                  <a:lnTo>
                    <a:pt x="1493" y="617"/>
                  </a:lnTo>
                  <a:lnTo>
                    <a:pt x="1493" y="615"/>
                  </a:lnTo>
                  <a:lnTo>
                    <a:pt x="1495" y="615"/>
                  </a:lnTo>
                  <a:lnTo>
                    <a:pt x="1495" y="615"/>
                  </a:lnTo>
                  <a:lnTo>
                    <a:pt x="1495" y="613"/>
                  </a:lnTo>
                  <a:lnTo>
                    <a:pt x="1495" y="611"/>
                  </a:lnTo>
                  <a:lnTo>
                    <a:pt x="1495" y="611"/>
                  </a:lnTo>
                  <a:lnTo>
                    <a:pt x="1493" y="609"/>
                  </a:lnTo>
                  <a:lnTo>
                    <a:pt x="1493" y="609"/>
                  </a:lnTo>
                  <a:lnTo>
                    <a:pt x="1493" y="609"/>
                  </a:lnTo>
                  <a:lnTo>
                    <a:pt x="1493" y="607"/>
                  </a:lnTo>
                  <a:lnTo>
                    <a:pt x="1493" y="607"/>
                  </a:lnTo>
                  <a:lnTo>
                    <a:pt x="1493" y="607"/>
                  </a:lnTo>
                  <a:lnTo>
                    <a:pt x="1493" y="607"/>
                  </a:lnTo>
                  <a:lnTo>
                    <a:pt x="1493" y="607"/>
                  </a:lnTo>
                  <a:lnTo>
                    <a:pt x="1493" y="607"/>
                  </a:lnTo>
                  <a:lnTo>
                    <a:pt x="1493" y="607"/>
                  </a:lnTo>
                  <a:lnTo>
                    <a:pt x="1493" y="605"/>
                  </a:lnTo>
                  <a:lnTo>
                    <a:pt x="1493" y="605"/>
                  </a:lnTo>
                  <a:lnTo>
                    <a:pt x="1491" y="605"/>
                  </a:lnTo>
                  <a:lnTo>
                    <a:pt x="1491" y="607"/>
                  </a:lnTo>
                  <a:lnTo>
                    <a:pt x="1489" y="607"/>
                  </a:lnTo>
                  <a:lnTo>
                    <a:pt x="1489" y="607"/>
                  </a:lnTo>
                  <a:lnTo>
                    <a:pt x="1489" y="607"/>
                  </a:lnTo>
                  <a:lnTo>
                    <a:pt x="1489" y="607"/>
                  </a:lnTo>
                  <a:lnTo>
                    <a:pt x="1491" y="605"/>
                  </a:lnTo>
                  <a:lnTo>
                    <a:pt x="1491" y="605"/>
                  </a:lnTo>
                  <a:lnTo>
                    <a:pt x="1491" y="605"/>
                  </a:lnTo>
                  <a:lnTo>
                    <a:pt x="1491" y="605"/>
                  </a:lnTo>
                  <a:lnTo>
                    <a:pt x="1491" y="605"/>
                  </a:lnTo>
                  <a:lnTo>
                    <a:pt x="1491" y="605"/>
                  </a:lnTo>
                  <a:lnTo>
                    <a:pt x="1491" y="603"/>
                  </a:lnTo>
                  <a:lnTo>
                    <a:pt x="1489" y="603"/>
                  </a:lnTo>
                  <a:lnTo>
                    <a:pt x="1489" y="603"/>
                  </a:lnTo>
                  <a:lnTo>
                    <a:pt x="1489" y="603"/>
                  </a:lnTo>
                  <a:lnTo>
                    <a:pt x="1489" y="603"/>
                  </a:lnTo>
                  <a:lnTo>
                    <a:pt x="1487" y="603"/>
                  </a:lnTo>
                  <a:lnTo>
                    <a:pt x="1489" y="603"/>
                  </a:lnTo>
                  <a:lnTo>
                    <a:pt x="1489" y="603"/>
                  </a:lnTo>
                  <a:lnTo>
                    <a:pt x="1489" y="603"/>
                  </a:lnTo>
                  <a:lnTo>
                    <a:pt x="1489" y="600"/>
                  </a:lnTo>
                  <a:lnTo>
                    <a:pt x="1485" y="600"/>
                  </a:lnTo>
                  <a:lnTo>
                    <a:pt x="1485" y="598"/>
                  </a:lnTo>
                  <a:lnTo>
                    <a:pt x="1485" y="600"/>
                  </a:lnTo>
                  <a:lnTo>
                    <a:pt x="1485" y="600"/>
                  </a:lnTo>
                  <a:lnTo>
                    <a:pt x="1485" y="600"/>
                  </a:lnTo>
                  <a:lnTo>
                    <a:pt x="1485" y="600"/>
                  </a:lnTo>
                  <a:lnTo>
                    <a:pt x="1485" y="600"/>
                  </a:lnTo>
                  <a:lnTo>
                    <a:pt x="1485" y="600"/>
                  </a:lnTo>
                  <a:lnTo>
                    <a:pt x="1485" y="600"/>
                  </a:lnTo>
                  <a:lnTo>
                    <a:pt x="1485" y="600"/>
                  </a:lnTo>
                  <a:lnTo>
                    <a:pt x="1483" y="600"/>
                  </a:lnTo>
                  <a:lnTo>
                    <a:pt x="1483" y="600"/>
                  </a:lnTo>
                  <a:lnTo>
                    <a:pt x="1483" y="603"/>
                  </a:lnTo>
                  <a:lnTo>
                    <a:pt x="1483" y="603"/>
                  </a:lnTo>
                  <a:lnTo>
                    <a:pt x="1485" y="603"/>
                  </a:lnTo>
                  <a:lnTo>
                    <a:pt x="1485" y="603"/>
                  </a:lnTo>
                  <a:lnTo>
                    <a:pt x="1485" y="603"/>
                  </a:lnTo>
                  <a:lnTo>
                    <a:pt x="1483" y="603"/>
                  </a:lnTo>
                  <a:lnTo>
                    <a:pt x="1483" y="603"/>
                  </a:lnTo>
                  <a:lnTo>
                    <a:pt x="1481" y="603"/>
                  </a:lnTo>
                  <a:lnTo>
                    <a:pt x="1481" y="605"/>
                  </a:lnTo>
                  <a:lnTo>
                    <a:pt x="1481" y="605"/>
                  </a:lnTo>
                  <a:lnTo>
                    <a:pt x="1481" y="605"/>
                  </a:lnTo>
                  <a:lnTo>
                    <a:pt x="1479" y="605"/>
                  </a:lnTo>
                  <a:lnTo>
                    <a:pt x="1479" y="603"/>
                  </a:lnTo>
                  <a:lnTo>
                    <a:pt x="1481" y="603"/>
                  </a:lnTo>
                  <a:lnTo>
                    <a:pt x="1481" y="603"/>
                  </a:lnTo>
                  <a:lnTo>
                    <a:pt x="1483" y="600"/>
                  </a:lnTo>
                  <a:lnTo>
                    <a:pt x="1483" y="600"/>
                  </a:lnTo>
                  <a:lnTo>
                    <a:pt x="1483" y="598"/>
                  </a:lnTo>
                  <a:lnTo>
                    <a:pt x="1483" y="598"/>
                  </a:lnTo>
                  <a:lnTo>
                    <a:pt x="1483" y="598"/>
                  </a:lnTo>
                  <a:lnTo>
                    <a:pt x="1483" y="598"/>
                  </a:lnTo>
                  <a:lnTo>
                    <a:pt x="1483" y="596"/>
                  </a:lnTo>
                  <a:lnTo>
                    <a:pt x="1481" y="596"/>
                  </a:lnTo>
                  <a:lnTo>
                    <a:pt x="1479" y="596"/>
                  </a:lnTo>
                  <a:lnTo>
                    <a:pt x="1479" y="596"/>
                  </a:lnTo>
                  <a:lnTo>
                    <a:pt x="1479" y="598"/>
                  </a:lnTo>
                  <a:lnTo>
                    <a:pt x="1479" y="598"/>
                  </a:lnTo>
                  <a:lnTo>
                    <a:pt x="1481" y="598"/>
                  </a:lnTo>
                  <a:lnTo>
                    <a:pt x="1481" y="600"/>
                  </a:lnTo>
                  <a:lnTo>
                    <a:pt x="1481" y="600"/>
                  </a:lnTo>
                  <a:lnTo>
                    <a:pt x="1479" y="598"/>
                  </a:lnTo>
                  <a:lnTo>
                    <a:pt x="1479" y="598"/>
                  </a:lnTo>
                  <a:lnTo>
                    <a:pt x="1479" y="598"/>
                  </a:lnTo>
                  <a:lnTo>
                    <a:pt x="1479" y="598"/>
                  </a:lnTo>
                  <a:lnTo>
                    <a:pt x="1479" y="598"/>
                  </a:lnTo>
                  <a:lnTo>
                    <a:pt x="1479" y="598"/>
                  </a:lnTo>
                  <a:lnTo>
                    <a:pt x="1479" y="598"/>
                  </a:lnTo>
                  <a:lnTo>
                    <a:pt x="1479" y="598"/>
                  </a:lnTo>
                  <a:lnTo>
                    <a:pt x="1479" y="596"/>
                  </a:lnTo>
                  <a:lnTo>
                    <a:pt x="1477" y="596"/>
                  </a:lnTo>
                  <a:lnTo>
                    <a:pt x="1477" y="596"/>
                  </a:lnTo>
                  <a:lnTo>
                    <a:pt x="1477" y="596"/>
                  </a:lnTo>
                  <a:lnTo>
                    <a:pt x="1477" y="596"/>
                  </a:lnTo>
                  <a:lnTo>
                    <a:pt x="1475" y="596"/>
                  </a:lnTo>
                  <a:lnTo>
                    <a:pt x="1475" y="596"/>
                  </a:lnTo>
                  <a:lnTo>
                    <a:pt x="1475" y="596"/>
                  </a:lnTo>
                  <a:lnTo>
                    <a:pt x="1477" y="596"/>
                  </a:lnTo>
                  <a:lnTo>
                    <a:pt x="1477" y="596"/>
                  </a:lnTo>
                  <a:lnTo>
                    <a:pt x="1475" y="594"/>
                  </a:lnTo>
                  <a:lnTo>
                    <a:pt x="1475" y="594"/>
                  </a:lnTo>
                  <a:lnTo>
                    <a:pt x="1473" y="594"/>
                  </a:lnTo>
                  <a:lnTo>
                    <a:pt x="1475" y="594"/>
                  </a:lnTo>
                  <a:lnTo>
                    <a:pt x="1475" y="594"/>
                  </a:lnTo>
                  <a:lnTo>
                    <a:pt x="1477" y="594"/>
                  </a:lnTo>
                  <a:lnTo>
                    <a:pt x="1477" y="596"/>
                  </a:lnTo>
                  <a:lnTo>
                    <a:pt x="1477" y="596"/>
                  </a:lnTo>
                  <a:lnTo>
                    <a:pt x="1477" y="594"/>
                  </a:lnTo>
                  <a:lnTo>
                    <a:pt x="1477" y="594"/>
                  </a:lnTo>
                  <a:lnTo>
                    <a:pt x="1479" y="594"/>
                  </a:lnTo>
                  <a:lnTo>
                    <a:pt x="1479" y="594"/>
                  </a:lnTo>
                  <a:lnTo>
                    <a:pt x="1477" y="592"/>
                  </a:lnTo>
                  <a:lnTo>
                    <a:pt x="1475" y="592"/>
                  </a:lnTo>
                  <a:lnTo>
                    <a:pt x="1475" y="592"/>
                  </a:lnTo>
                  <a:lnTo>
                    <a:pt x="1475" y="592"/>
                  </a:lnTo>
                  <a:lnTo>
                    <a:pt x="1475" y="592"/>
                  </a:lnTo>
                  <a:lnTo>
                    <a:pt x="1475" y="592"/>
                  </a:lnTo>
                  <a:lnTo>
                    <a:pt x="1475" y="592"/>
                  </a:lnTo>
                  <a:lnTo>
                    <a:pt x="1473" y="592"/>
                  </a:lnTo>
                  <a:lnTo>
                    <a:pt x="1473" y="592"/>
                  </a:lnTo>
                  <a:lnTo>
                    <a:pt x="1473" y="592"/>
                  </a:lnTo>
                  <a:lnTo>
                    <a:pt x="1473" y="592"/>
                  </a:lnTo>
                  <a:lnTo>
                    <a:pt x="1473" y="592"/>
                  </a:lnTo>
                  <a:lnTo>
                    <a:pt x="1471" y="592"/>
                  </a:lnTo>
                  <a:lnTo>
                    <a:pt x="1471" y="592"/>
                  </a:lnTo>
                  <a:lnTo>
                    <a:pt x="1471" y="592"/>
                  </a:lnTo>
                  <a:lnTo>
                    <a:pt x="1468" y="592"/>
                  </a:lnTo>
                  <a:lnTo>
                    <a:pt x="1468" y="594"/>
                  </a:lnTo>
                  <a:lnTo>
                    <a:pt x="1468" y="594"/>
                  </a:lnTo>
                  <a:lnTo>
                    <a:pt x="1468" y="594"/>
                  </a:lnTo>
                  <a:lnTo>
                    <a:pt x="1468" y="594"/>
                  </a:lnTo>
                  <a:lnTo>
                    <a:pt x="1468" y="592"/>
                  </a:lnTo>
                  <a:lnTo>
                    <a:pt x="1468" y="592"/>
                  </a:lnTo>
                  <a:lnTo>
                    <a:pt x="1468" y="592"/>
                  </a:lnTo>
                  <a:lnTo>
                    <a:pt x="1468" y="592"/>
                  </a:lnTo>
                  <a:lnTo>
                    <a:pt x="1466" y="592"/>
                  </a:lnTo>
                  <a:lnTo>
                    <a:pt x="1464" y="592"/>
                  </a:lnTo>
                  <a:lnTo>
                    <a:pt x="1462" y="592"/>
                  </a:lnTo>
                  <a:lnTo>
                    <a:pt x="1462" y="594"/>
                  </a:lnTo>
                  <a:lnTo>
                    <a:pt x="1462" y="596"/>
                  </a:lnTo>
                  <a:lnTo>
                    <a:pt x="1462" y="596"/>
                  </a:lnTo>
                  <a:lnTo>
                    <a:pt x="1462" y="596"/>
                  </a:lnTo>
                  <a:lnTo>
                    <a:pt x="1460" y="596"/>
                  </a:lnTo>
                  <a:lnTo>
                    <a:pt x="1460" y="596"/>
                  </a:lnTo>
                  <a:lnTo>
                    <a:pt x="1460" y="594"/>
                  </a:lnTo>
                  <a:lnTo>
                    <a:pt x="1462" y="594"/>
                  </a:lnTo>
                  <a:lnTo>
                    <a:pt x="1462" y="594"/>
                  </a:lnTo>
                  <a:lnTo>
                    <a:pt x="1462" y="592"/>
                  </a:lnTo>
                  <a:lnTo>
                    <a:pt x="1462" y="592"/>
                  </a:lnTo>
                  <a:lnTo>
                    <a:pt x="1464" y="590"/>
                  </a:lnTo>
                  <a:lnTo>
                    <a:pt x="1464" y="590"/>
                  </a:lnTo>
                  <a:lnTo>
                    <a:pt x="1464" y="588"/>
                  </a:lnTo>
                  <a:lnTo>
                    <a:pt x="1464" y="588"/>
                  </a:lnTo>
                  <a:lnTo>
                    <a:pt x="1462" y="588"/>
                  </a:lnTo>
                  <a:lnTo>
                    <a:pt x="1462" y="586"/>
                  </a:lnTo>
                  <a:lnTo>
                    <a:pt x="1460" y="586"/>
                  </a:lnTo>
                  <a:lnTo>
                    <a:pt x="1460" y="586"/>
                  </a:lnTo>
                  <a:lnTo>
                    <a:pt x="1460" y="586"/>
                  </a:lnTo>
                  <a:lnTo>
                    <a:pt x="1460" y="584"/>
                  </a:lnTo>
                  <a:lnTo>
                    <a:pt x="1460" y="584"/>
                  </a:lnTo>
                  <a:lnTo>
                    <a:pt x="1460" y="584"/>
                  </a:lnTo>
                  <a:lnTo>
                    <a:pt x="1460" y="584"/>
                  </a:lnTo>
                  <a:lnTo>
                    <a:pt x="1460" y="584"/>
                  </a:lnTo>
                  <a:lnTo>
                    <a:pt x="1462" y="586"/>
                  </a:lnTo>
                  <a:lnTo>
                    <a:pt x="1464" y="586"/>
                  </a:lnTo>
                  <a:lnTo>
                    <a:pt x="1464" y="588"/>
                  </a:lnTo>
                  <a:lnTo>
                    <a:pt x="1466" y="588"/>
                  </a:lnTo>
                  <a:lnTo>
                    <a:pt x="1466" y="588"/>
                  </a:lnTo>
                  <a:lnTo>
                    <a:pt x="1468" y="588"/>
                  </a:lnTo>
                  <a:lnTo>
                    <a:pt x="1468" y="588"/>
                  </a:lnTo>
                  <a:lnTo>
                    <a:pt x="1471" y="590"/>
                  </a:lnTo>
                  <a:lnTo>
                    <a:pt x="1471" y="590"/>
                  </a:lnTo>
                  <a:lnTo>
                    <a:pt x="1471" y="590"/>
                  </a:lnTo>
                  <a:lnTo>
                    <a:pt x="1471" y="590"/>
                  </a:lnTo>
                  <a:lnTo>
                    <a:pt x="1473" y="590"/>
                  </a:lnTo>
                  <a:lnTo>
                    <a:pt x="1473" y="590"/>
                  </a:lnTo>
                  <a:lnTo>
                    <a:pt x="1473" y="590"/>
                  </a:lnTo>
                  <a:lnTo>
                    <a:pt x="1468" y="584"/>
                  </a:lnTo>
                  <a:lnTo>
                    <a:pt x="1471" y="584"/>
                  </a:lnTo>
                  <a:lnTo>
                    <a:pt x="1471" y="584"/>
                  </a:lnTo>
                  <a:lnTo>
                    <a:pt x="1473" y="586"/>
                  </a:lnTo>
                  <a:lnTo>
                    <a:pt x="1475" y="588"/>
                  </a:lnTo>
                  <a:lnTo>
                    <a:pt x="1475" y="586"/>
                  </a:lnTo>
                  <a:lnTo>
                    <a:pt x="1475" y="586"/>
                  </a:lnTo>
                  <a:lnTo>
                    <a:pt x="1475" y="586"/>
                  </a:lnTo>
                  <a:lnTo>
                    <a:pt x="1475" y="586"/>
                  </a:lnTo>
                  <a:lnTo>
                    <a:pt x="1475" y="586"/>
                  </a:lnTo>
                  <a:lnTo>
                    <a:pt x="1477" y="588"/>
                  </a:lnTo>
                  <a:lnTo>
                    <a:pt x="1477" y="590"/>
                  </a:lnTo>
                  <a:lnTo>
                    <a:pt x="1477" y="592"/>
                  </a:lnTo>
                  <a:lnTo>
                    <a:pt x="1479" y="592"/>
                  </a:lnTo>
                  <a:lnTo>
                    <a:pt x="1479" y="592"/>
                  </a:lnTo>
                  <a:lnTo>
                    <a:pt x="1481" y="592"/>
                  </a:lnTo>
                  <a:lnTo>
                    <a:pt x="1483" y="590"/>
                  </a:lnTo>
                  <a:lnTo>
                    <a:pt x="1483" y="590"/>
                  </a:lnTo>
                  <a:lnTo>
                    <a:pt x="1483" y="592"/>
                  </a:lnTo>
                  <a:lnTo>
                    <a:pt x="1483" y="592"/>
                  </a:lnTo>
                  <a:lnTo>
                    <a:pt x="1481" y="592"/>
                  </a:lnTo>
                  <a:lnTo>
                    <a:pt x="1481" y="592"/>
                  </a:lnTo>
                  <a:lnTo>
                    <a:pt x="1485" y="594"/>
                  </a:lnTo>
                  <a:lnTo>
                    <a:pt x="1485" y="594"/>
                  </a:lnTo>
                  <a:lnTo>
                    <a:pt x="1487" y="592"/>
                  </a:lnTo>
                  <a:lnTo>
                    <a:pt x="1487" y="592"/>
                  </a:lnTo>
                  <a:lnTo>
                    <a:pt x="1487" y="592"/>
                  </a:lnTo>
                  <a:lnTo>
                    <a:pt x="1487" y="592"/>
                  </a:lnTo>
                  <a:lnTo>
                    <a:pt x="1487" y="592"/>
                  </a:lnTo>
                  <a:lnTo>
                    <a:pt x="1487" y="590"/>
                  </a:lnTo>
                  <a:lnTo>
                    <a:pt x="1487" y="590"/>
                  </a:lnTo>
                  <a:lnTo>
                    <a:pt x="1487" y="588"/>
                  </a:lnTo>
                  <a:lnTo>
                    <a:pt x="1487" y="588"/>
                  </a:lnTo>
                  <a:lnTo>
                    <a:pt x="1487" y="586"/>
                  </a:lnTo>
                  <a:lnTo>
                    <a:pt x="1487" y="586"/>
                  </a:lnTo>
                  <a:lnTo>
                    <a:pt x="1485" y="586"/>
                  </a:lnTo>
                  <a:lnTo>
                    <a:pt x="1487" y="586"/>
                  </a:lnTo>
                  <a:lnTo>
                    <a:pt x="1487" y="586"/>
                  </a:lnTo>
                  <a:lnTo>
                    <a:pt x="1485" y="584"/>
                  </a:lnTo>
                  <a:lnTo>
                    <a:pt x="1485" y="584"/>
                  </a:lnTo>
                  <a:lnTo>
                    <a:pt x="1483" y="586"/>
                  </a:lnTo>
                  <a:lnTo>
                    <a:pt x="1483" y="586"/>
                  </a:lnTo>
                  <a:lnTo>
                    <a:pt x="1485" y="584"/>
                  </a:lnTo>
                  <a:lnTo>
                    <a:pt x="1485" y="584"/>
                  </a:lnTo>
                  <a:lnTo>
                    <a:pt x="1485" y="582"/>
                  </a:lnTo>
                  <a:lnTo>
                    <a:pt x="1485" y="582"/>
                  </a:lnTo>
                  <a:lnTo>
                    <a:pt x="1485" y="582"/>
                  </a:lnTo>
                  <a:lnTo>
                    <a:pt x="1483" y="580"/>
                  </a:lnTo>
                  <a:lnTo>
                    <a:pt x="1483" y="580"/>
                  </a:lnTo>
                  <a:lnTo>
                    <a:pt x="1483" y="580"/>
                  </a:lnTo>
                  <a:lnTo>
                    <a:pt x="1483" y="580"/>
                  </a:lnTo>
                  <a:lnTo>
                    <a:pt x="1485" y="580"/>
                  </a:lnTo>
                  <a:lnTo>
                    <a:pt x="1485" y="580"/>
                  </a:lnTo>
                  <a:lnTo>
                    <a:pt x="1485" y="580"/>
                  </a:lnTo>
                  <a:lnTo>
                    <a:pt x="1485" y="580"/>
                  </a:lnTo>
                  <a:lnTo>
                    <a:pt x="1485" y="582"/>
                  </a:lnTo>
                  <a:lnTo>
                    <a:pt x="1485" y="582"/>
                  </a:lnTo>
                  <a:lnTo>
                    <a:pt x="1485" y="582"/>
                  </a:lnTo>
                  <a:lnTo>
                    <a:pt x="1487" y="584"/>
                  </a:lnTo>
                  <a:lnTo>
                    <a:pt x="1487" y="584"/>
                  </a:lnTo>
                  <a:lnTo>
                    <a:pt x="1487" y="584"/>
                  </a:lnTo>
                  <a:lnTo>
                    <a:pt x="1487" y="584"/>
                  </a:lnTo>
                  <a:lnTo>
                    <a:pt x="1487" y="586"/>
                  </a:lnTo>
                  <a:lnTo>
                    <a:pt x="1487" y="586"/>
                  </a:lnTo>
                  <a:lnTo>
                    <a:pt x="1489" y="586"/>
                  </a:lnTo>
                  <a:lnTo>
                    <a:pt x="1489" y="586"/>
                  </a:lnTo>
                  <a:lnTo>
                    <a:pt x="1489" y="588"/>
                  </a:lnTo>
                  <a:lnTo>
                    <a:pt x="1489" y="588"/>
                  </a:lnTo>
                  <a:lnTo>
                    <a:pt x="1489" y="588"/>
                  </a:lnTo>
                  <a:lnTo>
                    <a:pt x="1489" y="588"/>
                  </a:lnTo>
                  <a:lnTo>
                    <a:pt x="1491" y="586"/>
                  </a:lnTo>
                  <a:lnTo>
                    <a:pt x="1491" y="584"/>
                  </a:lnTo>
                  <a:lnTo>
                    <a:pt x="1491" y="584"/>
                  </a:lnTo>
                  <a:lnTo>
                    <a:pt x="1489" y="584"/>
                  </a:lnTo>
                  <a:lnTo>
                    <a:pt x="1489" y="584"/>
                  </a:lnTo>
                  <a:lnTo>
                    <a:pt x="1491" y="584"/>
                  </a:lnTo>
                  <a:lnTo>
                    <a:pt x="1495" y="584"/>
                  </a:lnTo>
                  <a:lnTo>
                    <a:pt x="1495" y="584"/>
                  </a:lnTo>
                  <a:lnTo>
                    <a:pt x="1495" y="584"/>
                  </a:lnTo>
                  <a:lnTo>
                    <a:pt x="1491" y="586"/>
                  </a:lnTo>
                  <a:lnTo>
                    <a:pt x="1491" y="586"/>
                  </a:lnTo>
                  <a:lnTo>
                    <a:pt x="1491" y="586"/>
                  </a:lnTo>
                  <a:lnTo>
                    <a:pt x="1491" y="586"/>
                  </a:lnTo>
                  <a:lnTo>
                    <a:pt x="1491" y="586"/>
                  </a:lnTo>
                  <a:lnTo>
                    <a:pt x="1489" y="590"/>
                  </a:lnTo>
                  <a:lnTo>
                    <a:pt x="1489" y="590"/>
                  </a:lnTo>
                  <a:lnTo>
                    <a:pt x="1489" y="590"/>
                  </a:lnTo>
                  <a:lnTo>
                    <a:pt x="1491" y="592"/>
                  </a:lnTo>
                  <a:lnTo>
                    <a:pt x="1491" y="592"/>
                  </a:lnTo>
                  <a:lnTo>
                    <a:pt x="1491" y="592"/>
                  </a:lnTo>
                  <a:lnTo>
                    <a:pt x="1491" y="592"/>
                  </a:lnTo>
                  <a:lnTo>
                    <a:pt x="1493" y="594"/>
                  </a:lnTo>
                  <a:lnTo>
                    <a:pt x="1493" y="594"/>
                  </a:lnTo>
                  <a:lnTo>
                    <a:pt x="1493" y="594"/>
                  </a:lnTo>
                  <a:lnTo>
                    <a:pt x="1493" y="594"/>
                  </a:lnTo>
                  <a:lnTo>
                    <a:pt x="1493" y="596"/>
                  </a:lnTo>
                  <a:lnTo>
                    <a:pt x="1493" y="596"/>
                  </a:lnTo>
                  <a:lnTo>
                    <a:pt x="1493" y="596"/>
                  </a:lnTo>
                  <a:lnTo>
                    <a:pt x="1495" y="598"/>
                  </a:lnTo>
                  <a:lnTo>
                    <a:pt x="1497" y="598"/>
                  </a:lnTo>
                  <a:lnTo>
                    <a:pt x="1497" y="598"/>
                  </a:lnTo>
                  <a:lnTo>
                    <a:pt x="1497" y="598"/>
                  </a:lnTo>
                  <a:lnTo>
                    <a:pt x="1497" y="598"/>
                  </a:lnTo>
                  <a:lnTo>
                    <a:pt x="1497" y="600"/>
                  </a:lnTo>
                  <a:lnTo>
                    <a:pt x="1497" y="600"/>
                  </a:lnTo>
                  <a:lnTo>
                    <a:pt x="1497" y="600"/>
                  </a:lnTo>
                  <a:lnTo>
                    <a:pt x="1497" y="603"/>
                  </a:lnTo>
                  <a:lnTo>
                    <a:pt x="1497" y="603"/>
                  </a:lnTo>
                  <a:lnTo>
                    <a:pt x="1499" y="603"/>
                  </a:lnTo>
                  <a:lnTo>
                    <a:pt x="1499" y="605"/>
                  </a:lnTo>
                  <a:lnTo>
                    <a:pt x="1499" y="605"/>
                  </a:lnTo>
                  <a:lnTo>
                    <a:pt x="1499" y="605"/>
                  </a:lnTo>
                  <a:lnTo>
                    <a:pt x="1499" y="607"/>
                  </a:lnTo>
                  <a:lnTo>
                    <a:pt x="1497" y="607"/>
                  </a:lnTo>
                  <a:lnTo>
                    <a:pt x="1497" y="607"/>
                  </a:lnTo>
                  <a:lnTo>
                    <a:pt x="1497" y="607"/>
                  </a:lnTo>
                  <a:lnTo>
                    <a:pt x="1497" y="607"/>
                  </a:lnTo>
                  <a:lnTo>
                    <a:pt x="1497" y="607"/>
                  </a:lnTo>
                  <a:lnTo>
                    <a:pt x="1497" y="607"/>
                  </a:lnTo>
                  <a:lnTo>
                    <a:pt x="1497" y="607"/>
                  </a:lnTo>
                  <a:lnTo>
                    <a:pt x="1497" y="607"/>
                  </a:lnTo>
                  <a:lnTo>
                    <a:pt x="1499" y="607"/>
                  </a:lnTo>
                  <a:lnTo>
                    <a:pt x="1499" y="607"/>
                  </a:lnTo>
                  <a:lnTo>
                    <a:pt x="1499" y="609"/>
                  </a:lnTo>
                  <a:lnTo>
                    <a:pt x="1499" y="611"/>
                  </a:lnTo>
                  <a:lnTo>
                    <a:pt x="1499" y="611"/>
                  </a:lnTo>
                  <a:lnTo>
                    <a:pt x="1499" y="611"/>
                  </a:lnTo>
                  <a:lnTo>
                    <a:pt x="1505" y="609"/>
                  </a:lnTo>
                  <a:lnTo>
                    <a:pt x="1505" y="607"/>
                  </a:lnTo>
                  <a:lnTo>
                    <a:pt x="1505" y="607"/>
                  </a:lnTo>
                  <a:lnTo>
                    <a:pt x="1507" y="607"/>
                  </a:lnTo>
                  <a:lnTo>
                    <a:pt x="1507" y="607"/>
                  </a:lnTo>
                  <a:lnTo>
                    <a:pt x="1509" y="609"/>
                  </a:lnTo>
                  <a:lnTo>
                    <a:pt x="1509" y="609"/>
                  </a:lnTo>
                  <a:lnTo>
                    <a:pt x="1509" y="609"/>
                  </a:lnTo>
                  <a:lnTo>
                    <a:pt x="1509" y="609"/>
                  </a:lnTo>
                  <a:lnTo>
                    <a:pt x="1509" y="607"/>
                  </a:lnTo>
                  <a:lnTo>
                    <a:pt x="1509" y="607"/>
                  </a:lnTo>
                  <a:lnTo>
                    <a:pt x="1509" y="605"/>
                  </a:lnTo>
                  <a:lnTo>
                    <a:pt x="1509" y="605"/>
                  </a:lnTo>
                  <a:lnTo>
                    <a:pt x="1507" y="605"/>
                  </a:lnTo>
                  <a:lnTo>
                    <a:pt x="1507" y="603"/>
                  </a:lnTo>
                  <a:lnTo>
                    <a:pt x="1507" y="603"/>
                  </a:lnTo>
                  <a:lnTo>
                    <a:pt x="1509" y="603"/>
                  </a:lnTo>
                  <a:lnTo>
                    <a:pt x="1509" y="605"/>
                  </a:lnTo>
                  <a:lnTo>
                    <a:pt x="1509" y="605"/>
                  </a:lnTo>
                  <a:lnTo>
                    <a:pt x="1512" y="607"/>
                  </a:lnTo>
                  <a:lnTo>
                    <a:pt x="1512" y="607"/>
                  </a:lnTo>
                  <a:lnTo>
                    <a:pt x="1512" y="609"/>
                  </a:lnTo>
                  <a:lnTo>
                    <a:pt x="1514" y="611"/>
                  </a:lnTo>
                  <a:lnTo>
                    <a:pt x="1516" y="613"/>
                  </a:lnTo>
                  <a:lnTo>
                    <a:pt x="1516" y="613"/>
                  </a:lnTo>
                  <a:lnTo>
                    <a:pt x="1520" y="613"/>
                  </a:lnTo>
                  <a:lnTo>
                    <a:pt x="1522" y="613"/>
                  </a:lnTo>
                  <a:lnTo>
                    <a:pt x="1522" y="613"/>
                  </a:lnTo>
                  <a:lnTo>
                    <a:pt x="1522" y="613"/>
                  </a:lnTo>
                  <a:lnTo>
                    <a:pt x="1522" y="613"/>
                  </a:lnTo>
                  <a:lnTo>
                    <a:pt x="1522" y="611"/>
                  </a:lnTo>
                  <a:lnTo>
                    <a:pt x="1522" y="611"/>
                  </a:lnTo>
                  <a:lnTo>
                    <a:pt x="1522" y="611"/>
                  </a:lnTo>
                  <a:lnTo>
                    <a:pt x="1522" y="611"/>
                  </a:lnTo>
                  <a:lnTo>
                    <a:pt x="1522" y="609"/>
                  </a:lnTo>
                  <a:lnTo>
                    <a:pt x="1522" y="609"/>
                  </a:lnTo>
                  <a:lnTo>
                    <a:pt x="1522" y="609"/>
                  </a:lnTo>
                  <a:lnTo>
                    <a:pt x="1522" y="609"/>
                  </a:lnTo>
                  <a:lnTo>
                    <a:pt x="1522" y="609"/>
                  </a:lnTo>
                  <a:lnTo>
                    <a:pt x="1522" y="609"/>
                  </a:lnTo>
                  <a:lnTo>
                    <a:pt x="1522" y="607"/>
                  </a:lnTo>
                  <a:lnTo>
                    <a:pt x="1522" y="607"/>
                  </a:lnTo>
                  <a:lnTo>
                    <a:pt x="1520" y="603"/>
                  </a:lnTo>
                  <a:lnTo>
                    <a:pt x="1518" y="600"/>
                  </a:lnTo>
                  <a:lnTo>
                    <a:pt x="1518" y="600"/>
                  </a:lnTo>
                  <a:lnTo>
                    <a:pt x="1518" y="600"/>
                  </a:lnTo>
                  <a:lnTo>
                    <a:pt x="1518" y="598"/>
                  </a:lnTo>
                  <a:lnTo>
                    <a:pt x="1518" y="598"/>
                  </a:lnTo>
                  <a:lnTo>
                    <a:pt x="1518" y="598"/>
                  </a:lnTo>
                  <a:lnTo>
                    <a:pt x="1518" y="598"/>
                  </a:lnTo>
                  <a:lnTo>
                    <a:pt x="1516" y="598"/>
                  </a:lnTo>
                  <a:lnTo>
                    <a:pt x="1516" y="596"/>
                  </a:lnTo>
                  <a:lnTo>
                    <a:pt x="1514" y="594"/>
                  </a:lnTo>
                  <a:lnTo>
                    <a:pt x="1514" y="594"/>
                  </a:lnTo>
                  <a:lnTo>
                    <a:pt x="1514" y="594"/>
                  </a:lnTo>
                  <a:lnTo>
                    <a:pt x="1514" y="592"/>
                  </a:lnTo>
                  <a:lnTo>
                    <a:pt x="1514" y="592"/>
                  </a:lnTo>
                  <a:lnTo>
                    <a:pt x="1514" y="592"/>
                  </a:lnTo>
                  <a:lnTo>
                    <a:pt x="1512" y="588"/>
                  </a:lnTo>
                  <a:lnTo>
                    <a:pt x="1512" y="588"/>
                  </a:lnTo>
                  <a:lnTo>
                    <a:pt x="1512" y="588"/>
                  </a:lnTo>
                  <a:lnTo>
                    <a:pt x="1512" y="586"/>
                  </a:lnTo>
                  <a:lnTo>
                    <a:pt x="1507" y="584"/>
                  </a:lnTo>
                  <a:lnTo>
                    <a:pt x="1507" y="582"/>
                  </a:lnTo>
                  <a:lnTo>
                    <a:pt x="1507" y="582"/>
                  </a:lnTo>
                  <a:lnTo>
                    <a:pt x="1507" y="580"/>
                  </a:lnTo>
                  <a:lnTo>
                    <a:pt x="1507" y="580"/>
                  </a:lnTo>
                  <a:lnTo>
                    <a:pt x="1505" y="580"/>
                  </a:lnTo>
                  <a:lnTo>
                    <a:pt x="1505" y="580"/>
                  </a:lnTo>
                  <a:lnTo>
                    <a:pt x="1505" y="580"/>
                  </a:lnTo>
                  <a:lnTo>
                    <a:pt x="1503" y="578"/>
                  </a:lnTo>
                  <a:lnTo>
                    <a:pt x="1503" y="578"/>
                  </a:lnTo>
                  <a:lnTo>
                    <a:pt x="1503" y="576"/>
                  </a:lnTo>
                  <a:lnTo>
                    <a:pt x="1503" y="576"/>
                  </a:lnTo>
                  <a:lnTo>
                    <a:pt x="1503" y="576"/>
                  </a:lnTo>
                  <a:lnTo>
                    <a:pt x="1503" y="576"/>
                  </a:lnTo>
                  <a:lnTo>
                    <a:pt x="1503" y="574"/>
                  </a:lnTo>
                  <a:lnTo>
                    <a:pt x="1503" y="574"/>
                  </a:lnTo>
                  <a:lnTo>
                    <a:pt x="1503" y="574"/>
                  </a:lnTo>
                  <a:lnTo>
                    <a:pt x="1503" y="572"/>
                  </a:lnTo>
                  <a:lnTo>
                    <a:pt x="1503" y="572"/>
                  </a:lnTo>
                  <a:lnTo>
                    <a:pt x="1501" y="572"/>
                  </a:lnTo>
                  <a:lnTo>
                    <a:pt x="1501" y="570"/>
                  </a:lnTo>
                  <a:lnTo>
                    <a:pt x="1501" y="570"/>
                  </a:lnTo>
                  <a:lnTo>
                    <a:pt x="1499" y="570"/>
                  </a:lnTo>
                  <a:lnTo>
                    <a:pt x="1499" y="568"/>
                  </a:lnTo>
                  <a:lnTo>
                    <a:pt x="1499" y="568"/>
                  </a:lnTo>
                  <a:lnTo>
                    <a:pt x="1497" y="566"/>
                  </a:lnTo>
                  <a:lnTo>
                    <a:pt x="1495" y="566"/>
                  </a:lnTo>
                  <a:lnTo>
                    <a:pt x="1497" y="566"/>
                  </a:lnTo>
                  <a:lnTo>
                    <a:pt x="1497" y="566"/>
                  </a:lnTo>
                  <a:lnTo>
                    <a:pt x="1499" y="566"/>
                  </a:lnTo>
                  <a:lnTo>
                    <a:pt x="1501" y="568"/>
                  </a:lnTo>
                  <a:lnTo>
                    <a:pt x="1501" y="568"/>
                  </a:lnTo>
                  <a:lnTo>
                    <a:pt x="1501" y="570"/>
                  </a:lnTo>
                  <a:lnTo>
                    <a:pt x="1501" y="570"/>
                  </a:lnTo>
                  <a:lnTo>
                    <a:pt x="1503" y="570"/>
                  </a:lnTo>
                  <a:lnTo>
                    <a:pt x="1503" y="570"/>
                  </a:lnTo>
                  <a:lnTo>
                    <a:pt x="1503" y="572"/>
                  </a:lnTo>
                  <a:lnTo>
                    <a:pt x="1503" y="570"/>
                  </a:lnTo>
                  <a:lnTo>
                    <a:pt x="1503" y="570"/>
                  </a:lnTo>
                  <a:lnTo>
                    <a:pt x="1503" y="570"/>
                  </a:lnTo>
                  <a:lnTo>
                    <a:pt x="1503" y="570"/>
                  </a:lnTo>
                  <a:lnTo>
                    <a:pt x="1503" y="568"/>
                  </a:lnTo>
                  <a:lnTo>
                    <a:pt x="1503" y="568"/>
                  </a:lnTo>
                  <a:lnTo>
                    <a:pt x="1503" y="568"/>
                  </a:lnTo>
                  <a:lnTo>
                    <a:pt x="1503" y="568"/>
                  </a:lnTo>
                  <a:lnTo>
                    <a:pt x="1503" y="568"/>
                  </a:lnTo>
                  <a:lnTo>
                    <a:pt x="1503" y="568"/>
                  </a:lnTo>
                  <a:lnTo>
                    <a:pt x="1501" y="566"/>
                  </a:lnTo>
                  <a:lnTo>
                    <a:pt x="1501" y="566"/>
                  </a:lnTo>
                  <a:lnTo>
                    <a:pt x="1501" y="566"/>
                  </a:lnTo>
                  <a:lnTo>
                    <a:pt x="1501" y="566"/>
                  </a:lnTo>
                  <a:lnTo>
                    <a:pt x="1499" y="564"/>
                  </a:lnTo>
                  <a:lnTo>
                    <a:pt x="1499" y="564"/>
                  </a:lnTo>
                  <a:lnTo>
                    <a:pt x="1499" y="564"/>
                  </a:lnTo>
                  <a:lnTo>
                    <a:pt x="1499" y="564"/>
                  </a:lnTo>
                  <a:lnTo>
                    <a:pt x="1499" y="564"/>
                  </a:lnTo>
                  <a:lnTo>
                    <a:pt x="1499" y="564"/>
                  </a:lnTo>
                  <a:lnTo>
                    <a:pt x="1497" y="562"/>
                  </a:lnTo>
                  <a:lnTo>
                    <a:pt x="1497" y="562"/>
                  </a:lnTo>
                  <a:lnTo>
                    <a:pt x="1495" y="562"/>
                  </a:lnTo>
                  <a:lnTo>
                    <a:pt x="1495" y="562"/>
                  </a:lnTo>
                  <a:lnTo>
                    <a:pt x="1495" y="562"/>
                  </a:lnTo>
                  <a:lnTo>
                    <a:pt x="1497" y="562"/>
                  </a:lnTo>
                  <a:lnTo>
                    <a:pt x="1497" y="562"/>
                  </a:lnTo>
                  <a:lnTo>
                    <a:pt x="1499" y="562"/>
                  </a:lnTo>
                  <a:lnTo>
                    <a:pt x="1499" y="559"/>
                  </a:lnTo>
                  <a:lnTo>
                    <a:pt x="1497" y="557"/>
                  </a:lnTo>
                  <a:lnTo>
                    <a:pt x="1497" y="553"/>
                  </a:lnTo>
                  <a:lnTo>
                    <a:pt x="1497" y="551"/>
                  </a:lnTo>
                  <a:lnTo>
                    <a:pt x="1499" y="553"/>
                  </a:lnTo>
                  <a:lnTo>
                    <a:pt x="1499" y="555"/>
                  </a:lnTo>
                  <a:lnTo>
                    <a:pt x="1499" y="559"/>
                  </a:lnTo>
                  <a:lnTo>
                    <a:pt x="1499" y="562"/>
                  </a:lnTo>
                  <a:lnTo>
                    <a:pt x="1501" y="564"/>
                  </a:lnTo>
                  <a:lnTo>
                    <a:pt x="1503" y="566"/>
                  </a:lnTo>
                  <a:lnTo>
                    <a:pt x="1503" y="566"/>
                  </a:lnTo>
                  <a:lnTo>
                    <a:pt x="1505" y="568"/>
                  </a:lnTo>
                  <a:lnTo>
                    <a:pt x="1505" y="570"/>
                  </a:lnTo>
                  <a:lnTo>
                    <a:pt x="1505" y="570"/>
                  </a:lnTo>
                  <a:lnTo>
                    <a:pt x="1507" y="572"/>
                  </a:lnTo>
                  <a:lnTo>
                    <a:pt x="1507" y="572"/>
                  </a:lnTo>
                  <a:lnTo>
                    <a:pt x="1507" y="574"/>
                  </a:lnTo>
                  <a:lnTo>
                    <a:pt x="1507" y="574"/>
                  </a:lnTo>
                  <a:lnTo>
                    <a:pt x="1509" y="574"/>
                  </a:lnTo>
                  <a:lnTo>
                    <a:pt x="1509" y="574"/>
                  </a:lnTo>
                  <a:lnTo>
                    <a:pt x="1509" y="576"/>
                  </a:lnTo>
                  <a:lnTo>
                    <a:pt x="1509" y="578"/>
                  </a:lnTo>
                  <a:lnTo>
                    <a:pt x="1512" y="578"/>
                  </a:lnTo>
                  <a:lnTo>
                    <a:pt x="1512" y="578"/>
                  </a:lnTo>
                  <a:lnTo>
                    <a:pt x="1512" y="580"/>
                  </a:lnTo>
                  <a:lnTo>
                    <a:pt x="1512" y="582"/>
                  </a:lnTo>
                  <a:lnTo>
                    <a:pt x="1512" y="582"/>
                  </a:lnTo>
                  <a:lnTo>
                    <a:pt x="1512" y="582"/>
                  </a:lnTo>
                  <a:lnTo>
                    <a:pt x="1514" y="584"/>
                  </a:lnTo>
                  <a:lnTo>
                    <a:pt x="1516" y="586"/>
                  </a:lnTo>
                  <a:lnTo>
                    <a:pt x="1516" y="586"/>
                  </a:lnTo>
                  <a:lnTo>
                    <a:pt x="1516" y="586"/>
                  </a:lnTo>
                  <a:lnTo>
                    <a:pt x="1516" y="586"/>
                  </a:lnTo>
                  <a:lnTo>
                    <a:pt x="1516" y="586"/>
                  </a:lnTo>
                  <a:lnTo>
                    <a:pt x="1516" y="584"/>
                  </a:lnTo>
                  <a:lnTo>
                    <a:pt x="1516" y="584"/>
                  </a:lnTo>
                  <a:lnTo>
                    <a:pt x="1516" y="584"/>
                  </a:lnTo>
                  <a:lnTo>
                    <a:pt x="1516" y="584"/>
                  </a:lnTo>
                  <a:lnTo>
                    <a:pt x="1516" y="582"/>
                  </a:lnTo>
                  <a:lnTo>
                    <a:pt x="1516" y="582"/>
                  </a:lnTo>
                  <a:lnTo>
                    <a:pt x="1516" y="582"/>
                  </a:lnTo>
                  <a:lnTo>
                    <a:pt x="1518" y="582"/>
                  </a:lnTo>
                  <a:lnTo>
                    <a:pt x="1518" y="582"/>
                  </a:lnTo>
                  <a:lnTo>
                    <a:pt x="1518" y="582"/>
                  </a:lnTo>
                  <a:lnTo>
                    <a:pt x="1518" y="582"/>
                  </a:lnTo>
                  <a:lnTo>
                    <a:pt x="1518" y="584"/>
                  </a:lnTo>
                  <a:lnTo>
                    <a:pt x="1520" y="584"/>
                  </a:lnTo>
                  <a:lnTo>
                    <a:pt x="1520" y="586"/>
                  </a:lnTo>
                  <a:lnTo>
                    <a:pt x="1520" y="588"/>
                  </a:lnTo>
                  <a:lnTo>
                    <a:pt x="1520" y="588"/>
                  </a:lnTo>
                  <a:lnTo>
                    <a:pt x="1520" y="590"/>
                  </a:lnTo>
                  <a:lnTo>
                    <a:pt x="1520" y="590"/>
                  </a:lnTo>
                  <a:lnTo>
                    <a:pt x="1520" y="590"/>
                  </a:lnTo>
                  <a:lnTo>
                    <a:pt x="1520" y="588"/>
                  </a:lnTo>
                  <a:lnTo>
                    <a:pt x="1520" y="590"/>
                  </a:lnTo>
                  <a:lnTo>
                    <a:pt x="1520" y="590"/>
                  </a:lnTo>
                  <a:lnTo>
                    <a:pt x="1518" y="588"/>
                  </a:lnTo>
                  <a:lnTo>
                    <a:pt x="1520" y="590"/>
                  </a:lnTo>
                  <a:lnTo>
                    <a:pt x="1520" y="592"/>
                  </a:lnTo>
                  <a:lnTo>
                    <a:pt x="1522" y="594"/>
                  </a:lnTo>
                  <a:lnTo>
                    <a:pt x="1524" y="594"/>
                  </a:lnTo>
                  <a:lnTo>
                    <a:pt x="1524" y="594"/>
                  </a:lnTo>
                  <a:lnTo>
                    <a:pt x="1526" y="596"/>
                  </a:lnTo>
                  <a:lnTo>
                    <a:pt x="1526" y="596"/>
                  </a:lnTo>
                  <a:lnTo>
                    <a:pt x="1526" y="596"/>
                  </a:lnTo>
                  <a:lnTo>
                    <a:pt x="1526" y="596"/>
                  </a:lnTo>
                  <a:lnTo>
                    <a:pt x="1526" y="596"/>
                  </a:lnTo>
                  <a:lnTo>
                    <a:pt x="1526" y="596"/>
                  </a:lnTo>
                  <a:lnTo>
                    <a:pt x="1526" y="596"/>
                  </a:lnTo>
                  <a:lnTo>
                    <a:pt x="1526" y="596"/>
                  </a:lnTo>
                  <a:lnTo>
                    <a:pt x="1528" y="598"/>
                  </a:lnTo>
                  <a:lnTo>
                    <a:pt x="1528" y="600"/>
                  </a:lnTo>
                  <a:lnTo>
                    <a:pt x="1528" y="600"/>
                  </a:lnTo>
                  <a:lnTo>
                    <a:pt x="1528" y="603"/>
                  </a:lnTo>
                  <a:lnTo>
                    <a:pt x="1530" y="603"/>
                  </a:lnTo>
                  <a:lnTo>
                    <a:pt x="1530" y="603"/>
                  </a:lnTo>
                  <a:lnTo>
                    <a:pt x="1530" y="603"/>
                  </a:lnTo>
                  <a:lnTo>
                    <a:pt x="1532" y="600"/>
                  </a:lnTo>
                  <a:lnTo>
                    <a:pt x="1532" y="600"/>
                  </a:lnTo>
                  <a:lnTo>
                    <a:pt x="1532" y="603"/>
                  </a:lnTo>
                  <a:lnTo>
                    <a:pt x="1532" y="603"/>
                  </a:lnTo>
                  <a:lnTo>
                    <a:pt x="1532" y="603"/>
                  </a:lnTo>
                  <a:lnTo>
                    <a:pt x="1532" y="603"/>
                  </a:lnTo>
                  <a:lnTo>
                    <a:pt x="1532" y="603"/>
                  </a:lnTo>
                  <a:lnTo>
                    <a:pt x="1532" y="603"/>
                  </a:lnTo>
                  <a:lnTo>
                    <a:pt x="1532" y="603"/>
                  </a:lnTo>
                  <a:lnTo>
                    <a:pt x="1534" y="603"/>
                  </a:lnTo>
                  <a:lnTo>
                    <a:pt x="1534" y="603"/>
                  </a:lnTo>
                  <a:lnTo>
                    <a:pt x="1534" y="603"/>
                  </a:lnTo>
                  <a:lnTo>
                    <a:pt x="1536" y="603"/>
                  </a:lnTo>
                  <a:lnTo>
                    <a:pt x="1536" y="603"/>
                  </a:lnTo>
                  <a:lnTo>
                    <a:pt x="1536" y="603"/>
                  </a:lnTo>
                  <a:lnTo>
                    <a:pt x="1538" y="603"/>
                  </a:lnTo>
                  <a:lnTo>
                    <a:pt x="1538" y="603"/>
                  </a:lnTo>
                  <a:lnTo>
                    <a:pt x="1544" y="607"/>
                  </a:lnTo>
                  <a:lnTo>
                    <a:pt x="1546" y="607"/>
                  </a:lnTo>
                  <a:lnTo>
                    <a:pt x="1546" y="607"/>
                  </a:lnTo>
                  <a:lnTo>
                    <a:pt x="1546" y="607"/>
                  </a:lnTo>
                  <a:lnTo>
                    <a:pt x="1548" y="607"/>
                  </a:lnTo>
                  <a:lnTo>
                    <a:pt x="1548" y="605"/>
                  </a:lnTo>
                  <a:lnTo>
                    <a:pt x="1548" y="605"/>
                  </a:lnTo>
                  <a:lnTo>
                    <a:pt x="1548" y="605"/>
                  </a:lnTo>
                  <a:lnTo>
                    <a:pt x="1548" y="603"/>
                  </a:lnTo>
                  <a:lnTo>
                    <a:pt x="1546" y="603"/>
                  </a:lnTo>
                  <a:lnTo>
                    <a:pt x="1546" y="603"/>
                  </a:lnTo>
                  <a:lnTo>
                    <a:pt x="1546" y="600"/>
                  </a:lnTo>
                  <a:lnTo>
                    <a:pt x="1546" y="600"/>
                  </a:lnTo>
                  <a:lnTo>
                    <a:pt x="1546" y="598"/>
                  </a:lnTo>
                  <a:lnTo>
                    <a:pt x="1548" y="598"/>
                  </a:lnTo>
                  <a:lnTo>
                    <a:pt x="1548" y="596"/>
                  </a:lnTo>
                  <a:lnTo>
                    <a:pt x="1546" y="596"/>
                  </a:lnTo>
                  <a:lnTo>
                    <a:pt x="1546" y="594"/>
                  </a:lnTo>
                  <a:lnTo>
                    <a:pt x="1546" y="594"/>
                  </a:lnTo>
                  <a:lnTo>
                    <a:pt x="1546" y="594"/>
                  </a:lnTo>
                  <a:lnTo>
                    <a:pt x="1546" y="594"/>
                  </a:lnTo>
                  <a:lnTo>
                    <a:pt x="1548" y="594"/>
                  </a:lnTo>
                  <a:lnTo>
                    <a:pt x="1548" y="592"/>
                  </a:lnTo>
                  <a:lnTo>
                    <a:pt x="1548" y="592"/>
                  </a:lnTo>
                  <a:lnTo>
                    <a:pt x="1548" y="590"/>
                  </a:lnTo>
                  <a:lnTo>
                    <a:pt x="1546" y="590"/>
                  </a:lnTo>
                  <a:lnTo>
                    <a:pt x="1548" y="590"/>
                  </a:lnTo>
                  <a:lnTo>
                    <a:pt x="1548" y="588"/>
                  </a:lnTo>
                  <a:lnTo>
                    <a:pt x="1548" y="588"/>
                  </a:lnTo>
                  <a:lnTo>
                    <a:pt x="1552" y="588"/>
                  </a:lnTo>
                  <a:lnTo>
                    <a:pt x="1552" y="588"/>
                  </a:lnTo>
                  <a:lnTo>
                    <a:pt x="1550" y="588"/>
                  </a:lnTo>
                  <a:lnTo>
                    <a:pt x="1548" y="590"/>
                  </a:lnTo>
                  <a:lnTo>
                    <a:pt x="1548" y="592"/>
                  </a:lnTo>
                  <a:lnTo>
                    <a:pt x="1548" y="592"/>
                  </a:lnTo>
                  <a:lnTo>
                    <a:pt x="1548" y="592"/>
                  </a:lnTo>
                  <a:lnTo>
                    <a:pt x="1548" y="592"/>
                  </a:lnTo>
                  <a:lnTo>
                    <a:pt x="1548" y="594"/>
                  </a:lnTo>
                  <a:lnTo>
                    <a:pt x="1548" y="594"/>
                  </a:lnTo>
                  <a:lnTo>
                    <a:pt x="1548" y="594"/>
                  </a:lnTo>
                  <a:lnTo>
                    <a:pt x="1548" y="594"/>
                  </a:lnTo>
                  <a:lnTo>
                    <a:pt x="1548" y="596"/>
                  </a:lnTo>
                  <a:lnTo>
                    <a:pt x="1548" y="596"/>
                  </a:lnTo>
                  <a:lnTo>
                    <a:pt x="1550" y="598"/>
                  </a:lnTo>
                  <a:lnTo>
                    <a:pt x="1550" y="598"/>
                  </a:lnTo>
                  <a:lnTo>
                    <a:pt x="1550" y="598"/>
                  </a:lnTo>
                  <a:lnTo>
                    <a:pt x="1550" y="598"/>
                  </a:lnTo>
                  <a:lnTo>
                    <a:pt x="1550" y="600"/>
                  </a:lnTo>
                  <a:lnTo>
                    <a:pt x="1550" y="600"/>
                  </a:lnTo>
                  <a:lnTo>
                    <a:pt x="1548" y="600"/>
                  </a:lnTo>
                  <a:lnTo>
                    <a:pt x="1548" y="600"/>
                  </a:lnTo>
                  <a:lnTo>
                    <a:pt x="1548" y="603"/>
                  </a:lnTo>
                  <a:lnTo>
                    <a:pt x="1548" y="603"/>
                  </a:lnTo>
                  <a:lnTo>
                    <a:pt x="1548" y="603"/>
                  </a:lnTo>
                  <a:lnTo>
                    <a:pt x="1548" y="603"/>
                  </a:lnTo>
                  <a:lnTo>
                    <a:pt x="1548" y="603"/>
                  </a:lnTo>
                  <a:lnTo>
                    <a:pt x="1548" y="603"/>
                  </a:lnTo>
                  <a:lnTo>
                    <a:pt x="1548" y="603"/>
                  </a:lnTo>
                  <a:lnTo>
                    <a:pt x="1548" y="605"/>
                  </a:lnTo>
                  <a:lnTo>
                    <a:pt x="1548" y="605"/>
                  </a:lnTo>
                  <a:lnTo>
                    <a:pt x="1548" y="605"/>
                  </a:lnTo>
                  <a:lnTo>
                    <a:pt x="1548" y="605"/>
                  </a:lnTo>
                  <a:lnTo>
                    <a:pt x="1548" y="605"/>
                  </a:lnTo>
                  <a:lnTo>
                    <a:pt x="1548" y="607"/>
                  </a:lnTo>
                  <a:lnTo>
                    <a:pt x="1548" y="607"/>
                  </a:lnTo>
                  <a:lnTo>
                    <a:pt x="1550" y="607"/>
                  </a:lnTo>
                  <a:lnTo>
                    <a:pt x="1550" y="609"/>
                  </a:lnTo>
                  <a:lnTo>
                    <a:pt x="1550" y="609"/>
                  </a:lnTo>
                  <a:lnTo>
                    <a:pt x="1550" y="609"/>
                  </a:lnTo>
                  <a:lnTo>
                    <a:pt x="1550" y="609"/>
                  </a:lnTo>
                  <a:lnTo>
                    <a:pt x="1550" y="609"/>
                  </a:lnTo>
                  <a:lnTo>
                    <a:pt x="1552" y="609"/>
                  </a:lnTo>
                  <a:lnTo>
                    <a:pt x="1550" y="611"/>
                  </a:lnTo>
                  <a:lnTo>
                    <a:pt x="1550" y="611"/>
                  </a:lnTo>
                  <a:lnTo>
                    <a:pt x="1550" y="611"/>
                  </a:lnTo>
                  <a:lnTo>
                    <a:pt x="1552" y="611"/>
                  </a:lnTo>
                  <a:lnTo>
                    <a:pt x="1552" y="613"/>
                  </a:lnTo>
                  <a:lnTo>
                    <a:pt x="1552" y="613"/>
                  </a:lnTo>
                  <a:lnTo>
                    <a:pt x="1552" y="613"/>
                  </a:lnTo>
                  <a:lnTo>
                    <a:pt x="1552" y="613"/>
                  </a:lnTo>
                  <a:lnTo>
                    <a:pt x="1552" y="613"/>
                  </a:lnTo>
                  <a:lnTo>
                    <a:pt x="1552" y="613"/>
                  </a:lnTo>
                  <a:lnTo>
                    <a:pt x="1555" y="613"/>
                  </a:lnTo>
                  <a:lnTo>
                    <a:pt x="1555" y="613"/>
                  </a:lnTo>
                  <a:lnTo>
                    <a:pt x="1555" y="613"/>
                  </a:lnTo>
                  <a:lnTo>
                    <a:pt x="1555" y="613"/>
                  </a:lnTo>
                  <a:lnTo>
                    <a:pt x="1555" y="613"/>
                  </a:lnTo>
                  <a:lnTo>
                    <a:pt x="1555" y="615"/>
                  </a:lnTo>
                  <a:lnTo>
                    <a:pt x="1555" y="615"/>
                  </a:lnTo>
                  <a:lnTo>
                    <a:pt x="1555" y="615"/>
                  </a:lnTo>
                  <a:lnTo>
                    <a:pt x="1557" y="615"/>
                  </a:lnTo>
                  <a:lnTo>
                    <a:pt x="1557" y="615"/>
                  </a:lnTo>
                  <a:lnTo>
                    <a:pt x="1557" y="615"/>
                  </a:lnTo>
                  <a:lnTo>
                    <a:pt x="1557" y="615"/>
                  </a:lnTo>
                  <a:lnTo>
                    <a:pt x="1557" y="615"/>
                  </a:lnTo>
                  <a:lnTo>
                    <a:pt x="1557" y="615"/>
                  </a:lnTo>
                  <a:lnTo>
                    <a:pt x="1557" y="615"/>
                  </a:lnTo>
                  <a:lnTo>
                    <a:pt x="1559" y="615"/>
                  </a:lnTo>
                  <a:lnTo>
                    <a:pt x="1559" y="615"/>
                  </a:lnTo>
                  <a:lnTo>
                    <a:pt x="1559" y="613"/>
                  </a:lnTo>
                  <a:lnTo>
                    <a:pt x="1559" y="613"/>
                  </a:lnTo>
                  <a:lnTo>
                    <a:pt x="1559" y="611"/>
                  </a:lnTo>
                  <a:lnTo>
                    <a:pt x="1559" y="609"/>
                  </a:lnTo>
                  <a:lnTo>
                    <a:pt x="1559" y="607"/>
                  </a:lnTo>
                  <a:lnTo>
                    <a:pt x="1559" y="607"/>
                  </a:lnTo>
                  <a:lnTo>
                    <a:pt x="1559" y="607"/>
                  </a:lnTo>
                  <a:lnTo>
                    <a:pt x="1561" y="605"/>
                  </a:lnTo>
                  <a:lnTo>
                    <a:pt x="1561" y="605"/>
                  </a:lnTo>
                  <a:lnTo>
                    <a:pt x="1561" y="605"/>
                  </a:lnTo>
                  <a:lnTo>
                    <a:pt x="1561" y="605"/>
                  </a:lnTo>
                  <a:lnTo>
                    <a:pt x="1561" y="607"/>
                  </a:lnTo>
                  <a:lnTo>
                    <a:pt x="1561" y="607"/>
                  </a:lnTo>
                  <a:lnTo>
                    <a:pt x="1561" y="607"/>
                  </a:lnTo>
                  <a:lnTo>
                    <a:pt x="1561" y="607"/>
                  </a:lnTo>
                  <a:lnTo>
                    <a:pt x="1561" y="609"/>
                  </a:lnTo>
                  <a:lnTo>
                    <a:pt x="1561" y="609"/>
                  </a:lnTo>
                  <a:lnTo>
                    <a:pt x="1561" y="611"/>
                  </a:lnTo>
                  <a:lnTo>
                    <a:pt x="1561" y="611"/>
                  </a:lnTo>
                  <a:lnTo>
                    <a:pt x="1561" y="613"/>
                  </a:lnTo>
                  <a:lnTo>
                    <a:pt x="1563" y="611"/>
                  </a:lnTo>
                  <a:lnTo>
                    <a:pt x="1563" y="613"/>
                  </a:lnTo>
                  <a:lnTo>
                    <a:pt x="1563" y="613"/>
                  </a:lnTo>
                  <a:lnTo>
                    <a:pt x="1563" y="613"/>
                  </a:lnTo>
                  <a:lnTo>
                    <a:pt x="1563" y="615"/>
                  </a:lnTo>
                  <a:lnTo>
                    <a:pt x="1563" y="615"/>
                  </a:lnTo>
                  <a:lnTo>
                    <a:pt x="1563" y="615"/>
                  </a:lnTo>
                  <a:lnTo>
                    <a:pt x="1563" y="615"/>
                  </a:lnTo>
                  <a:lnTo>
                    <a:pt x="1563" y="615"/>
                  </a:lnTo>
                  <a:lnTo>
                    <a:pt x="1561" y="615"/>
                  </a:lnTo>
                  <a:lnTo>
                    <a:pt x="1561" y="615"/>
                  </a:lnTo>
                  <a:lnTo>
                    <a:pt x="1561" y="615"/>
                  </a:lnTo>
                  <a:lnTo>
                    <a:pt x="1561" y="615"/>
                  </a:lnTo>
                  <a:lnTo>
                    <a:pt x="1561" y="615"/>
                  </a:lnTo>
                  <a:lnTo>
                    <a:pt x="1559" y="617"/>
                  </a:lnTo>
                  <a:lnTo>
                    <a:pt x="1561" y="617"/>
                  </a:lnTo>
                  <a:lnTo>
                    <a:pt x="1561" y="617"/>
                  </a:lnTo>
                  <a:lnTo>
                    <a:pt x="1561" y="619"/>
                  </a:lnTo>
                  <a:lnTo>
                    <a:pt x="1561" y="619"/>
                  </a:lnTo>
                  <a:lnTo>
                    <a:pt x="1561" y="619"/>
                  </a:lnTo>
                  <a:lnTo>
                    <a:pt x="1563" y="621"/>
                  </a:lnTo>
                  <a:lnTo>
                    <a:pt x="1565" y="623"/>
                  </a:lnTo>
                  <a:lnTo>
                    <a:pt x="1567" y="623"/>
                  </a:lnTo>
                  <a:lnTo>
                    <a:pt x="1567" y="623"/>
                  </a:lnTo>
                  <a:lnTo>
                    <a:pt x="1567" y="621"/>
                  </a:lnTo>
                  <a:lnTo>
                    <a:pt x="1567" y="621"/>
                  </a:lnTo>
                  <a:lnTo>
                    <a:pt x="1567" y="619"/>
                  </a:lnTo>
                  <a:lnTo>
                    <a:pt x="1567" y="617"/>
                  </a:lnTo>
                  <a:lnTo>
                    <a:pt x="1567" y="619"/>
                  </a:lnTo>
                  <a:lnTo>
                    <a:pt x="1567" y="619"/>
                  </a:lnTo>
                  <a:lnTo>
                    <a:pt x="1567" y="619"/>
                  </a:lnTo>
                  <a:lnTo>
                    <a:pt x="1567" y="619"/>
                  </a:lnTo>
                  <a:lnTo>
                    <a:pt x="1567" y="619"/>
                  </a:lnTo>
                  <a:lnTo>
                    <a:pt x="1567" y="617"/>
                  </a:lnTo>
                  <a:lnTo>
                    <a:pt x="1567" y="617"/>
                  </a:lnTo>
                  <a:lnTo>
                    <a:pt x="1567" y="617"/>
                  </a:lnTo>
                  <a:lnTo>
                    <a:pt x="1567" y="615"/>
                  </a:lnTo>
                  <a:lnTo>
                    <a:pt x="1567" y="615"/>
                  </a:lnTo>
                  <a:lnTo>
                    <a:pt x="1577" y="613"/>
                  </a:lnTo>
                  <a:lnTo>
                    <a:pt x="1577" y="615"/>
                  </a:lnTo>
                  <a:lnTo>
                    <a:pt x="1579" y="615"/>
                  </a:lnTo>
                  <a:lnTo>
                    <a:pt x="1579" y="615"/>
                  </a:lnTo>
                  <a:lnTo>
                    <a:pt x="1579" y="615"/>
                  </a:lnTo>
                  <a:lnTo>
                    <a:pt x="1577" y="615"/>
                  </a:lnTo>
                  <a:lnTo>
                    <a:pt x="1575" y="615"/>
                  </a:lnTo>
                  <a:lnTo>
                    <a:pt x="1575" y="615"/>
                  </a:lnTo>
                  <a:lnTo>
                    <a:pt x="1575" y="615"/>
                  </a:lnTo>
                  <a:lnTo>
                    <a:pt x="1575" y="615"/>
                  </a:lnTo>
                  <a:lnTo>
                    <a:pt x="1575" y="615"/>
                  </a:lnTo>
                  <a:lnTo>
                    <a:pt x="1573" y="615"/>
                  </a:lnTo>
                  <a:lnTo>
                    <a:pt x="1571" y="615"/>
                  </a:lnTo>
                  <a:lnTo>
                    <a:pt x="1571" y="615"/>
                  </a:lnTo>
                  <a:lnTo>
                    <a:pt x="1569" y="615"/>
                  </a:lnTo>
                  <a:lnTo>
                    <a:pt x="1569" y="615"/>
                  </a:lnTo>
                  <a:lnTo>
                    <a:pt x="1567" y="615"/>
                  </a:lnTo>
                  <a:lnTo>
                    <a:pt x="1567" y="617"/>
                  </a:lnTo>
                  <a:lnTo>
                    <a:pt x="1569" y="621"/>
                  </a:lnTo>
                  <a:lnTo>
                    <a:pt x="1571" y="623"/>
                  </a:lnTo>
                  <a:lnTo>
                    <a:pt x="1571" y="623"/>
                  </a:lnTo>
                  <a:lnTo>
                    <a:pt x="1571" y="625"/>
                  </a:lnTo>
                  <a:lnTo>
                    <a:pt x="1573" y="625"/>
                  </a:lnTo>
                  <a:lnTo>
                    <a:pt x="1575" y="625"/>
                  </a:lnTo>
                  <a:lnTo>
                    <a:pt x="1575" y="625"/>
                  </a:lnTo>
                  <a:lnTo>
                    <a:pt x="1577" y="625"/>
                  </a:lnTo>
                  <a:lnTo>
                    <a:pt x="1579" y="627"/>
                  </a:lnTo>
                  <a:lnTo>
                    <a:pt x="1581" y="627"/>
                  </a:lnTo>
                  <a:lnTo>
                    <a:pt x="1581" y="627"/>
                  </a:lnTo>
                  <a:lnTo>
                    <a:pt x="1581" y="627"/>
                  </a:lnTo>
                  <a:lnTo>
                    <a:pt x="1583" y="627"/>
                  </a:lnTo>
                  <a:lnTo>
                    <a:pt x="1583" y="627"/>
                  </a:lnTo>
                  <a:lnTo>
                    <a:pt x="1583" y="627"/>
                  </a:lnTo>
                  <a:lnTo>
                    <a:pt x="1583" y="629"/>
                  </a:lnTo>
                  <a:lnTo>
                    <a:pt x="1585" y="629"/>
                  </a:lnTo>
                  <a:lnTo>
                    <a:pt x="1585" y="631"/>
                  </a:lnTo>
                  <a:lnTo>
                    <a:pt x="1587" y="631"/>
                  </a:lnTo>
                  <a:lnTo>
                    <a:pt x="1589" y="631"/>
                  </a:lnTo>
                  <a:lnTo>
                    <a:pt x="1589" y="631"/>
                  </a:lnTo>
                  <a:lnTo>
                    <a:pt x="1587" y="631"/>
                  </a:lnTo>
                  <a:lnTo>
                    <a:pt x="1587" y="631"/>
                  </a:lnTo>
                  <a:lnTo>
                    <a:pt x="1587" y="631"/>
                  </a:lnTo>
                  <a:lnTo>
                    <a:pt x="1587" y="631"/>
                  </a:lnTo>
                  <a:lnTo>
                    <a:pt x="1585" y="631"/>
                  </a:lnTo>
                  <a:lnTo>
                    <a:pt x="1585" y="629"/>
                  </a:lnTo>
                  <a:lnTo>
                    <a:pt x="1585" y="629"/>
                  </a:lnTo>
                  <a:lnTo>
                    <a:pt x="1583" y="629"/>
                  </a:lnTo>
                  <a:lnTo>
                    <a:pt x="1583" y="629"/>
                  </a:lnTo>
                  <a:lnTo>
                    <a:pt x="1581" y="629"/>
                  </a:lnTo>
                  <a:lnTo>
                    <a:pt x="1575" y="627"/>
                  </a:lnTo>
                  <a:lnTo>
                    <a:pt x="1573" y="627"/>
                  </a:lnTo>
                  <a:lnTo>
                    <a:pt x="1573" y="627"/>
                  </a:lnTo>
                  <a:lnTo>
                    <a:pt x="1571" y="627"/>
                  </a:lnTo>
                  <a:lnTo>
                    <a:pt x="1571" y="627"/>
                  </a:lnTo>
                  <a:lnTo>
                    <a:pt x="1571" y="627"/>
                  </a:lnTo>
                  <a:lnTo>
                    <a:pt x="1571" y="625"/>
                  </a:lnTo>
                  <a:lnTo>
                    <a:pt x="1571" y="625"/>
                  </a:lnTo>
                  <a:lnTo>
                    <a:pt x="1571" y="625"/>
                  </a:lnTo>
                  <a:lnTo>
                    <a:pt x="1571" y="627"/>
                  </a:lnTo>
                  <a:lnTo>
                    <a:pt x="1569" y="627"/>
                  </a:lnTo>
                  <a:lnTo>
                    <a:pt x="1569" y="627"/>
                  </a:lnTo>
                  <a:lnTo>
                    <a:pt x="1569" y="627"/>
                  </a:lnTo>
                  <a:lnTo>
                    <a:pt x="1569" y="627"/>
                  </a:lnTo>
                  <a:lnTo>
                    <a:pt x="1569" y="627"/>
                  </a:lnTo>
                  <a:lnTo>
                    <a:pt x="1569" y="631"/>
                  </a:lnTo>
                  <a:lnTo>
                    <a:pt x="1569" y="631"/>
                  </a:lnTo>
                  <a:lnTo>
                    <a:pt x="1569" y="631"/>
                  </a:lnTo>
                  <a:lnTo>
                    <a:pt x="1571" y="633"/>
                  </a:lnTo>
                  <a:lnTo>
                    <a:pt x="1571" y="633"/>
                  </a:lnTo>
                  <a:lnTo>
                    <a:pt x="1573" y="633"/>
                  </a:lnTo>
                  <a:lnTo>
                    <a:pt x="1575" y="631"/>
                  </a:lnTo>
                  <a:lnTo>
                    <a:pt x="1575" y="631"/>
                  </a:lnTo>
                  <a:lnTo>
                    <a:pt x="1577" y="631"/>
                  </a:lnTo>
                  <a:lnTo>
                    <a:pt x="1579" y="629"/>
                  </a:lnTo>
                  <a:lnTo>
                    <a:pt x="1579" y="629"/>
                  </a:lnTo>
                  <a:lnTo>
                    <a:pt x="1579" y="631"/>
                  </a:lnTo>
                  <a:lnTo>
                    <a:pt x="1577" y="631"/>
                  </a:lnTo>
                  <a:lnTo>
                    <a:pt x="1575" y="633"/>
                  </a:lnTo>
                  <a:lnTo>
                    <a:pt x="1575" y="633"/>
                  </a:lnTo>
                  <a:lnTo>
                    <a:pt x="1575" y="635"/>
                  </a:lnTo>
                  <a:lnTo>
                    <a:pt x="1575" y="635"/>
                  </a:lnTo>
                  <a:lnTo>
                    <a:pt x="1575" y="637"/>
                  </a:lnTo>
                  <a:lnTo>
                    <a:pt x="1575" y="637"/>
                  </a:lnTo>
                  <a:lnTo>
                    <a:pt x="1577" y="639"/>
                  </a:lnTo>
                  <a:lnTo>
                    <a:pt x="1577" y="639"/>
                  </a:lnTo>
                  <a:lnTo>
                    <a:pt x="1579" y="639"/>
                  </a:lnTo>
                  <a:lnTo>
                    <a:pt x="1579" y="639"/>
                  </a:lnTo>
                  <a:lnTo>
                    <a:pt x="1579" y="639"/>
                  </a:lnTo>
                  <a:lnTo>
                    <a:pt x="1579" y="639"/>
                  </a:lnTo>
                  <a:lnTo>
                    <a:pt x="1579" y="639"/>
                  </a:lnTo>
                  <a:lnTo>
                    <a:pt x="1581" y="637"/>
                  </a:lnTo>
                  <a:lnTo>
                    <a:pt x="1581" y="637"/>
                  </a:lnTo>
                  <a:lnTo>
                    <a:pt x="1581" y="637"/>
                  </a:lnTo>
                  <a:lnTo>
                    <a:pt x="1581" y="637"/>
                  </a:lnTo>
                  <a:lnTo>
                    <a:pt x="1581" y="637"/>
                  </a:lnTo>
                  <a:lnTo>
                    <a:pt x="1581" y="639"/>
                  </a:lnTo>
                  <a:lnTo>
                    <a:pt x="1581" y="639"/>
                  </a:lnTo>
                  <a:lnTo>
                    <a:pt x="1581" y="639"/>
                  </a:lnTo>
                  <a:lnTo>
                    <a:pt x="1579" y="639"/>
                  </a:lnTo>
                  <a:lnTo>
                    <a:pt x="1579" y="641"/>
                  </a:lnTo>
                  <a:lnTo>
                    <a:pt x="1579" y="641"/>
                  </a:lnTo>
                  <a:lnTo>
                    <a:pt x="1579" y="641"/>
                  </a:lnTo>
                  <a:lnTo>
                    <a:pt x="1581" y="643"/>
                  </a:lnTo>
                  <a:lnTo>
                    <a:pt x="1581" y="643"/>
                  </a:lnTo>
                  <a:lnTo>
                    <a:pt x="1583" y="641"/>
                  </a:lnTo>
                  <a:lnTo>
                    <a:pt x="1585" y="641"/>
                  </a:lnTo>
                  <a:lnTo>
                    <a:pt x="1585" y="643"/>
                  </a:lnTo>
                  <a:lnTo>
                    <a:pt x="1585" y="643"/>
                  </a:lnTo>
                  <a:lnTo>
                    <a:pt x="1585" y="641"/>
                  </a:lnTo>
                  <a:lnTo>
                    <a:pt x="1587" y="641"/>
                  </a:lnTo>
                  <a:lnTo>
                    <a:pt x="1587" y="641"/>
                  </a:lnTo>
                  <a:lnTo>
                    <a:pt x="1587" y="641"/>
                  </a:lnTo>
                  <a:lnTo>
                    <a:pt x="1589" y="639"/>
                  </a:lnTo>
                  <a:lnTo>
                    <a:pt x="1589" y="639"/>
                  </a:lnTo>
                  <a:lnTo>
                    <a:pt x="1589" y="639"/>
                  </a:lnTo>
                  <a:lnTo>
                    <a:pt x="1589" y="639"/>
                  </a:lnTo>
                  <a:lnTo>
                    <a:pt x="1589" y="641"/>
                  </a:lnTo>
                  <a:lnTo>
                    <a:pt x="1589" y="641"/>
                  </a:lnTo>
                  <a:lnTo>
                    <a:pt x="1589" y="641"/>
                  </a:lnTo>
                  <a:lnTo>
                    <a:pt x="1587" y="641"/>
                  </a:lnTo>
                  <a:lnTo>
                    <a:pt x="1587" y="641"/>
                  </a:lnTo>
                  <a:lnTo>
                    <a:pt x="1587" y="643"/>
                  </a:lnTo>
                  <a:lnTo>
                    <a:pt x="1587" y="643"/>
                  </a:lnTo>
                  <a:lnTo>
                    <a:pt x="1585" y="646"/>
                  </a:lnTo>
                  <a:lnTo>
                    <a:pt x="1581" y="646"/>
                  </a:lnTo>
                  <a:lnTo>
                    <a:pt x="1579" y="646"/>
                  </a:lnTo>
                  <a:lnTo>
                    <a:pt x="1579" y="648"/>
                  </a:lnTo>
                  <a:lnTo>
                    <a:pt x="1579" y="648"/>
                  </a:lnTo>
                  <a:lnTo>
                    <a:pt x="1579" y="648"/>
                  </a:lnTo>
                  <a:lnTo>
                    <a:pt x="1579" y="648"/>
                  </a:lnTo>
                  <a:lnTo>
                    <a:pt x="1579" y="648"/>
                  </a:lnTo>
                  <a:lnTo>
                    <a:pt x="1579" y="650"/>
                  </a:lnTo>
                  <a:lnTo>
                    <a:pt x="1581" y="650"/>
                  </a:lnTo>
                  <a:lnTo>
                    <a:pt x="1579" y="650"/>
                  </a:lnTo>
                  <a:lnTo>
                    <a:pt x="1579" y="652"/>
                  </a:lnTo>
                  <a:lnTo>
                    <a:pt x="1579" y="652"/>
                  </a:lnTo>
                  <a:lnTo>
                    <a:pt x="1579" y="652"/>
                  </a:lnTo>
                  <a:lnTo>
                    <a:pt x="1579" y="652"/>
                  </a:lnTo>
                  <a:lnTo>
                    <a:pt x="1581" y="652"/>
                  </a:lnTo>
                  <a:lnTo>
                    <a:pt x="1581" y="652"/>
                  </a:lnTo>
                  <a:lnTo>
                    <a:pt x="1581" y="652"/>
                  </a:lnTo>
                  <a:lnTo>
                    <a:pt x="1583" y="654"/>
                  </a:lnTo>
                  <a:lnTo>
                    <a:pt x="1583" y="654"/>
                  </a:lnTo>
                  <a:lnTo>
                    <a:pt x="1583" y="654"/>
                  </a:lnTo>
                  <a:lnTo>
                    <a:pt x="1585" y="654"/>
                  </a:lnTo>
                  <a:lnTo>
                    <a:pt x="1587" y="654"/>
                  </a:lnTo>
                  <a:lnTo>
                    <a:pt x="1587" y="654"/>
                  </a:lnTo>
                  <a:lnTo>
                    <a:pt x="1587" y="654"/>
                  </a:lnTo>
                  <a:lnTo>
                    <a:pt x="1587" y="652"/>
                  </a:lnTo>
                  <a:lnTo>
                    <a:pt x="1587" y="650"/>
                  </a:lnTo>
                  <a:lnTo>
                    <a:pt x="1587" y="650"/>
                  </a:lnTo>
                  <a:lnTo>
                    <a:pt x="1587" y="650"/>
                  </a:lnTo>
                  <a:lnTo>
                    <a:pt x="1589" y="650"/>
                  </a:lnTo>
                  <a:lnTo>
                    <a:pt x="1589" y="650"/>
                  </a:lnTo>
                  <a:lnTo>
                    <a:pt x="1589" y="652"/>
                  </a:lnTo>
                  <a:lnTo>
                    <a:pt x="1589" y="652"/>
                  </a:lnTo>
                  <a:lnTo>
                    <a:pt x="1589" y="652"/>
                  </a:lnTo>
                  <a:lnTo>
                    <a:pt x="1589" y="650"/>
                  </a:lnTo>
                  <a:lnTo>
                    <a:pt x="1589" y="652"/>
                  </a:lnTo>
                  <a:lnTo>
                    <a:pt x="1589" y="650"/>
                  </a:lnTo>
                  <a:lnTo>
                    <a:pt x="1591" y="650"/>
                  </a:lnTo>
                  <a:lnTo>
                    <a:pt x="1591" y="650"/>
                  </a:lnTo>
                  <a:lnTo>
                    <a:pt x="1591" y="650"/>
                  </a:lnTo>
                  <a:lnTo>
                    <a:pt x="1591" y="652"/>
                  </a:lnTo>
                  <a:lnTo>
                    <a:pt x="1591" y="652"/>
                  </a:lnTo>
                  <a:lnTo>
                    <a:pt x="1591" y="652"/>
                  </a:lnTo>
                  <a:lnTo>
                    <a:pt x="1591" y="652"/>
                  </a:lnTo>
                  <a:lnTo>
                    <a:pt x="1591" y="654"/>
                  </a:lnTo>
                  <a:lnTo>
                    <a:pt x="1591" y="654"/>
                  </a:lnTo>
                  <a:lnTo>
                    <a:pt x="1591" y="654"/>
                  </a:lnTo>
                  <a:lnTo>
                    <a:pt x="1591" y="654"/>
                  </a:lnTo>
                  <a:lnTo>
                    <a:pt x="1591" y="654"/>
                  </a:lnTo>
                  <a:lnTo>
                    <a:pt x="1591" y="654"/>
                  </a:lnTo>
                  <a:lnTo>
                    <a:pt x="1591" y="654"/>
                  </a:lnTo>
                  <a:lnTo>
                    <a:pt x="1591" y="654"/>
                  </a:lnTo>
                  <a:lnTo>
                    <a:pt x="1593" y="654"/>
                  </a:lnTo>
                  <a:lnTo>
                    <a:pt x="1593" y="654"/>
                  </a:lnTo>
                  <a:lnTo>
                    <a:pt x="1593" y="654"/>
                  </a:lnTo>
                  <a:lnTo>
                    <a:pt x="1593" y="654"/>
                  </a:lnTo>
                  <a:lnTo>
                    <a:pt x="1595" y="654"/>
                  </a:lnTo>
                  <a:lnTo>
                    <a:pt x="1595" y="654"/>
                  </a:lnTo>
                  <a:lnTo>
                    <a:pt x="1598" y="654"/>
                  </a:lnTo>
                  <a:lnTo>
                    <a:pt x="1598" y="654"/>
                  </a:lnTo>
                  <a:lnTo>
                    <a:pt x="1598" y="654"/>
                  </a:lnTo>
                  <a:lnTo>
                    <a:pt x="1600" y="654"/>
                  </a:lnTo>
                  <a:lnTo>
                    <a:pt x="1600" y="654"/>
                  </a:lnTo>
                  <a:lnTo>
                    <a:pt x="1600" y="654"/>
                  </a:lnTo>
                  <a:lnTo>
                    <a:pt x="1600" y="652"/>
                  </a:lnTo>
                  <a:lnTo>
                    <a:pt x="1600" y="652"/>
                  </a:lnTo>
                  <a:lnTo>
                    <a:pt x="1602" y="650"/>
                  </a:lnTo>
                  <a:lnTo>
                    <a:pt x="1602" y="650"/>
                  </a:lnTo>
                  <a:lnTo>
                    <a:pt x="1602" y="650"/>
                  </a:lnTo>
                  <a:lnTo>
                    <a:pt x="1602" y="650"/>
                  </a:lnTo>
                  <a:lnTo>
                    <a:pt x="1602" y="652"/>
                  </a:lnTo>
                  <a:lnTo>
                    <a:pt x="1602" y="652"/>
                  </a:lnTo>
                  <a:lnTo>
                    <a:pt x="1602" y="652"/>
                  </a:lnTo>
                  <a:lnTo>
                    <a:pt x="1604" y="654"/>
                  </a:lnTo>
                  <a:lnTo>
                    <a:pt x="1604" y="656"/>
                  </a:lnTo>
                  <a:lnTo>
                    <a:pt x="1604" y="656"/>
                  </a:lnTo>
                  <a:lnTo>
                    <a:pt x="1602" y="656"/>
                  </a:lnTo>
                  <a:lnTo>
                    <a:pt x="1602" y="656"/>
                  </a:lnTo>
                  <a:lnTo>
                    <a:pt x="1602" y="656"/>
                  </a:lnTo>
                  <a:lnTo>
                    <a:pt x="1602" y="656"/>
                  </a:lnTo>
                  <a:lnTo>
                    <a:pt x="1602" y="656"/>
                  </a:lnTo>
                  <a:lnTo>
                    <a:pt x="1600" y="656"/>
                  </a:lnTo>
                  <a:lnTo>
                    <a:pt x="1600" y="656"/>
                  </a:lnTo>
                  <a:lnTo>
                    <a:pt x="1600" y="656"/>
                  </a:lnTo>
                  <a:lnTo>
                    <a:pt x="1600" y="658"/>
                  </a:lnTo>
                  <a:lnTo>
                    <a:pt x="1600" y="658"/>
                  </a:lnTo>
                  <a:lnTo>
                    <a:pt x="1602" y="658"/>
                  </a:lnTo>
                  <a:lnTo>
                    <a:pt x="1602" y="658"/>
                  </a:lnTo>
                  <a:lnTo>
                    <a:pt x="1602" y="658"/>
                  </a:lnTo>
                  <a:lnTo>
                    <a:pt x="1602" y="660"/>
                  </a:lnTo>
                  <a:lnTo>
                    <a:pt x="1602" y="660"/>
                  </a:lnTo>
                  <a:lnTo>
                    <a:pt x="1602" y="660"/>
                  </a:lnTo>
                  <a:lnTo>
                    <a:pt x="1604" y="660"/>
                  </a:lnTo>
                  <a:lnTo>
                    <a:pt x="1604" y="660"/>
                  </a:lnTo>
                  <a:lnTo>
                    <a:pt x="1606" y="660"/>
                  </a:lnTo>
                  <a:lnTo>
                    <a:pt x="1606" y="662"/>
                  </a:lnTo>
                  <a:lnTo>
                    <a:pt x="1606" y="662"/>
                  </a:lnTo>
                  <a:lnTo>
                    <a:pt x="1606" y="662"/>
                  </a:lnTo>
                  <a:lnTo>
                    <a:pt x="1610" y="664"/>
                  </a:lnTo>
                  <a:lnTo>
                    <a:pt x="1614" y="664"/>
                  </a:lnTo>
                  <a:lnTo>
                    <a:pt x="1614" y="664"/>
                  </a:lnTo>
                  <a:lnTo>
                    <a:pt x="1614" y="664"/>
                  </a:lnTo>
                  <a:lnTo>
                    <a:pt x="1614" y="662"/>
                  </a:lnTo>
                  <a:lnTo>
                    <a:pt x="1614" y="662"/>
                  </a:lnTo>
                  <a:lnTo>
                    <a:pt x="1616" y="662"/>
                  </a:lnTo>
                  <a:lnTo>
                    <a:pt x="1616" y="662"/>
                  </a:lnTo>
                  <a:lnTo>
                    <a:pt x="1616" y="662"/>
                  </a:lnTo>
                  <a:lnTo>
                    <a:pt x="1616" y="660"/>
                  </a:lnTo>
                  <a:lnTo>
                    <a:pt x="1616" y="660"/>
                  </a:lnTo>
                  <a:lnTo>
                    <a:pt x="1616" y="660"/>
                  </a:lnTo>
                  <a:lnTo>
                    <a:pt x="1618" y="660"/>
                  </a:lnTo>
                  <a:lnTo>
                    <a:pt x="1616" y="660"/>
                  </a:lnTo>
                  <a:lnTo>
                    <a:pt x="1616" y="660"/>
                  </a:lnTo>
                  <a:lnTo>
                    <a:pt x="1616" y="660"/>
                  </a:lnTo>
                  <a:lnTo>
                    <a:pt x="1616" y="660"/>
                  </a:lnTo>
                  <a:lnTo>
                    <a:pt x="1616" y="662"/>
                  </a:lnTo>
                  <a:lnTo>
                    <a:pt x="1616" y="662"/>
                  </a:lnTo>
                  <a:lnTo>
                    <a:pt x="1616" y="662"/>
                  </a:lnTo>
                  <a:lnTo>
                    <a:pt x="1616" y="664"/>
                  </a:lnTo>
                  <a:lnTo>
                    <a:pt x="1616" y="664"/>
                  </a:lnTo>
                  <a:lnTo>
                    <a:pt x="1616" y="664"/>
                  </a:lnTo>
                  <a:lnTo>
                    <a:pt x="1614" y="666"/>
                  </a:lnTo>
                  <a:lnTo>
                    <a:pt x="1616" y="666"/>
                  </a:lnTo>
                  <a:lnTo>
                    <a:pt x="1616" y="666"/>
                  </a:lnTo>
                  <a:lnTo>
                    <a:pt x="1616" y="666"/>
                  </a:lnTo>
                  <a:lnTo>
                    <a:pt x="1616" y="668"/>
                  </a:lnTo>
                  <a:lnTo>
                    <a:pt x="1616" y="668"/>
                  </a:lnTo>
                  <a:lnTo>
                    <a:pt x="1616" y="668"/>
                  </a:lnTo>
                  <a:lnTo>
                    <a:pt x="1614" y="668"/>
                  </a:lnTo>
                  <a:lnTo>
                    <a:pt x="1616" y="670"/>
                  </a:lnTo>
                  <a:lnTo>
                    <a:pt x="1616" y="670"/>
                  </a:lnTo>
                  <a:lnTo>
                    <a:pt x="1616" y="670"/>
                  </a:lnTo>
                  <a:lnTo>
                    <a:pt x="1618" y="672"/>
                  </a:lnTo>
                  <a:lnTo>
                    <a:pt x="1618" y="670"/>
                  </a:lnTo>
                  <a:lnTo>
                    <a:pt x="1620" y="670"/>
                  </a:lnTo>
                  <a:lnTo>
                    <a:pt x="1620" y="668"/>
                  </a:lnTo>
                  <a:lnTo>
                    <a:pt x="1622" y="668"/>
                  </a:lnTo>
                  <a:lnTo>
                    <a:pt x="1622" y="670"/>
                  </a:lnTo>
                  <a:lnTo>
                    <a:pt x="1622" y="672"/>
                  </a:lnTo>
                  <a:lnTo>
                    <a:pt x="1622" y="672"/>
                  </a:lnTo>
                  <a:lnTo>
                    <a:pt x="1622" y="674"/>
                  </a:lnTo>
                  <a:lnTo>
                    <a:pt x="1622" y="674"/>
                  </a:lnTo>
                  <a:lnTo>
                    <a:pt x="1622" y="674"/>
                  </a:lnTo>
                  <a:lnTo>
                    <a:pt x="1624" y="674"/>
                  </a:lnTo>
                  <a:lnTo>
                    <a:pt x="1624" y="674"/>
                  </a:lnTo>
                  <a:lnTo>
                    <a:pt x="1626" y="674"/>
                  </a:lnTo>
                  <a:lnTo>
                    <a:pt x="1626" y="676"/>
                  </a:lnTo>
                  <a:lnTo>
                    <a:pt x="1628" y="676"/>
                  </a:lnTo>
                  <a:lnTo>
                    <a:pt x="1628" y="676"/>
                  </a:lnTo>
                  <a:lnTo>
                    <a:pt x="1630" y="680"/>
                  </a:lnTo>
                  <a:lnTo>
                    <a:pt x="1630" y="678"/>
                  </a:lnTo>
                  <a:lnTo>
                    <a:pt x="1630" y="678"/>
                  </a:lnTo>
                  <a:lnTo>
                    <a:pt x="1632" y="678"/>
                  </a:lnTo>
                  <a:lnTo>
                    <a:pt x="1632" y="678"/>
                  </a:lnTo>
                  <a:lnTo>
                    <a:pt x="1632" y="678"/>
                  </a:lnTo>
                  <a:lnTo>
                    <a:pt x="1632" y="678"/>
                  </a:lnTo>
                  <a:lnTo>
                    <a:pt x="1634" y="678"/>
                  </a:lnTo>
                  <a:lnTo>
                    <a:pt x="1634" y="678"/>
                  </a:lnTo>
                  <a:lnTo>
                    <a:pt x="1634" y="678"/>
                  </a:lnTo>
                  <a:lnTo>
                    <a:pt x="1636" y="680"/>
                  </a:lnTo>
                  <a:lnTo>
                    <a:pt x="1636" y="682"/>
                  </a:lnTo>
                  <a:lnTo>
                    <a:pt x="1638" y="684"/>
                  </a:lnTo>
                  <a:lnTo>
                    <a:pt x="1641" y="684"/>
                  </a:lnTo>
                  <a:lnTo>
                    <a:pt x="1645" y="682"/>
                  </a:lnTo>
                  <a:lnTo>
                    <a:pt x="1647" y="682"/>
                  </a:lnTo>
                  <a:lnTo>
                    <a:pt x="1649" y="682"/>
                  </a:lnTo>
                  <a:lnTo>
                    <a:pt x="1649" y="682"/>
                  </a:lnTo>
                  <a:lnTo>
                    <a:pt x="1649" y="680"/>
                  </a:lnTo>
                  <a:lnTo>
                    <a:pt x="1651" y="680"/>
                  </a:lnTo>
                  <a:lnTo>
                    <a:pt x="1651" y="680"/>
                  </a:lnTo>
                  <a:lnTo>
                    <a:pt x="1651" y="680"/>
                  </a:lnTo>
                  <a:lnTo>
                    <a:pt x="1651" y="682"/>
                  </a:lnTo>
                  <a:lnTo>
                    <a:pt x="1649" y="682"/>
                  </a:lnTo>
                  <a:lnTo>
                    <a:pt x="1649" y="684"/>
                  </a:lnTo>
                  <a:lnTo>
                    <a:pt x="1649" y="684"/>
                  </a:lnTo>
                  <a:lnTo>
                    <a:pt x="1645" y="684"/>
                  </a:lnTo>
                  <a:lnTo>
                    <a:pt x="1643" y="684"/>
                  </a:lnTo>
                  <a:lnTo>
                    <a:pt x="1641" y="687"/>
                  </a:lnTo>
                  <a:lnTo>
                    <a:pt x="1638" y="689"/>
                  </a:lnTo>
                  <a:lnTo>
                    <a:pt x="1638" y="689"/>
                  </a:lnTo>
                  <a:lnTo>
                    <a:pt x="1641" y="693"/>
                  </a:lnTo>
                  <a:lnTo>
                    <a:pt x="1643" y="695"/>
                  </a:lnTo>
                  <a:lnTo>
                    <a:pt x="1643" y="697"/>
                  </a:lnTo>
                  <a:lnTo>
                    <a:pt x="1643" y="697"/>
                  </a:lnTo>
                  <a:lnTo>
                    <a:pt x="1643" y="697"/>
                  </a:lnTo>
                  <a:lnTo>
                    <a:pt x="1643" y="699"/>
                  </a:lnTo>
                  <a:lnTo>
                    <a:pt x="1643" y="699"/>
                  </a:lnTo>
                  <a:lnTo>
                    <a:pt x="1641" y="699"/>
                  </a:lnTo>
                  <a:lnTo>
                    <a:pt x="1641" y="699"/>
                  </a:lnTo>
                  <a:lnTo>
                    <a:pt x="1641" y="701"/>
                  </a:lnTo>
                  <a:lnTo>
                    <a:pt x="1641" y="701"/>
                  </a:lnTo>
                  <a:lnTo>
                    <a:pt x="1641" y="701"/>
                  </a:lnTo>
                  <a:lnTo>
                    <a:pt x="1641" y="703"/>
                  </a:lnTo>
                  <a:lnTo>
                    <a:pt x="1641" y="703"/>
                  </a:lnTo>
                  <a:lnTo>
                    <a:pt x="1641" y="705"/>
                  </a:lnTo>
                  <a:lnTo>
                    <a:pt x="1641" y="705"/>
                  </a:lnTo>
                  <a:lnTo>
                    <a:pt x="1643" y="705"/>
                  </a:lnTo>
                  <a:lnTo>
                    <a:pt x="1643" y="707"/>
                  </a:lnTo>
                  <a:lnTo>
                    <a:pt x="1643" y="707"/>
                  </a:lnTo>
                  <a:lnTo>
                    <a:pt x="1643" y="707"/>
                  </a:lnTo>
                  <a:lnTo>
                    <a:pt x="1641" y="707"/>
                  </a:lnTo>
                  <a:lnTo>
                    <a:pt x="1638" y="707"/>
                  </a:lnTo>
                  <a:lnTo>
                    <a:pt x="1638" y="709"/>
                  </a:lnTo>
                  <a:lnTo>
                    <a:pt x="1638" y="709"/>
                  </a:lnTo>
                  <a:lnTo>
                    <a:pt x="1641" y="711"/>
                  </a:lnTo>
                  <a:lnTo>
                    <a:pt x="1641" y="711"/>
                  </a:lnTo>
                  <a:lnTo>
                    <a:pt x="1641" y="711"/>
                  </a:lnTo>
                  <a:lnTo>
                    <a:pt x="1638" y="711"/>
                  </a:lnTo>
                  <a:lnTo>
                    <a:pt x="1638" y="711"/>
                  </a:lnTo>
                  <a:lnTo>
                    <a:pt x="1636" y="711"/>
                  </a:lnTo>
                  <a:lnTo>
                    <a:pt x="1638" y="711"/>
                  </a:lnTo>
                  <a:lnTo>
                    <a:pt x="1638" y="713"/>
                  </a:lnTo>
                  <a:lnTo>
                    <a:pt x="1638" y="713"/>
                  </a:lnTo>
                  <a:lnTo>
                    <a:pt x="1641" y="713"/>
                  </a:lnTo>
                  <a:lnTo>
                    <a:pt x="1643" y="717"/>
                  </a:lnTo>
                  <a:lnTo>
                    <a:pt x="1643" y="719"/>
                  </a:lnTo>
                  <a:lnTo>
                    <a:pt x="1645" y="719"/>
                  </a:lnTo>
                  <a:lnTo>
                    <a:pt x="1649" y="721"/>
                  </a:lnTo>
                  <a:lnTo>
                    <a:pt x="1651" y="721"/>
                  </a:lnTo>
                  <a:lnTo>
                    <a:pt x="1651" y="721"/>
                  </a:lnTo>
                  <a:lnTo>
                    <a:pt x="1651" y="721"/>
                  </a:lnTo>
                  <a:lnTo>
                    <a:pt x="1651" y="719"/>
                  </a:lnTo>
                  <a:lnTo>
                    <a:pt x="1651" y="719"/>
                  </a:lnTo>
                  <a:lnTo>
                    <a:pt x="1651" y="719"/>
                  </a:lnTo>
                  <a:lnTo>
                    <a:pt x="1651" y="719"/>
                  </a:lnTo>
                  <a:lnTo>
                    <a:pt x="1651" y="717"/>
                  </a:lnTo>
                  <a:lnTo>
                    <a:pt x="1651" y="717"/>
                  </a:lnTo>
                  <a:lnTo>
                    <a:pt x="1649" y="717"/>
                  </a:lnTo>
                  <a:lnTo>
                    <a:pt x="1649" y="717"/>
                  </a:lnTo>
                  <a:lnTo>
                    <a:pt x="1649" y="715"/>
                  </a:lnTo>
                  <a:lnTo>
                    <a:pt x="1649" y="715"/>
                  </a:lnTo>
                  <a:lnTo>
                    <a:pt x="1649" y="715"/>
                  </a:lnTo>
                  <a:lnTo>
                    <a:pt x="1649" y="715"/>
                  </a:lnTo>
                  <a:lnTo>
                    <a:pt x="1649" y="715"/>
                  </a:lnTo>
                  <a:lnTo>
                    <a:pt x="1649" y="715"/>
                  </a:lnTo>
                  <a:lnTo>
                    <a:pt x="1647" y="713"/>
                  </a:lnTo>
                  <a:lnTo>
                    <a:pt x="1647" y="713"/>
                  </a:lnTo>
                  <a:lnTo>
                    <a:pt x="1651" y="715"/>
                  </a:lnTo>
                  <a:lnTo>
                    <a:pt x="1651" y="715"/>
                  </a:lnTo>
                  <a:lnTo>
                    <a:pt x="1651" y="715"/>
                  </a:lnTo>
                  <a:lnTo>
                    <a:pt x="1651" y="715"/>
                  </a:lnTo>
                  <a:lnTo>
                    <a:pt x="1651" y="713"/>
                  </a:lnTo>
                  <a:lnTo>
                    <a:pt x="1651" y="711"/>
                  </a:lnTo>
                  <a:lnTo>
                    <a:pt x="1651" y="709"/>
                  </a:lnTo>
                  <a:lnTo>
                    <a:pt x="1649" y="709"/>
                  </a:lnTo>
                  <a:lnTo>
                    <a:pt x="1651" y="709"/>
                  </a:lnTo>
                  <a:lnTo>
                    <a:pt x="1651" y="709"/>
                  </a:lnTo>
                  <a:lnTo>
                    <a:pt x="1651" y="707"/>
                  </a:lnTo>
                  <a:lnTo>
                    <a:pt x="1651" y="707"/>
                  </a:lnTo>
                  <a:lnTo>
                    <a:pt x="1651" y="705"/>
                  </a:lnTo>
                  <a:lnTo>
                    <a:pt x="1651" y="705"/>
                  </a:lnTo>
                  <a:lnTo>
                    <a:pt x="1651" y="703"/>
                  </a:lnTo>
                  <a:lnTo>
                    <a:pt x="1651" y="703"/>
                  </a:lnTo>
                  <a:lnTo>
                    <a:pt x="1649" y="703"/>
                  </a:lnTo>
                  <a:lnTo>
                    <a:pt x="1647" y="703"/>
                  </a:lnTo>
                  <a:lnTo>
                    <a:pt x="1645" y="703"/>
                  </a:lnTo>
                  <a:lnTo>
                    <a:pt x="1647" y="703"/>
                  </a:lnTo>
                  <a:lnTo>
                    <a:pt x="1647" y="703"/>
                  </a:lnTo>
                  <a:lnTo>
                    <a:pt x="1647" y="703"/>
                  </a:lnTo>
                  <a:lnTo>
                    <a:pt x="1647" y="701"/>
                  </a:lnTo>
                  <a:lnTo>
                    <a:pt x="1647" y="701"/>
                  </a:lnTo>
                  <a:lnTo>
                    <a:pt x="1647" y="701"/>
                  </a:lnTo>
                  <a:lnTo>
                    <a:pt x="1649" y="701"/>
                  </a:lnTo>
                  <a:lnTo>
                    <a:pt x="1649" y="701"/>
                  </a:lnTo>
                  <a:lnTo>
                    <a:pt x="1649" y="701"/>
                  </a:lnTo>
                  <a:lnTo>
                    <a:pt x="1651" y="699"/>
                  </a:lnTo>
                  <a:lnTo>
                    <a:pt x="1651" y="699"/>
                  </a:lnTo>
                  <a:lnTo>
                    <a:pt x="1651" y="699"/>
                  </a:lnTo>
                  <a:lnTo>
                    <a:pt x="1651" y="699"/>
                  </a:lnTo>
                  <a:lnTo>
                    <a:pt x="1651" y="697"/>
                  </a:lnTo>
                  <a:lnTo>
                    <a:pt x="1653" y="697"/>
                  </a:lnTo>
                  <a:lnTo>
                    <a:pt x="1653" y="697"/>
                  </a:lnTo>
                  <a:lnTo>
                    <a:pt x="1653" y="697"/>
                  </a:lnTo>
                  <a:lnTo>
                    <a:pt x="1653" y="697"/>
                  </a:lnTo>
                  <a:lnTo>
                    <a:pt x="1653" y="697"/>
                  </a:lnTo>
                  <a:lnTo>
                    <a:pt x="1653" y="695"/>
                  </a:lnTo>
                  <a:lnTo>
                    <a:pt x="1653" y="695"/>
                  </a:lnTo>
                  <a:lnTo>
                    <a:pt x="1655" y="693"/>
                  </a:lnTo>
                  <a:lnTo>
                    <a:pt x="1655" y="693"/>
                  </a:lnTo>
                  <a:lnTo>
                    <a:pt x="1655" y="693"/>
                  </a:lnTo>
                  <a:lnTo>
                    <a:pt x="1657" y="691"/>
                  </a:lnTo>
                  <a:lnTo>
                    <a:pt x="1657" y="691"/>
                  </a:lnTo>
                  <a:lnTo>
                    <a:pt x="1657" y="691"/>
                  </a:lnTo>
                  <a:lnTo>
                    <a:pt x="1659" y="693"/>
                  </a:lnTo>
                  <a:lnTo>
                    <a:pt x="1659" y="693"/>
                  </a:lnTo>
                  <a:lnTo>
                    <a:pt x="1659" y="691"/>
                  </a:lnTo>
                  <a:lnTo>
                    <a:pt x="1661" y="691"/>
                  </a:lnTo>
                  <a:lnTo>
                    <a:pt x="1661" y="691"/>
                  </a:lnTo>
                  <a:lnTo>
                    <a:pt x="1663" y="689"/>
                  </a:lnTo>
                  <a:lnTo>
                    <a:pt x="1663" y="687"/>
                  </a:lnTo>
                  <a:lnTo>
                    <a:pt x="1663" y="687"/>
                  </a:lnTo>
                  <a:lnTo>
                    <a:pt x="1663" y="687"/>
                  </a:lnTo>
                  <a:lnTo>
                    <a:pt x="1663" y="684"/>
                  </a:lnTo>
                  <a:lnTo>
                    <a:pt x="1665" y="684"/>
                  </a:lnTo>
                  <a:lnTo>
                    <a:pt x="1665" y="682"/>
                  </a:lnTo>
                  <a:lnTo>
                    <a:pt x="1665" y="682"/>
                  </a:lnTo>
                  <a:lnTo>
                    <a:pt x="1665" y="684"/>
                  </a:lnTo>
                  <a:lnTo>
                    <a:pt x="1665" y="684"/>
                  </a:lnTo>
                  <a:lnTo>
                    <a:pt x="1665" y="684"/>
                  </a:lnTo>
                  <a:lnTo>
                    <a:pt x="1665" y="684"/>
                  </a:lnTo>
                  <a:lnTo>
                    <a:pt x="1663" y="687"/>
                  </a:lnTo>
                  <a:lnTo>
                    <a:pt x="1663" y="689"/>
                  </a:lnTo>
                  <a:lnTo>
                    <a:pt x="1663" y="691"/>
                  </a:lnTo>
                  <a:lnTo>
                    <a:pt x="1663" y="691"/>
                  </a:lnTo>
                  <a:lnTo>
                    <a:pt x="1665" y="691"/>
                  </a:lnTo>
                  <a:lnTo>
                    <a:pt x="1665" y="691"/>
                  </a:lnTo>
                  <a:lnTo>
                    <a:pt x="1665" y="691"/>
                  </a:lnTo>
                  <a:lnTo>
                    <a:pt x="1665" y="691"/>
                  </a:lnTo>
                  <a:lnTo>
                    <a:pt x="1665" y="693"/>
                  </a:lnTo>
                  <a:lnTo>
                    <a:pt x="1665" y="693"/>
                  </a:lnTo>
                  <a:lnTo>
                    <a:pt x="1667" y="693"/>
                  </a:lnTo>
                  <a:lnTo>
                    <a:pt x="1669" y="693"/>
                  </a:lnTo>
                  <a:lnTo>
                    <a:pt x="1671" y="695"/>
                  </a:lnTo>
                  <a:lnTo>
                    <a:pt x="1671" y="697"/>
                  </a:lnTo>
                  <a:lnTo>
                    <a:pt x="1671" y="697"/>
                  </a:lnTo>
                  <a:lnTo>
                    <a:pt x="1671" y="697"/>
                  </a:lnTo>
                  <a:lnTo>
                    <a:pt x="1671" y="697"/>
                  </a:lnTo>
                  <a:lnTo>
                    <a:pt x="1673" y="697"/>
                  </a:lnTo>
                  <a:lnTo>
                    <a:pt x="1673" y="695"/>
                  </a:lnTo>
                  <a:lnTo>
                    <a:pt x="1673" y="695"/>
                  </a:lnTo>
                  <a:lnTo>
                    <a:pt x="1673" y="695"/>
                  </a:lnTo>
                  <a:lnTo>
                    <a:pt x="1673" y="697"/>
                  </a:lnTo>
                  <a:lnTo>
                    <a:pt x="1673" y="697"/>
                  </a:lnTo>
                  <a:lnTo>
                    <a:pt x="1673" y="697"/>
                  </a:lnTo>
                  <a:lnTo>
                    <a:pt x="1675" y="699"/>
                  </a:lnTo>
                  <a:lnTo>
                    <a:pt x="1675" y="699"/>
                  </a:lnTo>
                  <a:lnTo>
                    <a:pt x="1675" y="699"/>
                  </a:lnTo>
                  <a:lnTo>
                    <a:pt x="1675" y="701"/>
                  </a:lnTo>
                  <a:lnTo>
                    <a:pt x="1677" y="701"/>
                  </a:lnTo>
                  <a:lnTo>
                    <a:pt x="1675" y="701"/>
                  </a:lnTo>
                  <a:lnTo>
                    <a:pt x="1675" y="701"/>
                  </a:lnTo>
                  <a:lnTo>
                    <a:pt x="1677" y="703"/>
                  </a:lnTo>
                  <a:lnTo>
                    <a:pt x="1677" y="703"/>
                  </a:lnTo>
                  <a:lnTo>
                    <a:pt x="1677" y="705"/>
                  </a:lnTo>
                  <a:lnTo>
                    <a:pt x="1679" y="707"/>
                  </a:lnTo>
                  <a:lnTo>
                    <a:pt x="1679" y="709"/>
                  </a:lnTo>
                  <a:lnTo>
                    <a:pt x="1681" y="713"/>
                  </a:lnTo>
                  <a:lnTo>
                    <a:pt x="1684" y="717"/>
                  </a:lnTo>
                  <a:lnTo>
                    <a:pt x="1684" y="719"/>
                  </a:lnTo>
                  <a:lnTo>
                    <a:pt x="1686" y="719"/>
                  </a:lnTo>
                  <a:lnTo>
                    <a:pt x="1688" y="717"/>
                  </a:lnTo>
                  <a:lnTo>
                    <a:pt x="1688" y="717"/>
                  </a:lnTo>
                  <a:lnTo>
                    <a:pt x="1690" y="715"/>
                  </a:lnTo>
                  <a:lnTo>
                    <a:pt x="1690" y="715"/>
                  </a:lnTo>
                  <a:lnTo>
                    <a:pt x="1690" y="715"/>
                  </a:lnTo>
                  <a:lnTo>
                    <a:pt x="1690" y="717"/>
                  </a:lnTo>
                  <a:lnTo>
                    <a:pt x="1690" y="717"/>
                  </a:lnTo>
                  <a:lnTo>
                    <a:pt x="1692" y="717"/>
                  </a:lnTo>
                  <a:lnTo>
                    <a:pt x="1692" y="717"/>
                  </a:lnTo>
                  <a:lnTo>
                    <a:pt x="1692" y="717"/>
                  </a:lnTo>
                  <a:lnTo>
                    <a:pt x="1684" y="721"/>
                  </a:lnTo>
                  <a:lnTo>
                    <a:pt x="1684" y="721"/>
                  </a:lnTo>
                  <a:lnTo>
                    <a:pt x="1684" y="721"/>
                  </a:lnTo>
                  <a:lnTo>
                    <a:pt x="1681" y="721"/>
                  </a:lnTo>
                  <a:lnTo>
                    <a:pt x="1681" y="723"/>
                  </a:lnTo>
                  <a:lnTo>
                    <a:pt x="1681" y="723"/>
                  </a:lnTo>
                  <a:lnTo>
                    <a:pt x="1681" y="723"/>
                  </a:lnTo>
                  <a:lnTo>
                    <a:pt x="1681" y="723"/>
                  </a:lnTo>
                  <a:lnTo>
                    <a:pt x="1681" y="728"/>
                  </a:lnTo>
                  <a:lnTo>
                    <a:pt x="1681" y="728"/>
                  </a:lnTo>
                  <a:lnTo>
                    <a:pt x="1681" y="730"/>
                  </a:lnTo>
                  <a:lnTo>
                    <a:pt x="1681" y="730"/>
                  </a:lnTo>
                  <a:lnTo>
                    <a:pt x="1684" y="732"/>
                  </a:lnTo>
                  <a:lnTo>
                    <a:pt x="1684" y="732"/>
                  </a:lnTo>
                  <a:lnTo>
                    <a:pt x="1684" y="732"/>
                  </a:lnTo>
                  <a:lnTo>
                    <a:pt x="1686" y="732"/>
                  </a:lnTo>
                  <a:lnTo>
                    <a:pt x="1688" y="730"/>
                  </a:lnTo>
                  <a:lnTo>
                    <a:pt x="1688" y="730"/>
                  </a:lnTo>
                  <a:lnTo>
                    <a:pt x="1688" y="728"/>
                  </a:lnTo>
                  <a:lnTo>
                    <a:pt x="1688" y="728"/>
                  </a:lnTo>
                  <a:lnTo>
                    <a:pt x="1688" y="728"/>
                  </a:lnTo>
                  <a:lnTo>
                    <a:pt x="1690" y="728"/>
                  </a:lnTo>
                  <a:lnTo>
                    <a:pt x="1690" y="728"/>
                  </a:lnTo>
                  <a:lnTo>
                    <a:pt x="1690" y="730"/>
                  </a:lnTo>
                  <a:lnTo>
                    <a:pt x="1690" y="730"/>
                  </a:lnTo>
                  <a:lnTo>
                    <a:pt x="1692" y="730"/>
                  </a:lnTo>
                  <a:lnTo>
                    <a:pt x="1692" y="725"/>
                  </a:lnTo>
                  <a:lnTo>
                    <a:pt x="1692" y="723"/>
                  </a:lnTo>
                  <a:lnTo>
                    <a:pt x="1694" y="721"/>
                  </a:lnTo>
                  <a:lnTo>
                    <a:pt x="1694" y="721"/>
                  </a:lnTo>
                  <a:lnTo>
                    <a:pt x="1694" y="717"/>
                  </a:lnTo>
                  <a:lnTo>
                    <a:pt x="1694" y="717"/>
                  </a:lnTo>
                  <a:lnTo>
                    <a:pt x="1694" y="715"/>
                  </a:lnTo>
                  <a:lnTo>
                    <a:pt x="1694" y="715"/>
                  </a:lnTo>
                  <a:lnTo>
                    <a:pt x="1694" y="715"/>
                  </a:lnTo>
                  <a:lnTo>
                    <a:pt x="1694" y="715"/>
                  </a:lnTo>
                  <a:lnTo>
                    <a:pt x="1696" y="713"/>
                  </a:lnTo>
                  <a:lnTo>
                    <a:pt x="1696" y="715"/>
                  </a:lnTo>
                  <a:lnTo>
                    <a:pt x="1694" y="721"/>
                  </a:lnTo>
                  <a:lnTo>
                    <a:pt x="1692" y="723"/>
                  </a:lnTo>
                  <a:lnTo>
                    <a:pt x="1692" y="725"/>
                  </a:lnTo>
                  <a:lnTo>
                    <a:pt x="1692" y="728"/>
                  </a:lnTo>
                  <a:lnTo>
                    <a:pt x="1692" y="728"/>
                  </a:lnTo>
                  <a:lnTo>
                    <a:pt x="1692" y="730"/>
                  </a:lnTo>
                  <a:lnTo>
                    <a:pt x="1692" y="730"/>
                  </a:lnTo>
                  <a:lnTo>
                    <a:pt x="1692" y="730"/>
                  </a:lnTo>
                  <a:lnTo>
                    <a:pt x="1692" y="730"/>
                  </a:lnTo>
                  <a:lnTo>
                    <a:pt x="1692" y="730"/>
                  </a:lnTo>
                  <a:lnTo>
                    <a:pt x="1690" y="730"/>
                  </a:lnTo>
                  <a:lnTo>
                    <a:pt x="1690" y="730"/>
                  </a:lnTo>
                  <a:lnTo>
                    <a:pt x="1690" y="730"/>
                  </a:lnTo>
                  <a:lnTo>
                    <a:pt x="1690" y="730"/>
                  </a:lnTo>
                  <a:lnTo>
                    <a:pt x="1690" y="730"/>
                  </a:lnTo>
                  <a:lnTo>
                    <a:pt x="1688" y="730"/>
                  </a:lnTo>
                  <a:lnTo>
                    <a:pt x="1688" y="730"/>
                  </a:lnTo>
                  <a:lnTo>
                    <a:pt x="1688" y="732"/>
                  </a:lnTo>
                  <a:lnTo>
                    <a:pt x="1686" y="732"/>
                  </a:lnTo>
                  <a:lnTo>
                    <a:pt x="1686" y="732"/>
                  </a:lnTo>
                  <a:lnTo>
                    <a:pt x="1686" y="734"/>
                  </a:lnTo>
                  <a:lnTo>
                    <a:pt x="1686" y="736"/>
                  </a:lnTo>
                  <a:lnTo>
                    <a:pt x="1686" y="736"/>
                  </a:lnTo>
                  <a:lnTo>
                    <a:pt x="1686" y="736"/>
                  </a:lnTo>
                  <a:lnTo>
                    <a:pt x="1686" y="736"/>
                  </a:lnTo>
                  <a:lnTo>
                    <a:pt x="1686" y="736"/>
                  </a:lnTo>
                  <a:lnTo>
                    <a:pt x="1688" y="736"/>
                  </a:lnTo>
                  <a:lnTo>
                    <a:pt x="1688" y="738"/>
                  </a:lnTo>
                  <a:lnTo>
                    <a:pt x="1688" y="738"/>
                  </a:lnTo>
                  <a:lnTo>
                    <a:pt x="1690" y="738"/>
                  </a:lnTo>
                  <a:lnTo>
                    <a:pt x="1690" y="740"/>
                  </a:lnTo>
                  <a:lnTo>
                    <a:pt x="1688" y="740"/>
                  </a:lnTo>
                  <a:lnTo>
                    <a:pt x="1688" y="740"/>
                  </a:lnTo>
                  <a:lnTo>
                    <a:pt x="1690" y="740"/>
                  </a:lnTo>
                  <a:lnTo>
                    <a:pt x="1690" y="742"/>
                  </a:lnTo>
                  <a:lnTo>
                    <a:pt x="1690" y="742"/>
                  </a:lnTo>
                  <a:lnTo>
                    <a:pt x="1690" y="742"/>
                  </a:lnTo>
                  <a:lnTo>
                    <a:pt x="1690" y="742"/>
                  </a:lnTo>
                  <a:lnTo>
                    <a:pt x="1690" y="744"/>
                  </a:lnTo>
                  <a:lnTo>
                    <a:pt x="1692" y="744"/>
                  </a:lnTo>
                  <a:lnTo>
                    <a:pt x="1694" y="746"/>
                  </a:lnTo>
                  <a:lnTo>
                    <a:pt x="1694" y="746"/>
                  </a:lnTo>
                  <a:lnTo>
                    <a:pt x="1696" y="744"/>
                  </a:lnTo>
                  <a:lnTo>
                    <a:pt x="1696" y="744"/>
                  </a:lnTo>
                  <a:lnTo>
                    <a:pt x="1696" y="742"/>
                  </a:lnTo>
                  <a:lnTo>
                    <a:pt x="1696" y="742"/>
                  </a:lnTo>
                  <a:lnTo>
                    <a:pt x="1696" y="742"/>
                  </a:lnTo>
                  <a:lnTo>
                    <a:pt x="1696" y="742"/>
                  </a:lnTo>
                  <a:lnTo>
                    <a:pt x="1696" y="742"/>
                  </a:lnTo>
                  <a:lnTo>
                    <a:pt x="1696" y="740"/>
                  </a:lnTo>
                  <a:lnTo>
                    <a:pt x="1696" y="740"/>
                  </a:lnTo>
                  <a:lnTo>
                    <a:pt x="1696" y="740"/>
                  </a:lnTo>
                  <a:lnTo>
                    <a:pt x="1694" y="738"/>
                  </a:lnTo>
                  <a:lnTo>
                    <a:pt x="1694" y="736"/>
                  </a:lnTo>
                  <a:lnTo>
                    <a:pt x="1694" y="736"/>
                  </a:lnTo>
                  <a:lnTo>
                    <a:pt x="1694" y="736"/>
                  </a:lnTo>
                  <a:lnTo>
                    <a:pt x="1694" y="736"/>
                  </a:lnTo>
                  <a:lnTo>
                    <a:pt x="1694" y="736"/>
                  </a:lnTo>
                  <a:lnTo>
                    <a:pt x="1694" y="736"/>
                  </a:lnTo>
                  <a:lnTo>
                    <a:pt x="1696" y="738"/>
                  </a:lnTo>
                  <a:lnTo>
                    <a:pt x="1696" y="738"/>
                  </a:lnTo>
                  <a:lnTo>
                    <a:pt x="1696" y="738"/>
                  </a:lnTo>
                  <a:lnTo>
                    <a:pt x="1696" y="740"/>
                  </a:lnTo>
                  <a:lnTo>
                    <a:pt x="1696" y="740"/>
                  </a:lnTo>
                  <a:lnTo>
                    <a:pt x="1698" y="740"/>
                  </a:lnTo>
                  <a:lnTo>
                    <a:pt x="1698" y="742"/>
                  </a:lnTo>
                  <a:lnTo>
                    <a:pt x="1698" y="742"/>
                  </a:lnTo>
                  <a:lnTo>
                    <a:pt x="1698" y="742"/>
                  </a:lnTo>
                  <a:lnTo>
                    <a:pt x="1698" y="744"/>
                  </a:lnTo>
                  <a:lnTo>
                    <a:pt x="1698" y="744"/>
                  </a:lnTo>
                  <a:lnTo>
                    <a:pt x="1698" y="744"/>
                  </a:lnTo>
                  <a:lnTo>
                    <a:pt x="1698" y="744"/>
                  </a:lnTo>
                  <a:lnTo>
                    <a:pt x="1698" y="744"/>
                  </a:lnTo>
                  <a:lnTo>
                    <a:pt x="1698" y="744"/>
                  </a:lnTo>
                  <a:lnTo>
                    <a:pt x="1700" y="744"/>
                  </a:lnTo>
                  <a:lnTo>
                    <a:pt x="1700" y="740"/>
                  </a:lnTo>
                  <a:lnTo>
                    <a:pt x="1700" y="740"/>
                  </a:lnTo>
                  <a:lnTo>
                    <a:pt x="1700" y="738"/>
                  </a:lnTo>
                  <a:lnTo>
                    <a:pt x="1700" y="738"/>
                  </a:lnTo>
                  <a:lnTo>
                    <a:pt x="1700" y="738"/>
                  </a:lnTo>
                  <a:lnTo>
                    <a:pt x="1700" y="740"/>
                  </a:lnTo>
                  <a:lnTo>
                    <a:pt x="1700" y="742"/>
                  </a:lnTo>
                  <a:lnTo>
                    <a:pt x="1700" y="742"/>
                  </a:lnTo>
                  <a:lnTo>
                    <a:pt x="1702" y="742"/>
                  </a:lnTo>
                  <a:lnTo>
                    <a:pt x="1702" y="738"/>
                  </a:lnTo>
                  <a:lnTo>
                    <a:pt x="1704" y="736"/>
                  </a:lnTo>
                  <a:lnTo>
                    <a:pt x="1704" y="734"/>
                  </a:lnTo>
                  <a:lnTo>
                    <a:pt x="1706" y="734"/>
                  </a:lnTo>
                  <a:lnTo>
                    <a:pt x="1706" y="732"/>
                  </a:lnTo>
                  <a:lnTo>
                    <a:pt x="1706" y="732"/>
                  </a:lnTo>
                  <a:lnTo>
                    <a:pt x="1706" y="730"/>
                  </a:lnTo>
                  <a:lnTo>
                    <a:pt x="1706" y="730"/>
                  </a:lnTo>
                  <a:lnTo>
                    <a:pt x="1706" y="728"/>
                  </a:lnTo>
                  <a:lnTo>
                    <a:pt x="1706" y="728"/>
                  </a:lnTo>
                  <a:lnTo>
                    <a:pt x="1706" y="728"/>
                  </a:lnTo>
                  <a:lnTo>
                    <a:pt x="1706" y="725"/>
                  </a:lnTo>
                  <a:lnTo>
                    <a:pt x="1706" y="725"/>
                  </a:lnTo>
                  <a:lnTo>
                    <a:pt x="1706" y="723"/>
                  </a:lnTo>
                  <a:lnTo>
                    <a:pt x="1706" y="723"/>
                  </a:lnTo>
                  <a:lnTo>
                    <a:pt x="1706" y="721"/>
                  </a:lnTo>
                  <a:lnTo>
                    <a:pt x="1706" y="721"/>
                  </a:lnTo>
                  <a:lnTo>
                    <a:pt x="1706" y="719"/>
                  </a:lnTo>
                  <a:lnTo>
                    <a:pt x="1706" y="719"/>
                  </a:lnTo>
                  <a:lnTo>
                    <a:pt x="1706" y="717"/>
                  </a:lnTo>
                  <a:lnTo>
                    <a:pt x="1706" y="717"/>
                  </a:lnTo>
                  <a:lnTo>
                    <a:pt x="1706" y="717"/>
                  </a:lnTo>
                  <a:lnTo>
                    <a:pt x="1706" y="717"/>
                  </a:lnTo>
                  <a:lnTo>
                    <a:pt x="1706" y="715"/>
                  </a:lnTo>
                  <a:lnTo>
                    <a:pt x="1706" y="715"/>
                  </a:lnTo>
                  <a:lnTo>
                    <a:pt x="1708" y="715"/>
                  </a:lnTo>
                  <a:lnTo>
                    <a:pt x="1708" y="715"/>
                  </a:lnTo>
                  <a:lnTo>
                    <a:pt x="1708" y="713"/>
                  </a:lnTo>
                  <a:lnTo>
                    <a:pt x="1708" y="713"/>
                  </a:lnTo>
                  <a:lnTo>
                    <a:pt x="1708" y="711"/>
                  </a:lnTo>
                  <a:lnTo>
                    <a:pt x="1706" y="709"/>
                  </a:lnTo>
                  <a:close/>
                  <a:moveTo>
                    <a:pt x="1681" y="742"/>
                  </a:moveTo>
                  <a:lnTo>
                    <a:pt x="1679" y="742"/>
                  </a:lnTo>
                  <a:lnTo>
                    <a:pt x="1679" y="742"/>
                  </a:lnTo>
                  <a:lnTo>
                    <a:pt x="1679" y="740"/>
                  </a:lnTo>
                  <a:lnTo>
                    <a:pt x="1679" y="740"/>
                  </a:lnTo>
                  <a:lnTo>
                    <a:pt x="1679" y="740"/>
                  </a:lnTo>
                  <a:lnTo>
                    <a:pt x="1679" y="740"/>
                  </a:lnTo>
                  <a:lnTo>
                    <a:pt x="1679" y="738"/>
                  </a:lnTo>
                  <a:lnTo>
                    <a:pt x="1677" y="738"/>
                  </a:lnTo>
                  <a:lnTo>
                    <a:pt x="1677" y="742"/>
                  </a:lnTo>
                  <a:lnTo>
                    <a:pt x="1675" y="740"/>
                  </a:lnTo>
                  <a:lnTo>
                    <a:pt x="1675" y="742"/>
                  </a:lnTo>
                  <a:lnTo>
                    <a:pt x="1675" y="742"/>
                  </a:lnTo>
                  <a:lnTo>
                    <a:pt x="1673" y="742"/>
                  </a:lnTo>
                  <a:lnTo>
                    <a:pt x="1673" y="744"/>
                  </a:lnTo>
                  <a:lnTo>
                    <a:pt x="1673" y="744"/>
                  </a:lnTo>
                  <a:lnTo>
                    <a:pt x="1673" y="744"/>
                  </a:lnTo>
                  <a:lnTo>
                    <a:pt x="1675" y="744"/>
                  </a:lnTo>
                  <a:lnTo>
                    <a:pt x="1675" y="744"/>
                  </a:lnTo>
                  <a:lnTo>
                    <a:pt x="1677" y="746"/>
                  </a:lnTo>
                  <a:lnTo>
                    <a:pt x="1677" y="746"/>
                  </a:lnTo>
                  <a:lnTo>
                    <a:pt x="1677" y="746"/>
                  </a:lnTo>
                  <a:lnTo>
                    <a:pt x="1677" y="746"/>
                  </a:lnTo>
                  <a:lnTo>
                    <a:pt x="1679" y="746"/>
                  </a:lnTo>
                  <a:lnTo>
                    <a:pt x="1679" y="746"/>
                  </a:lnTo>
                  <a:lnTo>
                    <a:pt x="1679" y="744"/>
                  </a:lnTo>
                  <a:lnTo>
                    <a:pt x="1679" y="744"/>
                  </a:lnTo>
                  <a:lnTo>
                    <a:pt x="1681" y="744"/>
                  </a:lnTo>
                  <a:lnTo>
                    <a:pt x="1681" y="744"/>
                  </a:lnTo>
                  <a:lnTo>
                    <a:pt x="1681" y="742"/>
                  </a:lnTo>
                  <a:lnTo>
                    <a:pt x="1681" y="742"/>
                  </a:lnTo>
                  <a:lnTo>
                    <a:pt x="1681" y="742"/>
                  </a:lnTo>
                  <a:lnTo>
                    <a:pt x="1681" y="742"/>
                  </a:lnTo>
                  <a:close/>
                  <a:moveTo>
                    <a:pt x="1675" y="740"/>
                  </a:moveTo>
                  <a:lnTo>
                    <a:pt x="1675" y="738"/>
                  </a:lnTo>
                  <a:lnTo>
                    <a:pt x="1675" y="736"/>
                  </a:lnTo>
                  <a:lnTo>
                    <a:pt x="1675" y="736"/>
                  </a:lnTo>
                  <a:lnTo>
                    <a:pt x="1675" y="736"/>
                  </a:lnTo>
                  <a:lnTo>
                    <a:pt x="1673" y="736"/>
                  </a:lnTo>
                  <a:lnTo>
                    <a:pt x="1673" y="736"/>
                  </a:lnTo>
                  <a:lnTo>
                    <a:pt x="1673" y="734"/>
                  </a:lnTo>
                  <a:lnTo>
                    <a:pt x="1673" y="734"/>
                  </a:lnTo>
                  <a:lnTo>
                    <a:pt x="1673" y="734"/>
                  </a:lnTo>
                  <a:lnTo>
                    <a:pt x="1673" y="732"/>
                  </a:lnTo>
                  <a:lnTo>
                    <a:pt x="1673" y="732"/>
                  </a:lnTo>
                  <a:lnTo>
                    <a:pt x="1671" y="732"/>
                  </a:lnTo>
                  <a:lnTo>
                    <a:pt x="1671" y="730"/>
                  </a:lnTo>
                  <a:lnTo>
                    <a:pt x="1671" y="730"/>
                  </a:lnTo>
                  <a:lnTo>
                    <a:pt x="1669" y="730"/>
                  </a:lnTo>
                  <a:lnTo>
                    <a:pt x="1667" y="728"/>
                  </a:lnTo>
                  <a:lnTo>
                    <a:pt x="1667" y="728"/>
                  </a:lnTo>
                  <a:lnTo>
                    <a:pt x="1665" y="728"/>
                  </a:lnTo>
                  <a:lnTo>
                    <a:pt x="1665" y="728"/>
                  </a:lnTo>
                  <a:lnTo>
                    <a:pt x="1665" y="728"/>
                  </a:lnTo>
                  <a:lnTo>
                    <a:pt x="1665" y="730"/>
                  </a:lnTo>
                  <a:lnTo>
                    <a:pt x="1665" y="730"/>
                  </a:lnTo>
                  <a:lnTo>
                    <a:pt x="1665" y="730"/>
                  </a:lnTo>
                  <a:lnTo>
                    <a:pt x="1665" y="730"/>
                  </a:lnTo>
                  <a:lnTo>
                    <a:pt x="1665" y="732"/>
                  </a:lnTo>
                  <a:lnTo>
                    <a:pt x="1665" y="732"/>
                  </a:lnTo>
                  <a:lnTo>
                    <a:pt x="1667" y="732"/>
                  </a:lnTo>
                  <a:lnTo>
                    <a:pt x="1667" y="732"/>
                  </a:lnTo>
                  <a:lnTo>
                    <a:pt x="1667" y="732"/>
                  </a:lnTo>
                  <a:lnTo>
                    <a:pt x="1667" y="734"/>
                  </a:lnTo>
                  <a:lnTo>
                    <a:pt x="1667" y="734"/>
                  </a:lnTo>
                  <a:lnTo>
                    <a:pt x="1667" y="734"/>
                  </a:lnTo>
                  <a:lnTo>
                    <a:pt x="1667" y="734"/>
                  </a:lnTo>
                  <a:lnTo>
                    <a:pt x="1669" y="734"/>
                  </a:lnTo>
                  <a:lnTo>
                    <a:pt x="1669" y="736"/>
                  </a:lnTo>
                  <a:lnTo>
                    <a:pt x="1669" y="736"/>
                  </a:lnTo>
                  <a:lnTo>
                    <a:pt x="1667" y="736"/>
                  </a:lnTo>
                  <a:lnTo>
                    <a:pt x="1667" y="736"/>
                  </a:lnTo>
                  <a:lnTo>
                    <a:pt x="1667" y="738"/>
                  </a:lnTo>
                  <a:lnTo>
                    <a:pt x="1667" y="738"/>
                  </a:lnTo>
                  <a:lnTo>
                    <a:pt x="1667" y="738"/>
                  </a:lnTo>
                  <a:lnTo>
                    <a:pt x="1667" y="740"/>
                  </a:lnTo>
                  <a:lnTo>
                    <a:pt x="1667" y="742"/>
                  </a:lnTo>
                  <a:lnTo>
                    <a:pt x="1669" y="742"/>
                  </a:lnTo>
                  <a:lnTo>
                    <a:pt x="1669" y="742"/>
                  </a:lnTo>
                  <a:lnTo>
                    <a:pt x="1669" y="742"/>
                  </a:lnTo>
                  <a:lnTo>
                    <a:pt x="1669" y="742"/>
                  </a:lnTo>
                  <a:lnTo>
                    <a:pt x="1669" y="742"/>
                  </a:lnTo>
                  <a:lnTo>
                    <a:pt x="1669" y="742"/>
                  </a:lnTo>
                  <a:lnTo>
                    <a:pt x="1669" y="742"/>
                  </a:lnTo>
                  <a:lnTo>
                    <a:pt x="1669" y="742"/>
                  </a:lnTo>
                  <a:lnTo>
                    <a:pt x="1669" y="742"/>
                  </a:lnTo>
                  <a:lnTo>
                    <a:pt x="1669" y="740"/>
                  </a:lnTo>
                  <a:lnTo>
                    <a:pt x="1669" y="740"/>
                  </a:lnTo>
                  <a:lnTo>
                    <a:pt x="1671" y="740"/>
                  </a:lnTo>
                  <a:lnTo>
                    <a:pt x="1669" y="738"/>
                  </a:lnTo>
                  <a:lnTo>
                    <a:pt x="1669" y="738"/>
                  </a:lnTo>
                  <a:lnTo>
                    <a:pt x="1669" y="738"/>
                  </a:lnTo>
                  <a:lnTo>
                    <a:pt x="1669" y="738"/>
                  </a:lnTo>
                  <a:lnTo>
                    <a:pt x="1669" y="738"/>
                  </a:lnTo>
                  <a:lnTo>
                    <a:pt x="1669" y="738"/>
                  </a:lnTo>
                  <a:lnTo>
                    <a:pt x="1671" y="738"/>
                  </a:lnTo>
                  <a:lnTo>
                    <a:pt x="1671" y="738"/>
                  </a:lnTo>
                  <a:lnTo>
                    <a:pt x="1671" y="740"/>
                  </a:lnTo>
                  <a:lnTo>
                    <a:pt x="1671" y="740"/>
                  </a:lnTo>
                  <a:lnTo>
                    <a:pt x="1671" y="740"/>
                  </a:lnTo>
                  <a:lnTo>
                    <a:pt x="1671" y="740"/>
                  </a:lnTo>
                  <a:lnTo>
                    <a:pt x="1673" y="740"/>
                  </a:lnTo>
                  <a:lnTo>
                    <a:pt x="1673" y="740"/>
                  </a:lnTo>
                  <a:lnTo>
                    <a:pt x="1675" y="740"/>
                  </a:lnTo>
                  <a:close/>
                  <a:moveTo>
                    <a:pt x="1079" y="613"/>
                  </a:moveTo>
                  <a:lnTo>
                    <a:pt x="1079" y="613"/>
                  </a:lnTo>
                  <a:lnTo>
                    <a:pt x="1079" y="613"/>
                  </a:lnTo>
                  <a:lnTo>
                    <a:pt x="1079" y="613"/>
                  </a:lnTo>
                  <a:close/>
                  <a:moveTo>
                    <a:pt x="743" y="814"/>
                  </a:moveTo>
                  <a:lnTo>
                    <a:pt x="743" y="814"/>
                  </a:lnTo>
                  <a:lnTo>
                    <a:pt x="743" y="814"/>
                  </a:lnTo>
                  <a:lnTo>
                    <a:pt x="743" y="814"/>
                  </a:lnTo>
                  <a:lnTo>
                    <a:pt x="743" y="814"/>
                  </a:lnTo>
                  <a:lnTo>
                    <a:pt x="743" y="812"/>
                  </a:lnTo>
                  <a:lnTo>
                    <a:pt x="743" y="812"/>
                  </a:lnTo>
                  <a:lnTo>
                    <a:pt x="741" y="814"/>
                  </a:lnTo>
                  <a:lnTo>
                    <a:pt x="741" y="814"/>
                  </a:lnTo>
                  <a:lnTo>
                    <a:pt x="741" y="814"/>
                  </a:lnTo>
                  <a:lnTo>
                    <a:pt x="741" y="814"/>
                  </a:lnTo>
                  <a:lnTo>
                    <a:pt x="743" y="814"/>
                  </a:lnTo>
                  <a:close/>
                  <a:moveTo>
                    <a:pt x="811" y="791"/>
                  </a:moveTo>
                  <a:lnTo>
                    <a:pt x="811" y="791"/>
                  </a:lnTo>
                  <a:lnTo>
                    <a:pt x="811" y="791"/>
                  </a:lnTo>
                  <a:lnTo>
                    <a:pt x="813" y="791"/>
                  </a:lnTo>
                  <a:lnTo>
                    <a:pt x="813" y="789"/>
                  </a:lnTo>
                  <a:lnTo>
                    <a:pt x="811" y="789"/>
                  </a:lnTo>
                  <a:lnTo>
                    <a:pt x="811" y="789"/>
                  </a:lnTo>
                  <a:lnTo>
                    <a:pt x="811" y="791"/>
                  </a:lnTo>
                  <a:lnTo>
                    <a:pt x="811" y="791"/>
                  </a:lnTo>
                  <a:lnTo>
                    <a:pt x="811" y="791"/>
                  </a:lnTo>
                  <a:lnTo>
                    <a:pt x="811" y="791"/>
                  </a:lnTo>
                  <a:close/>
                  <a:moveTo>
                    <a:pt x="815" y="791"/>
                  </a:moveTo>
                  <a:lnTo>
                    <a:pt x="815" y="791"/>
                  </a:lnTo>
                  <a:lnTo>
                    <a:pt x="815" y="791"/>
                  </a:lnTo>
                  <a:lnTo>
                    <a:pt x="815" y="789"/>
                  </a:lnTo>
                  <a:lnTo>
                    <a:pt x="813" y="789"/>
                  </a:lnTo>
                  <a:lnTo>
                    <a:pt x="813" y="791"/>
                  </a:lnTo>
                  <a:lnTo>
                    <a:pt x="813" y="791"/>
                  </a:lnTo>
                  <a:lnTo>
                    <a:pt x="813" y="791"/>
                  </a:lnTo>
                  <a:lnTo>
                    <a:pt x="815" y="791"/>
                  </a:lnTo>
                  <a:close/>
                  <a:moveTo>
                    <a:pt x="821" y="658"/>
                  </a:moveTo>
                  <a:lnTo>
                    <a:pt x="821" y="658"/>
                  </a:lnTo>
                  <a:lnTo>
                    <a:pt x="823" y="658"/>
                  </a:lnTo>
                  <a:lnTo>
                    <a:pt x="825" y="658"/>
                  </a:lnTo>
                  <a:lnTo>
                    <a:pt x="825" y="658"/>
                  </a:lnTo>
                  <a:lnTo>
                    <a:pt x="825" y="656"/>
                  </a:lnTo>
                  <a:lnTo>
                    <a:pt x="827" y="654"/>
                  </a:lnTo>
                  <a:lnTo>
                    <a:pt x="827" y="654"/>
                  </a:lnTo>
                  <a:lnTo>
                    <a:pt x="830" y="654"/>
                  </a:lnTo>
                  <a:lnTo>
                    <a:pt x="830" y="654"/>
                  </a:lnTo>
                  <a:lnTo>
                    <a:pt x="830" y="652"/>
                  </a:lnTo>
                  <a:lnTo>
                    <a:pt x="832" y="648"/>
                  </a:lnTo>
                  <a:lnTo>
                    <a:pt x="832" y="648"/>
                  </a:lnTo>
                  <a:lnTo>
                    <a:pt x="832" y="646"/>
                  </a:lnTo>
                  <a:lnTo>
                    <a:pt x="834" y="646"/>
                  </a:lnTo>
                  <a:lnTo>
                    <a:pt x="834" y="646"/>
                  </a:lnTo>
                  <a:lnTo>
                    <a:pt x="834" y="646"/>
                  </a:lnTo>
                  <a:lnTo>
                    <a:pt x="827" y="650"/>
                  </a:lnTo>
                  <a:lnTo>
                    <a:pt x="825" y="650"/>
                  </a:lnTo>
                  <a:lnTo>
                    <a:pt x="825" y="650"/>
                  </a:lnTo>
                  <a:lnTo>
                    <a:pt x="823" y="650"/>
                  </a:lnTo>
                  <a:lnTo>
                    <a:pt x="823" y="650"/>
                  </a:lnTo>
                  <a:lnTo>
                    <a:pt x="821" y="652"/>
                  </a:lnTo>
                  <a:lnTo>
                    <a:pt x="821" y="654"/>
                  </a:lnTo>
                  <a:lnTo>
                    <a:pt x="821" y="654"/>
                  </a:lnTo>
                  <a:lnTo>
                    <a:pt x="821" y="654"/>
                  </a:lnTo>
                  <a:lnTo>
                    <a:pt x="819" y="652"/>
                  </a:lnTo>
                  <a:lnTo>
                    <a:pt x="821" y="654"/>
                  </a:lnTo>
                  <a:lnTo>
                    <a:pt x="821" y="654"/>
                  </a:lnTo>
                  <a:lnTo>
                    <a:pt x="821" y="656"/>
                  </a:lnTo>
                  <a:lnTo>
                    <a:pt x="821" y="656"/>
                  </a:lnTo>
                  <a:lnTo>
                    <a:pt x="821" y="656"/>
                  </a:lnTo>
                  <a:lnTo>
                    <a:pt x="821" y="656"/>
                  </a:lnTo>
                  <a:lnTo>
                    <a:pt x="821" y="658"/>
                  </a:lnTo>
                  <a:lnTo>
                    <a:pt x="821" y="658"/>
                  </a:lnTo>
                  <a:close/>
                  <a:moveTo>
                    <a:pt x="840" y="654"/>
                  </a:moveTo>
                  <a:lnTo>
                    <a:pt x="840" y="654"/>
                  </a:lnTo>
                  <a:lnTo>
                    <a:pt x="840" y="652"/>
                  </a:lnTo>
                  <a:lnTo>
                    <a:pt x="840" y="652"/>
                  </a:lnTo>
                  <a:lnTo>
                    <a:pt x="840" y="652"/>
                  </a:lnTo>
                  <a:lnTo>
                    <a:pt x="840" y="652"/>
                  </a:lnTo>
                  <a:lnTo>
                    <a:pt x="840" y="652"/>
                  </a:lnTo>
                  <a:lnTo>
                    <a:pt x="840" y="652"/>
                  </a:lnTo>
                  <a:lnTo>
                    <a:pt x="840" y="650"/>
                  </a:lnTo>
                  <a:lnTo>
                    <a:pt x="840" y="650"/>
                  </a:lnTo>
                  <a:lnTo>
                    <a:pt x="840" y="652"/>
                  </a:lnTo>
                  <a:lnTo>
                    <a:pt x="840" y="654"/>
                  </a:lnTo>
                  <a:lnTo>
                    <a:pt x="840" y="654"/>
                  </a:lnTo>
                  <a:lnTo>
                    <a:pt x="840" y="654"/>
                  </a:lnTo>
                  <a:lnTo>
                    <a:pt x="840" y="654"/>
                  </a:lnTo>
                  <a:close/>
                  <a:moveTo>
                    <a:pt x="844" y="656"/>
                  </a:moveTo>
                  <a:lnTo>
                    <a:pt x="844" y="656"/>
                  </a:lnTo>
                  <a:lnTo>
                    <a:pt x="844" y="656"/>
                  </a:lnTo>
                  <a:lnTo>
                    <a:pt x="844" y="656"/>
                  </a:lnTo>
                  <a:lnTo>
                    <a:pt x="844" y="656"/>
                  </a:lnTo>
                  <a:lnTo>
                    <a:pt x="844" y="654"/>
                  </a:lnTo>
                  <a:lnTo>
                    <a:pt x="844" y="654"/>
                  </a:lnTo>
                  <a:lnTo>
                    <a:pt x="844" y="654"/>
                  </a:lnTo>
                  <a:lnTo>
                    <a:pt x="844" y="654"/>
                  </a:lnTo>
                  <a:lnTo>
                    <a:pt x="844" y="654"/>
                  </a:lnTo>
                  <a:lnTo>
                    <a:pt x="844" y="652"/>
                  </a:lnTo>
                  <a:lnTo>
                    <a:pt x="844" y="652"/>
                  </a:lnTo>
                  <a:lnTo>
                    <a:pt x="842" y="652"/>
                  </a:lnTo>
                  <a:lnTo>
                    <a:pt x="842" y="652"/>
                  </a:lnTo>
                  <a:lnTo>
                    <a:pt x="842" y="654"/>
                  </a:lnTo>
                  <a:lnTo>
                    <a:pt x="842" y="654"/>
                  </a:lnTo>
                  <a:lnTo>
                    <a:pt x="842" y="654"/>
                  </a:lnTo>
                  <a:lnTo>
                    <a:pt x="844" y="654"/>
                  </a:lnTo>
                  <a:lnTo>
                    <a:pt x="844" y="656"/>
                  </a:lnTo>
                  <a:close/>
                  <a:moveTo>
                    <a:pt x="748" y="822"/>
                  </a:moveTo>
                  <a:lnTo>
                    <a:pt x="748" y="822"/>
                  </a:lnTo>
                  <a:lnTo>
                    <a:pt x="748" y="822"/>
                  </a:lnTo>
                  <a:lnTo>
                    <a:pt x="750" y="820"/>
                  </a:lnTo>
                  <a:lnTo>
                    <a:pt x="750" y="820"/>
                  </a:lnTo>
                  <a:lnTo>
                    <a:pt x="750" y="820"/>
                  </a:lnTo>
                  <a:lnTo>
                    <a:pt x="750" y="820"/>
                  </a:lnTo>
                  <a:lnTo>
                    <a:pt x="750" y="820"/>
                  </a:lnTo>
                  <a:lnTo>
                    <a:pt x="750" y="820"/>
                  </a:lnTo>
                  <a:lnTo>
                    <a:pt x="748" y="822"/>
                  </a:lnTo>
                  <a:lnTo>
                    <a:pt x="748" y="822"/>
                  </a:lnTo>
                  <a:lnTo>
                    <a:pt x="748" y="822"/>
                  </a:lnTo>
                  <a:lnTo>
                    <a:pt x="748" y="822"/>
                  </a:lnTo>
                  <a:lnTo>
                    <a:pt x="748" y="822"/>
                  </a:lnTo>
                  <a:close/>
                  <a:moveTo>
                    <a:pt x="813" y="795"/>
                  </a:moveTo>
                  <a:lnTo>
                    <a:pt x="811" y="797"/>
                  </a:lnTo>
                  <a:lnTo>
                    <a:pt x="811" y="795"/>
                  </a:lnTo>
                  <a:lnTo>
                    <a:pt x="811" y="795"/>
                  </a:lnTo>
                  <a:lnTo>
                    <a:pt x="811" y="797"/>
                  </a:lnTo>
                  <a:lnTo>
                    <a:pt x="813" y="795"/>
                  </a:lnTo>
                  <a:lnTo>
                    <a:pt x="815" y="797"/>
                  </a:lnTo>
                  <a:lnTo>
                    <a:pt x="815" y="795"/>
                  </a:lnTo>
                  <a:lnTo>
                    <a:pt x="815" y="795"/>
                  </a:lnTo>
                  <a:lnTo>
                    <a:pt x="813" y="795"/>
                  </a:lnTo>
                  <a:lnTo>
                    <a:pt x="813" y="795"/>
                  </a:lnTo>
                  <a:lnTo>
                    <a:pt x="813" y="795"/>
                  </a:lnTo>
                  <a:lnTo>
                    <a:pt x="813" y="795"/>
                  </a:lnTo>
                  <a:lnTo>
                    <a:pt x="813" y="795"/>
                  </a:lnTo>
                  <a:close/>
                  <a:moveTo>
                    <a:pt x="1665" y="725"/>
                  </a:moveTo>
                  <a:lnTo>
                    <a:pt x="1665" y="725"/>
                  </a:lnTo>
                  <a:lnTo>
                    <a:pt x="1667" y="723"/>
                  </a:lnTo>
                  <a:lnTo>
                    <a:pt x="1667" y="721"/>
                  </a:lnTo>
                  <a:lnTo>
                    <a:pt x="1665" y="721"/>
                  </a:lnTo>
                  <a:lnTo>
                    <a:pt x="1665" y="719"/>
                  </a:lnTo>
                  <a:lnTo>
                    <a:pt x="1663" y="719"/>
                  </a:lnTo>
                  <a:lnTo>
                    <a:pt x="1663" y="719"/>
                  </a:lnTo>
                  <a:lnTo>
                    <a:pt x="1663" y="717"/>
                  </a:lnTo>
                  <a:lnTo>
                    <a:pt x="1663" y="717"/>
                  </a:lnTo>
                  <a:lnTo>
                    <a:pt x="1663" y="715"/>
                  </a:lnTo>
                  <a:lnTo>
                    <a:pt x="1663" y="715"/>
                  </a:lnTo>
                  <a:lnTo>
                    <a:pt x="1665" y="715"/>
                  </a:lnTo>
                  <a:lnTo>
                    <a:pt x="1665" y="713"/>
                  </a:lnTo>
                  <a:lnTo>
                    <a:pt x="1665" y="717"/>
                  </a:lnTo>
                  <a:lnTo>
                    <a:pt x="1665" y="717"/>
                  </a:lnTo>
                  <a:lnTo>
                    <a:pt x="1665" y="719"/>
                  </a:lnTo>
                  <a:lnTo>
                    <a:pt x="1665" y="719"/>
                  </a:lnTo>
                  <a:lnTo>
                    <a:pt x="1667" y="721"/>
                  </a:lnTo>
                  <a:lnTo>
                    <a:pt x="1667" y="721"/>
                  </a:lnTo>
                  <a:lnTo>
                    <a:pt x="1667" y="721"/>
                  </a:lnTo>
                  <a:lnTo>
                    <a:pt x="1667" y="721"/>
                  </a:lnTo>
                  <a:lnTo>
                    <a:pt x="1667" y="723"/>
                  </a:lnTo>
                  <a:lnTo>
                    <a:pt x="1667" y="723"/>
                  </a:lnTo>
                  <a:lnTo>
                    <a:pt x="1667" y="723"/>
                  </a:lnTo>
                  <a:lnTo>
                    <a:pt x="1667" y="723"/>
                  </a:lnTo>
                  <a:lnTo>
                    <a:pt x="1669" y="721"/>
                  </a:lnTo>
                  <a:lnTo>
                    <a:pt x="1669" y="721"/>
                  </a:lnTo>
                  <a:lnTo>
                    <a:pt x="1669" y="721"/>
                  </a:lnTo>
                  <a:lnTo>
                    <a:pt x="1669" y="719"/>
                  </a:lnTo>
                  <a:lnTo>
                    <a:pt x="1669" y="719"/>
                  </a:lnTo>
                  <a:lnTo>
                    <a:pt x="1669" y="717"/>
                  </a:lnTo>
                  <a:lnTo>
                    <a:pt x="1669" y="715"/>
                  </a:lnTo>
                  <a:lnTo>
                    <a:pt x="1667" y="715"/>
                  </a:lnTo>
                  <a:lnTo>
                    <a:pt x="1665" y="711"/>
                  </a:lnTo>
                  <a:lnTo>
                    <a:pt x="1665" y="709"/>
                  </a:lnTo>
                  <a:lnTo>
                    <a:pt x="1665" y="707"/>
                  </a:lnTo>
                  <a:lnTo>
                    <a:pt x="1665" y="707"/>
                  </a:lnTo>
                  <a:lnTo>
                    <a:pt x="1665" y="709"/>
                  </a:lnTo>
                  <a:lnTo>
                    <a:pt x="1667" y="711"/>
                  </a:lnTo>
                  <a:lnTo>
                    <a:pt x="1667" y="711"/>
                  </a:lnTo>
                  <a:lnTo>
                    <a:pt x="1667" y="713"/>
                  </a:lnTo>
                  <a:lnTo>
                    <a:pt x="1669" y="713"/>
                  </a:lnTo>
                  <a:lnTo>
                    <a:pt x="1669" y="715"/>
                  </a:lnTo>
                  <a:lnTo>
                    <a:pt x="1669" y="715"/>
                  </a:lnTo>
                  <a:lnTo>
                    <a:pt x="1671" y="717"/>
                  </a:lnTo>
                  <a:lnTo>
                    <a:pt x="1671" y="717"/>
                  </a:lnTo>
                  <a:lnTo>
                    <a:pt x="1669" y="719"/>
                  </a:lnTo>
                  <a:lnTo>
                    <a:pt x="1669" y="719"/>
                  </a:lnTo>
                  <a:lnTo>
                    <a:pt x="1669" y="721"/>
                  </a:lnTo>
                  <a:lnTo>
                    <a:pt x="1669" y="721"/>
                  </a:lnTo>
                  <a:lnTo>
                    <a:pt x="1669" y="721"/>
                  </a:lnTo>
                  <a:lnTo>
                    <a:pt x="1669" y="721"/>
                  </a:lnTo>
                  <a:lnTo>
                    <a:pt x="1669" y="721"/>
                  </a:lnTo>
                  <a:lnTo>
                    <a:pt x="1669" y="723"/>
                  </a:lnTo>
                  <a:lnTo>
                    <a:pt x="1669" y="723"/>
                  </a:lnTo>
                  <a:lnTo>
                    <a:pt x="1669" y="723"/>
                  </a:lnTo>
                  <a:lnTo>
                    <a:pt x="1667" y="725"/>
                  </a:lnTo>
                  <a:lnTo>
                    <a:pt x="1667" y="725"/>
                  </a:lnTo>
                  <a:lnTo>
                    <a:pt x="1667" y="725"/>
                  </a:lnTo>
                  <a:lnTo>
                    <a:pt x="1669" y="728"/>
                  </a:lnTo>
                  <a:lnTo>
                    <a:pt x="1669" y="728"/>
                  </a:lnTo>
                  <a:lnTo>
                    <a:pt x="1669" y="728"/>
                  </a:lnTo>
                  <a:lnTo>
                    <a:pt x="1671" y="728"/>
                  </a:lnTo>
                  <a:lnTo>
                    <a:pt x="1671" y="725"/>
                  </a:lnTo>
                  <a:lnTo>
                    <a:pt x="1673" y="725"/>
                  </a:lnTo>
                  <a:lnTo>
                    <a:pt x="1673" y="723"/>
                  </a:lnTo>
                  <a:lnTo>
                    <a:pt x="1673" y="723"/>
                  </a:lnTo>
                  <a:lnTo>
                    <a:pt x="1673" y="723"/>
                  </a:lnTo>
                  <a:lnTo>
                    <a:pt x="1671" y="721"/>
                  </a:lnTo>
                  <a:lnTo>
                    <a:pt x="1671" y="721"/>
                  </a:lnTo>
                  <a:lnTo>
                    <a:pt x="1671" y="719"/>
                  </a:lnTo>
                  <a:lnTo>
                    <a:pt x="1671" y="719"/>
                  </a:lnTo>
                  <a:lnTo>
                    <a:pt x="1673" y="719"/>
                  </a:lnTo>
                  <a:lnTo>
                    <a:pt x="1671" y="717"/>
                  </a:lnTo>
                  <a:lnTo>
                    <a:pt x="1673" y="717"/>
                  </a:lnTo>
                  <a:lnTo>
                    <a:pt x="1673" y="719"/>
                  </a:lnTo>
                  <a:lnTo>
                    <a:pt x="1673" y="719"/>
                  </a:lnTo>
                  <a:lnTo>
                    <a:pt x="1673" y="719"/>
                  </a:lnTo>
                  <a:lnTo>
                    <a:pt x="1673" y="719"/>
                  </a:lnTo>
                  <a:lnTo>
                    <a:pt x="1673" y="721"/>
                  </a:lnTo>
                  <a:lnTo>
                    <a:pt x="1673" y="721"/>
                  </a:lnTo>
                  <a:lnTo>
                    <a:pt x="1673" y="721"/>
                  </a:lnTo>
                  <a:lnTo>
                    <a:pt x="1673" y="721"/>
                  </a:lnTo>
                  <a:lnTo>
                    <a:pt x="1673" y="723"/>
                  </a:lnTo>
                  <a:lnTo>
                    <a:pt x="1673" y="723"/>
                  </a:lnTo>
                  <a:lnTo>
                    <a:pt x="1673" y="725"/>
                  </a:lnTo>
                  <a:lnTo>
                    <a:pt x="1673" y="728"/>
                  </a:lnTo>
                  <a:lnTo>
                    <a:pt x="1673" y="728"/>
                  </a:lnTo>
                  <a:lnTo>
                    <a:pt x="1675" y="728"/>
                  </a:lnTo>
                  <a:lnTo>
                    <a:pt x="1677" y="730"/>
                  </a:lnTo>
                  <a:lnTo>
                    <a:pt x="1677" y="728"/>
                  </a:lnTo>
                  <a:lnTo>
                    <a:pt x="1677" y="728"/>
                  </a:lnTo>
                  <a:lnTo>
                    <a:pt x="1677" y="725"/>
                  </a:lnTo>
                  <a:lnTo>
                    <a:pt x="1677" y="725"/>
                  </a:lnTo>
                  <a:lnTo>
                    <a:pt x="1677" y="725"/>
                  </a:lnTo>
                  <a:lnTo>
                    <a:pt x="1677" y="725"/>
                  </a:lnTo>
                  <a:lnTo>
                    <a:pt x="1679" y="725"/>
                  </a:lnTo>
                  <a:lnTo>
                    <a:pt x="1679" y="725"/>
                  </a:lnTo>
                  <a:lnTo>
                    <a:pt x="1679" y="723"/>
                  </a:lnTo>
                  <a:lnTo>
                    <a:pt x="1679" y="723"/>
                  </a:lnTo>
                  <a:lnTo>
                    <a:pt x="1679" y="721"/>
                  </a:lnTo>
                  <a:lnTo>
                    <a:pt x="1679" y="719"/>
                  </a:lnTo>
                  <a:lnTo>
                    <a:pt x="1679" y="719"/>
                  </a:lnTo>
                  <a:lnTo>
                    <a:pt x="1679" y="719"/>
                  </a:lnTo>
                  <a:lnTo>
                    <a:pt x="1679" y="717"/>
                  </a:lnTo>
                  <a:lnTo>
                    <a:pt x="1677" y="717"/>
                  </a:lnTo>
                  <a:lnTo>
                    <a:pt x="1677" y="717"/>
                  </a:lnTo>
                  <a:lnTo>
                    <a:pt x="1677" y="717"/>
                  </a:lnTo>
                  <a:lnTo>
                    <a:pt x="1677" y="715"/>
                  </a:lnTo>
                  <a:lnTo>
                    <a:pt x="1677" y="715"/>
                  </a:lnTo>
                  <a:lnTo>
                    <a:pt x="1677" y="715"/>
                  </a:lnTo>
                  <a:lnTo>
                    <a:pt x="1679" y="715"/>
                  </a:lnTo>
                  <a:lnTo>
                    <a:pt x="1679" y="717"/>
                  </a:lnTo>
                  <a:lnTo>
                    <a:pt x="1679" y="717"/>
                  </a:lnTo>
                  <a:lnTo>
                    <a:pt x="1679" y="715"/>
                  </a:lnTo>
                  <a:lnTo>
                    <a:pt x="1679" y="715"/>
                  </a:lnTo>
                  <a:lnTo>
                    <a:pt x="1679" y="715"/>
                  </a:lnTo>
                  <a:lnTo>
                    <a:pt x="1679" y="713"/>
                  </a:lnTo>
                  <a:lnTo>
                    <a:pt x="1677" y="713"/>
                  </a:lnTo>
                  <a:lnTo>
                    <a:pt x="1677" y="713"/>
                  </a:lnTo>
                  <a:lnTo>
                    <a:pt x="1677" y="711"/>
                  </a:lnTo>
                  <a:lnTo>
                    <a:pt x="1677" y="711"/>
                  </a:lnTo>
                  <a:lnTo>
                    <a:pt x="1677" y="711"/>
                  </a:lnTo>
                  <a:lnTo>
                    <a:pt x="1677" y="711"/>
                  </a:lnTo>
                  <a:lnTo>
                    <a:pt x="1677" y="709"/>
                  </a:lnTo>
                  <a:lnTo>
                    <a:pt x="1675" y="707"/>
                  </a:lnTo>
                  <a:lnTo>
                    <a:pt x="1677" y="707"/>
                  </a:lnTo>
                  <a:lnTo>
                    <a:pt x="1677" y="707"/>
                  </a:lnTo>
                  <a:lnTo>
                    <a:pt x="1677" y="707"/>
                  </a:lnTo>
                  <a:lnTo>
                    <a:pt x="1677" y="707"/>
                  </a:lnTo>
                  <a:lnTo>
                    <a:pt x="1677" y="707"/>
                  </a:lnTo>
                  <a:lnTo>
                    <a:pt x="1677" y="705"/>
                  </a:lnTo>
                  <a:lnTo>
                    <a:pt x="1675" y="703"/>
                  </a:lnTo>
                  <a:lnTo>
                    <a:pt x="1675" y="703"/>
                  </a:lnTo>
                  <a:lnTo>
                    <a:pt x="1675" y="703"/>
                  </a:lnTo>
                  <a:lnTo>
                    <a:pt x="1675" y="703"/>
                  </a:lnTo>
                  <a:lnTo>
                    <a:pt x="1675" y="701"/>
                  </a:lnTo>
                  <a:lnTo>
                    <a:pt x="1673" y="701"/>
                  </a:lnTo>
                  <a:lnTo>
                    <a:pt x="1671" y="699"/>
                  </a:lnTo>
                  <a:lnTo>
                    <a:pt x="1671" y="699"/>
                  </a:lnTo>
                  <a:lnTo>
                    <a:pt x="1671" y="697"/>
                  </a:lnTo>
                  <a:lnTo>
                    <a:pt x="1665" y="693"/>
                  </a:lnTo>
                  <a:lnTo>
                    <a:pt x="1663" y="693"/>
                  </a:lnTo>
                  <a:lnTo>
                    <a:pt x="1663" y="691"/>
                  </a:lnTo>
                  <a:lnTo>
                    <a:pt x="1661" y="691"/>
                  </a:lnTo>
                  <a:lnTo>
                    <a:pt x="1661" y="693"/>
                  </a:lnTo>
                  <a:lnTo>
                    <a:pt x="1659" y="693"/>
                  </a:lnTo>
                  <a:lnTo>
                    <a:pt x="1659" y="695"/>
                  </a:lnTo>
                  <a:lnTo>
                    <a:pt x="1657" y="695"/>
                  </a:lnTo>
                  <a:lnTo>
                    <a:pt x="1657" y="695"/>
                  </a:lnTo>
                  <a:lnTo>
                    <a:pt x="1657" y="695"/>
                  </a:lnTo>
                  <a:lnTo>
                    <a:pt x="1657" y="695"/>
                  </a:lnTo>
                  <a:lnTo>
                    <a:pt x="1657" y="697"/>
                  </a:lnTo>
                  <a:lnTo>
                    <a:pt x="1655" y="697"/>
                  </a:lnTo>
                  <a:lnTo>
                    <a:pt x="1653" y="697"/>
                  </a:lnTo>
                  <a:lnTo>
                    <a:pt x="1655" y="697"/>
                  </a:lnTo>
                  <a:lnTo>
                    <a:pt x="1655" y="699"/>
                  </a:lnTo>
                  <a:lnTo>
                    <a:pt x="1655" y="699"/>
                  </a:lnTo>
                  <a:lnTo>
                    <a:pt x="1657" y="699"/>
                  </a:lnTo>
                  <a:lnTo>
                    <a:pt x="1659" y="699"/>
                  </a:lnTo>
                  <a:lnTo>
                    <a:pt x="1659" y="699"/>
                  </a:lnTo>
                  <a:lnTo>
                    <a:pt x="1659" y="699"/>
                  </a:lnTo>
                  <a:lnTo>
                    <a:pt x="1653" y="701"/>
                  </a:lnTo>
                  <a:lnTo>
                    <a:pt x="1653" y="701"/>
                  </a:lnTo>
                  <a:lnTo>
                    <a:pt x="1653" y="703"/>
                  </a:lnTo>
                  <a:lnTo>
                    <a:pt x="1653" y="703"/>
                  </a:lnTo>
                  <a:lnTo>
                    <a:pt x="1655" y="703"/>
                  </a:lnTo>
                  <a:lnTo>
                    <a:pt x="1655" y="703"/>
                  </a:lnTo>
                  <a:lnTo>
                    <a:pt x="1655" y="703"/>
                  </a:lnTo>
                  <a:lnTo>
                    <a:pt x="1655" y="703"/>
                  </a:lnTo>
                  <a:lnTo>
                    <a:pt x="1657" y="703"/>
                  </a:lnTo>
                  <a:lnTo>
                    <a:pt x="1657" y="701"/>
                  </a:lnTo>
                  <a:lnTo>
                    <a:pt x="1657" y="701"/>
                  </a:lnTo>
                  <a:lnTo>
                    <a:pt x="1657" y="701"/>
                  </a:lnTo>
                  <a:lnTo>
                    <a:pt x="1657" y="701"/>
                  </a:lnTo>
                  <a:lnTo>
                    <a:pt x="1657" y="701"/>
                  </a:lnTo>
                  <a:lnTo>
                    <a:pt x="1657" y="701"/>
                  </a:lnTo>
                  <a:lnTo>
                    <a:pt x="1659" y="703"/>
                  </a:lnTo>
                  <a:lnTo>
                    <a:pt x="1659" y="703"/>
                  </a:lnTo>
                  <a:lnTo>
                    <a:pt x="1657" y="703"/>
                  </a:lnTo>
                  <a:lnTo>
                    <a:pt x="1655" y="705"/>
                  </a:lnTo>
                  <a:lnTo>
                    <a:pt x="1655" y="705"/>
                  </a:lnTo>
                  <a:lnTo>
                    <a:pt x="1653" y="705"/>
                  </a:lnTo>
                  <a:lnTo>
                    <a:pt x="1653" y="707"/>
                  </a:lnTo>
                  <a:lnTo>
                    <a:pt x="1653" y="709"/>
                  </a:lnTo>
                  <a:lnTo>
                    <a:pt x="1655" y="709"/>
                  </a:lnTo>
                  <a:lnTo>
                    <a:pt x="1655" y="707"/>
                  </a:lnTo>
                  <a:lnTo>
                    <a:pt x="1655" y="707"/>
                  </a:lnTo>
                  <a:lnTo>
                    <a:pt x="1657" y="705"/>
                  </a:lnTo>
                  <a:lnTo>
                    <a:pt x="1659" y="705"/>
                  </a:lnTo>
                  <a:lnTo>
                    <a:pt x="1659" y="705"/>
                  </a:lnTo>
                  <a:lnTo>
                    <a:pt x="1659" y="705"/>
                  </a:lnTo>
                  <a:lnTo>
                    <a:pt x="1659" y="705"/>
                  </a:lnTo>
                  <a:lnTo>
                    <a:pt x="1657" y="707"/>
                  </a:lnTo>
                  <a:lnTo>
                    <a:pt x="1657" y="707"/>
                  </a:lnTo>
                  <a:lnTo>
                    <a:pt x="1657" y="707"/>
                  </a:lnTo>
                  <a:lnTo>
                    <a:pt x="1657" y="707"/>
                  </a:lnTo>
                  <a:lnTo>
                    <a:pt x="1655" y="707"/>
                  </a:lnTo>
                  <a:lnTo>
                    <a:pt x="1655" y="707"/>
                  </a:lnTo>
                  <a:lnTo>
                    <a:pt x="1657" y="709"/>
                  </a:lnTo>
                  <a:lnTo>
                    <a:pt x="1657" y="709"/>
                  </a:lnTo>
                  <a:lnTo>
                    <a:pt x="1657" y="709"/>
                  </a:lnTo>
                  <a:lnTo>
                    <a:pt x="1655" y="709"/>
                  </a:lnTo>
                  <a:lnTo>
                    <a:pt x="1655" y="709"/>
                  </a:lnTo>
                  <a:lnTo>
                    <a:pt x="1655" y="709"/>
                  </a:lnTo>
                  <a:lnTo>
                    <a:pt x="1655" y="709"/>
                  </a:lnTo>
                  <a:lnTo>
                    <a:pt x="1655" y="709"/>
                  </a:lnTo>
                  <a:lnTo>
                    <a:pt x="1655" y="711"/>
                  </a:lnTo>
                  <a:lnTo>
                    <a:pt x="1655" y="711"/>
                  </a:lnTo>
                  <a:lnTo>
                    <a:pt x="1655" y="711"/>
                  </a:lnTo>
                  <a:lnTo>
                    <a:pt x="1655" y="713"/>
                  </a:lnTo>
                  <a:lnTo>
                    <a:pt x="1657" y="713"/>
                  </a:lnTo>
                  <a:lnTo>
                    <a:pt x="1657" y="713"/>
                  </a:lnTo>
                  <a:lnTo>
                    <a:pt x="1659" y="713"/>
                  </a:lnTo>
                  <a:lnTo>
                    <a:pt x="1659" y="715"/>
                  </a:lnTo>
                  <a:lnTo>
                    <a:pt x="1659" y="715"/>
                  </a:lnTo>
                  <a:lnTo>
                    <a:pt x="1657" y="715"/>
                  </a:lnTo>
                  <a:lnTo>
                    <a:pt x="1657" y="715"/>
                  </a:lnTo>
                  <a:lnTo>
                    <a:pt x="1657" y="715"/>
                  </a:lnTo>
                  <a:lnTo>
                    <a:pt x="1657" y="717"/>
                  </a:lnTo>
                  <a:lnTo>
                    <a:pt x="1657" y="717"/>
                  </a:lnTo>
                  <a:lnTo>
                    <a:pt x="1655" y="721"/>
                  </a:lnTo>
                  <a:lnTo>
                    <a:pt x="1655" y="721"/>
                  </a:lnTo>
                  <a:lnTo>
                    <a:pt x="1655" y="721"/>
                  </a:lnTo>
                  <a:lnTo>
                    <a:pt x="1657" y="723"/>
                  </a:lnTo>
                  <a:lnTo>
                    <a:pt x="1659" y="723"/>
                  </a:lnTo>
                  <a:lnTo>
                    <a:pt x="1659" y="723"/>
                  </a:lnTo>
                  <a:lnTo>
                    <a:pt x="1659" y="723"/>
                  </a:lnTo>
                  <a:lnTo>
                    <a:pt x="1659" y="723"/>
                  </a:lnTo>
                  <a:lnTo>
                    <a:pt x="1661" y="725"/>
                  </a:lnTo>
                  <a:lnTo>
                    <a:pt x="1661" y="725"/>
                  </a:lnTo>
                  <a:lnTo>
                    <a:pt x="1663" y="725"/>
                  </a:lnTo>
                  <a:lnTo>
                    <a:pt x="1665" y="728"/>
                  </a:lnTo>
                  <a:lnTo>
                    <a:pt x="1665" y="728"/>
                  </a:lnTo>
                  <a:lnTo>
                    <a:pt x="1665" y="725"/>
                  </a:lnTo>
                  <a:close/>
                  <a:moveTo>
                    <a:pt x="756" y="816"/>
                  </a:moveTo>
                  <a:lnTo>
                    <a:pt x="756" y="816"/>
                  </a:lnTo>
                  <a:lnTo>
                    <a:pt x="756" y="816"/>
                  </a:lnTo>
                  <a:lnTo>
                    <a:pt x="754" y="816"/>
                  </a:lnTo>
                  <a:lnTo>
                    <a:pt x="752" y="818"/>
                  </a:lnTo>
                  <a:lnTo>
                    <a:pt x="750" y="818"/>
                  </a:lnTo>
                  <a:lnTo>
                    <a:pt x="750" y="820"/>
                  </a:lnTo>
                  <a:lnTo>
                    <a:pt x="750" y="818"/>
                  </a:lnTo>
                  <a:lnTo>
                    <a:pt x="756" y="816"/>
                  </a:lnTo>
                  <a:lnTo>
                    <a:pt x="756" y="816"/>
                  </a:lnTo>
                  <a:close/>
                  <a:moveTo>
                    <a:pt x="1602" y="725"/>
                  </a:moveTo>
                  <a:lnTo>
                    <a:pt x="1604" y="725"/>
                  </a:lnTo>
                  <a:lnTo>
                    <a:pt x="1604" y="725"/>
                  </a:lnTo>
                  <a:lnTo>
                    <a:pt x="1604" y="723"/>
                  </a:lnTo>
                  <a:lnTo>
                    <a:pt x="1604" y="721"/>
                  </a:lnTo>
                  <a:lnTo>
                    <a:pt x="1604" y="721"/>
                  </a:lnTo>
                  <a:lnTo>
                    <a:pt x="1604" y="721"/>
                  </a:lnTo>
                  <a:lnTo>
                    <a:pt x="1604" y="721"/>
                  </a:lnTo>
                  <a:lnTo>
                    <a:pt x="1606" y="723"/>
                  </a:lnTo>
                  <a:lnTo>
                    <a:pt x="1606" y="721"/>
                  </a:lnTo>
                  <a:lnTo>
                    <a:pt x="1606" y="721"/>
                  </a:lnTo>
                  <a:lnTo>
                    <a:pt x="1608" y="719"/>
                  </a:lnTo>
                  <a:lnTo>
                    <a:pt x="1608" y="719"/>
                  </a:lnTo>
                  <a:lnTo>
                    <a:pt x="1608" y="717"/>
                  </a:lnTo>
                  <a:lnTo>
                    <a:pt x="1608" y="717"/>
                  </a:lnTo>
                  <a:lnTo>
                    <a:pt x="1608" y="719"/>
                  </a:lnTo>
                  <a:lnTo>
                    <a:pt x="1608" y="719"/>
                  </a:lnTo>
                  <a:lnTo>
                    <a:pt x="1606" y="719"/>
                  </a:lnTo>
                  <a:lnTo>
                    <a:pt x="1604" y="721"/>
                  </a:lnTo>
                  <a:lnTo>
                    <a:pt x="1604" y="721"/>
                  </a:lnTo>
                  <a:lnTo>
                    <a:pt x="1604" y="719"/>
                  </a:lnTo>
                  <a:lnTo>
                    <a:pt x="1604" y="719"/>
                  </a:lnTo>
                  <a:lnTo>
                    <a:pt x="1602" y="719"/>
                  </a:lnTo>
                  <a:lnTo>
                    <a:pt x="1602" y="719"/>
                  </a:lnTo>
                  <a:lnTo>
                    <a:pt x="1602" y="719"/>
                  </a:lnTo>
                  <a:lnTo>
                    <a:pt x="1600" y="719"/>
                  </a:lnTo>
                  <a:lnTo>
                    <a:pt x="1600" y="719"/>
                  </a:lnTo>
                  <a:lnTo>
                    <a:pt x="1600" y="721"/>
                  </a:lnTo>
                  <a:lnTo>
                    <a:pt x="1600" y="721"/>
                  </a:lnTo>
                  <a:lnTo>
                    <a:pt x="1600" y="719"/>
                  </a:lnTo>
                  <a:lnTo>
                    <a:pt x="1600" y="719"/>
                  </a:lnTo>
                  <a:lnTo>
                    <a:pt x="1598" y="719"/>
                  </a:lnTo>
                  <a:lnTo>
                    <a:pt x="1598" y="721"/>
                  </a:lnTo>
                  <a:lnTo>
                    <a:pt x="1600" y="721"/>
                  </a:lnTo>
                  <a:lnTo>
                    <a:pt x="1600" y="721"/>
                  </a:lnTo>
                  <a:lnTo>
                    <a:pt x="1598" y="721"/>
                  </a:lnTo>
                  <a:lnTo>
                    <a:pt x="1598" y="721"/>
                  </a:lnTo>
                  <a:lnTo>
                    <a:pt x="1598" y="723"/>
                  </a:lnTo>
                  <a:lnTo>
                    <a:pt x="1600" y="725"/>
                  </a:lnTo>
                  <a:lnTo>
                    <a:pt x="1602" y="725"/>
                  </a:lnTo>
                  <a:close/>
                  <a:moveTo>
                    <a:pt x="1606" y="717"/>
                  </a:moveTo>
                  <a:lnTo>
                    <a:pt x="1606" y="717"/>
                  </a:lnTo>
                  <a:lnTo>
                    <a:pt x="1606" y="717"/>
                  </a:lnTo>
                  <a:lnTo>
                    <a:pt x="1608" y="717"/>
                  </a:lnTo>
                  <a:lnTo>
                    <a:pt x="1608" y="717"/>
                  </a:lnTo>
                  <a:lnTo>
                    <a:pt x="1608" y="717"/>
                  </a:lnTo>
                  <a:lnTo>
                    <a:pt x="1608" y="719"/>
                  </a:lnTo>
                  <a:lnTo>
                    <a:pt x="1610" y="719"/>
                  </a:lnTo>
                  <a:lnTo>
                    <a:pt x="1610" y="719"/>
                  </a:lnTo>
                  <a:lnTo>
                    <a:pt x="1610" y="719"/>
                  </a:lnTo>
                  <a:lnTo>
                    <a:pt x="1610" y="719"/>
                  </a:lnTo>
                  <a:lnTo>
                    <a:pt x="1610" y="719"/>
                  </a:lnTo>
                  <a:lnTo>
                    <a:pt x="1610" y="719"/>
                  </a:lnTo>
                  <a:lnTo>
                    <a:pt x="1610" y="717"/>
                  </a:lnTo>
                  <a:lnTo>
                    <a:pt x="1610" y="717"/>
                  </a:lnTo>
                  <a:lnTo>
                    <a:pt x="1610" y="715"/>
                  </a:lnTo>
                  <a:lnTo>
                    <a:pt x="1610" y="715"/>
                  </a:lnTo>
                  <a:lnTo>
                    <a:pt x="1608" y="715"/>
                  </a:lnTo>
                  <a:lnTo>
                    <a:pt x="1608" y="715"/>
                  </a:lnTo>
                  <a:lnTo>
                    <a:pt x="1608" y="715"/>
                  </a:lnTo>
                  <a:lnTo>
                    <a:pt x="1608" y="713"/>
                  </a:lnTo>
                  <a:lnTo>
                    <a:pt x="1608" y="713"/>
                  </a:lnTo>
                  <a:lnTo>
                    <a:pt x="1606" y="713"/>
                  </a:lnTo>
                  <a:lnTo>
                    <a:pt x="1606" y="713"/>
                  </a:lnTo>
                  <a:lnTo>
                    <a:pt x="1606" y="715"/>
                  </a:lnTo>
                  <a:lnTo>
                    <a:pt x="1606" y="715"/>
                  </a:lnTo>
                  <a:lnTo>
                    <a:pt x="1606" y="715"/>
                  </a:lnTo>
                  <a:lnTo>
                    <a:pt x="1606" y="715"/>
                  </a:lnTo>
                  <a:lnTo>
                    <a:pt x="1608" y="715"/>
                  </a:lnTo>
                  <a:lnTo>
                    <a:pt x="1606" y="717"/>
                  </a:lnTo>
                  <a:lnTo>
                    <a:pt x="1606" y="717"/>
                  </a:lnTo>
                  <a:close/>
                  <a:moveTo>
                    <a:pt x="1606" y="738"/>
                  </a:moveTo>
                  <a:lnTo>
                    <a:pt x="1606" y="738"/>
                  </a:lnTo>
                  <a:lnTo>
                    <a:pt x="1606" y="738"/>
                  </a:lnTo>
                  <a:lnTo>
                    <a:pt x="1606" y="738"/>
                  </a:lnTo>
                  <a:lnTo>
                    <a:pt x="1608" y="740"/>
                  </a:lnTo>
                  <a:lnTo>
                    <a:pt x="1608" y="740"/>
                  </a:lnTo>
                  <a:lnTo>
                    <a:pt x="1608" y="738"/>
                  </a:lnTo>
                  <a:lnTo>
                    <a:pt x="1610" y="738"/>
                  </a:lnTo>
                  <a:lnTo>
                    <a:pt x="1610" y="738"/>
                  </a:lnTo>
                  <a:lnTo>
                    <a:pt x="1610" y="738"/>
                  </a:lnTo>
                  <a:lnTo>
                    <a:pt x="1610" y="736"/>
                  </a:lnTo>
                  <a:lnTo>
                    <a:pt x="1610" y="736"/>
                  </a:lnTo>
                  <a:lnTo>
                    <a:pt x="1610" y="736"/>
                  </a:lnTo>
                  <a:lnTo>
                    <a:pt x="1610" y="734"/>
                  </a:lnTo>
                  <a:lnTo>
                    <a:pt x="1608" y="734"/>
                  </a:lnTo>
                  <a:lnTo>
                    <a:pt x="1606" y="734"/>
                  </a:lnTo>
                  <a:lnTo>
                    <a:pt x="1606" y="734"/>
                  </a:lnTo>
                  <a:lnTo>
                    <a:pt x="1606" y="736"/>
                  </a:lnTo>
                  <a:lnTo>
                    <a:pt x="1606" y="736"/>
                  </a:lnTo>
                  <a:lnTo>
                    <a:pt x="1606" y="738"/>
                  </a:lnTo>
                  <a:close/>
                  <a:moveTo>
                    <a:pt x="1598" y="713"/>
                  </a:moveTo>
                  <a:lnTo>
                    <a:pt x="1598" y="713"/>
                  </a:lnTo>
                  <a:lnTo>
                    <a:pt x="1600" y="711"/>
                  </a:lnTo>
                  <a:lnTo>
                    <a:pt x="1600" y="711"/>
                  </a:lnTo>
                  <a:lnTo>
                    <a:pt x="1600" y="709"/>
                  </a:lnTo>
                  <a:lnTo>
                    <a:pt x="1600" y="709"/>
                  </a:lnTo>
                  <a:lnTo>
                    <a:pt x="1602" y="709"/>
                  </a:lnTo>
                  <a:lnTo>
                    <a:pt x="1602" y="709"/>
                  </a:lnTo>
                  <a:lnTo>
                    <a:pt x="1602" y="709"/>
                  </a:lnTo>
                  <a:lnTo>
                    <a:pt x="1604" y="709"/>
                  </a:lnTo>
                  <a:lnTo>
                    <a:pt x="1604" y="709"/>
                  </a:lnTo>
                  <a:lnTo>
                    <a:pt x="1604" y="709"/>
                  </a:lnTo>
                  <a:lnTo>
                    <a:pt x="1604" y="707"/>
                  </a:lnTo>
                  <a:lnTo>
                    <a:pt x="1604" y="707"/>
                  </a:lnTo>
                  <a:lnTo>
                    <a:pt x="1604" y="705"/>
                  </a:lnTo>
                  <a:lnTo>
                    <a:pt x="1604" y="705"/>
                  </a:lnTo>
                  <a:lnTo>
                    <a:pt x="1604" y="705"/>
                  </a:lnTo>
                  <a:lnTo>
                    <a:pt x="1604" y="705"/>
                  </a:lnTo>
                  <a:lnTo>
                    <a:pt x="1604" y="703"/>
                  </a:lnTo>
                  <a:lnTo>
                    <a:pt x="1604" y="701"/>
                  </a:lnTo>
                  <a:lnTo>
                    <a:pt x="1604" y="701"/>
                  </a:lnTo>
                  <a:lnTo>
                    <a:pt x="1602" y="701"/>
                  </a:lnTo>
                  <a:lnTo>
                    <a:pt x="1602" y="701"/>
                  </a:lnTo>
                  <a:lnTo>
                    <a:pt x="1600" y="701"/>
                  </a:lnTo>
                  <a:lnTo>
                    <a:pt x="1600" y="701"/>
                  </a:lnTo>
                  <a:lnTo>
                    <a:pt x="1600" y="703"/>
                  </a:lnTo>
                  <a:lnTo>
                    <a:pt x="1600" y="703"/>
                  </a:lnTo>
                  <a:lnTo>
                    <a:pt x="1598" y="703"/>
                  </a:lnTo>
                  <a:lnTo>
                    <a:pt x="1598" y="705"/>
                  </a:lnTo>
                  <a:lnTo>
                    <a:pt x="1598" y="705"/>
                  </a:lnTo>
                  <a:lnTo>
                    <a:pt x="1598" y="705"/>
                  </a:lnTo>
                  <a:lnTo>
                    <a:pt x="1595" y="705"/>
                  </a:lnTo>
                  <a:lnTo>
                    <a:pt x="1593" y="705"/>
                  </a:lnTo>
                  <a:lnTo>
                    <a:pt x="1593" y="705"/>
                  </a:lnTo>
                  <a:lnTo>
                    <a:pt x="1595" y="707"/>
                  </a:lnTo>
                  <a:lnTo>
                    <a:pt x="1598" y="705"/>
                  </a:lnTo>
                  <a:lnTo>
                    <a:pt x="1598" y="705"/>
                  </a:lnTo>
                  <a:lnTo>
                    <a:pt x="1598" y="707"/>
                  </a:lnTo>
                  <a:lnTo>
                    <a:pt x="1598" y="707"/>
                  </a:lnTo>
                  <a:lnTo>
                    <a:pt x="1595" y="707"/>
                  </a:lnTo>
                  <a:lnTo>
                    <a:pt x="1593" y="709"/>
                  </a:lnTo>
                  <a:lnTo>
                    <a:pt x="1593" y="709"/>
                  </a:lnTo>
                  <a:lnTo>
                    <a:pt x="1593" y="709"/>
                  </a:lnTo>
                  <a:lnTo>
                    <a:pt x="1593" y="709"/>
                  </a:lnTo>
                  <a:lnTo>
                    <a:pt x="1591" y="713"/>
                  </a:lnTo>
                  <a:lnTo>
                    <a:pt x="1591" y="715"/>
                  </a:lnTo>
                  <a:lnTo>
                    <a:pt x="1593" y="717"/>
                  </a:lnTo>
                  <a:lnTo>
                    <a:pt x="1593" y="717"/>
                  </a:lnTo>
                  <a:lnTo>
                    <a:pt x="1593" y="717"/>
                  </a:lnTo>
                  <a:lnTo>
                    <a:pt x="1595" y="717"/>
                  </a:lnTo>
                  <a:lnTo>
                    <a:pt x="1595" y="717"/>
                  </a:lnTo>
                  <a:lnTo>
                    <a:pt x="1595" y="717"/>
                  </a:lnTo>
                  <a:lnTo>
                    <a:pt x="1595" y="715"/>
                  </a:lnTo>
                  <a:lnTo>
                    <a:pt x="1598" y="715"/>
                  </a:lnTo>
                  <a:lnTo>
                    <a:pt x="1598" y="715"/>
                  </a:lnTo>
                  <a:lnTo>
                    <a:pt x="1598" y="715"/>
                  </a:lnTo>
                  <a:lnTo>
                    <a:pt x="1595" y="715"/>
                  </a:lnTo>
                  <a:lnTo>
                    <a:pt x="1595" y="713"/>
                  </a:lnTo>
                  <a:lnTo>
                    <a:pt x="1595" y="713"/>
                  </a:lnTo>
                  <a:lnTo>
                    <a:pt x="1598" y="713"/>
                  </a:lnTo>
                  <a:close/>
                  <a:moveTo>
                    <a:pt x="1606" y="736"/>
                  </a:moveTo>
                  <a:lnTo>
                    <a:pt x="1606" y="736"/>
                  </a:lnTo>
                  <a:lnTo>
                    <a:pt x="1604" y="734"/>
                  </a:lnTo>
                  <a:lnTo>
                    <a:pt x="1604" y="734"/>
                  </a:lnTo>
                  <a:lnTo>
                    <a:pt x="1604" y="734"/>
                  </a:lnTo>
                  <a:lnTo>
                    <a:pt x="1602" y="734"/>
                  </a:lnTo>
                  <a:lnTo>
                    <a:pt x="1602" y="734"/>
                  </a:lnTo>
                  <a:lnTo>
                    <a:pt x="1600" y="734"/>
                  </a:lnTo>
                  <a:lnTo>
                    <a:pt x="1600" y="734"/>
                  </a:lnTo>
                  <a:lnTo>
                    <a:pt x="1600" y="736"/>
                  </a:lnTo>
                  <a:lnTo>
                    <a:pt x="1600" y="736"/>
                  </a:lnTo>
                  <a:lnTo>
                    <a:pt x="1600" y="736"/>
                  </a:lnTo>
                  <a:lnTo>
                    <a:pt x="1600" y="736"/>
                  </a:lnTo>
                  <a:lnTo>
                    <a:pt x="1600" y="736"/>
                  </a:lnTo>
                  <a:lnTo>
                    <a:pt x="1602" y="736"/>
                  </a:lnTo>
                  <a:lnTo>
                    <a:pt x="1602" y="736"/>
                  </a:lnTo>
                  <a:lnTo>
                    <a:pt x="1602" y="736"/>
                  </a:lnTo>
                  <a:lnTo>
                    <a:pt x="1600" y="738"/>
                  </a:lnTo>
                  <a:lnTo>
                    <a:pt x="1600" y="740"/>
                  </a:lnTo>
                  <a:lnTo>
                    <a:pt x="1600" y="740"/>
                  </a:lnTo>
                  <a:lnTo>
                    <a:pt x="1600" y="740"/>
                  </a:lnTo>
                  <a:lnTo>
                    <a:pt x="1600" y="740"/>
                  </a:lnTo>
                  <a:lnTo>
                    <a:pt x="1602" y="740"/>
                  </a:lnTo>
                  <a:lnTo>
                    <a:pt x="1602" y="738"/>
                  </a:lnTo>
                  <a:lnTo>
                    <a:pt x="1602" y="738"/>
                  </a:lnTo>
                  <a:lnTo>
                    <a:pt x="1604" y="740"/>
                  </a:lnTo>
                  <a:lnTo>
                    <a:pt x="1604" y="740"/>
                  </a:lnTo>
                  <a:lnTo>
                    <a:pt x="1604" y="738"/>
                  </a:lnTo>
                  <a:lnTo>
                    <a:pt x="1604" y="738"/>
                  </a:lnTo>
                  <a:lnTo>
                    <a:pt x="1604" y="736"/>
                  </a:lnTo>
                  <a:lnTo>
                    <a:pt x="1606" y="736"/>
                  </a:lnTo>
                  <a:close/>
                  <a:moveTo>
                    <a:pt x="1616" y="672"/>
                  </a:moveTo>
                  <a:lnTo>
                    <a:pt x="1616" y="672"/>
                  </a:lnTo>
                  <a:lnTo>
                    <a:pt x="1616" y="672"/>
                  </a:lnTo>
                  <a:lnTo>
                    <a:pt x="1616" y="672"/>
                  </a:lnTo>
                  <a:lnTo>
                    <a:pt x="1614" y="672"/>
                  </a:lnTo>
                  <a:lnTo>
                    <a:pt x="1614" y="672"/>
                  </a:lnTo>
                  <a:lnTo>
                    <a:pt x="1614" y="672"/>
                  </a:lnTo>
                  <a:lnTo>
                    <a:pt x="1614" y="670"/>
                  </a:lnTo>
                  <a:lnTo>
                    <a:pt x="1614" y="670"/>
                  </a:lnTo>
                  <a:lnTo>
                    <a:pt x="1612" y="670"/>
                  </a:lnTo>
                  <a:lnTo>
                    <a:pt x="1612" y="670"/>
                  </a:lnTo>
                  <a:lnTo>
                    <a:pt x="1612" y="670"/>
                  </a:lnTo>
                  <a:lnTo>
                    <a:pt x="1612" y="670"/>
                  </a:lnTo>
                  <a:lnTo>
                    <a:pt x="1612" y="668"/>
                  </a:lnTo>
                  <a:lnTo>
                    <a:pt x="1610" y="668"/>
                  </a:lnTo>
                  <a:lnTo>
                    <a:pt x="1610" y="668"/>
                  </a:lnTo>
                  <a:lnTo>
                    <a:pt x="1610" y="668"/>
                  </a:lnTo>
                  <a:lnTo>
                    <a:pt x="1608" y="668"/>
                  </a:lnTo>
                  <a:lnTo>
                    <a:pt x="1608" y="666"/>
                  </a:lnTo>
                  <a:lnTo>
                    <a:pt x="1608" y="666"/>
                  </a:lnTo>
                  <a:lnTo>
                    <a:pt x="1606" y="664"/>
                  </a:lnTo>
                  <a:lnTo>
                    <a:pt x="1604" y="664"/>
                  </a:lnTo>
                  <a:lnTo>
                    <a:pt x="1604" y="666"/>
                  </a:lnTo>
                  <a:lnTo>
                    <a:pt x="1604" y="666"/>
                  </a:lnTo>
                  <a:lnTo>
                    <a:pt x="1602" y="664"/>
                  </a:lnTo>
                  <a:lnTo>
                    <a:pt x="1602" y="666"/>
                  </a:lnTo>
                  <a:lnTo>
                    <a:pt x="1602" y="666"/>
                  </a:lnTo>
                  <a:lnTo>
                    <a:pt x="1602" y="666"/>
                  </a:lnTo>
                  <a:lnTo>
                    <a:pt x="1604" y="668"/>
                  </a:lnTo>
                  <a:lnTo>
                    <a:pt x="1604" y="668"/>
                  </a:lnTo>
                  <a:lnTo>
                    <a:pt x="1604" y="668"/>
                  </a:lnTo>
                  <a:lnTo>
                    <a:pt x="1604" y="670"/>
                  </a:lnTo>
                  <a:lnTo>
                    <a:pt x="1604" y="670"/>
                  </a:lnTo>
                  <a:lnTo>
                    <a:pt x="1604" y="670"/>
                  </a:lnTo>
                  <a:lnTo>
                    <a:pt x="1606" y="672"/>
                  </a:lnTo>
                  <a:lnTo>
                    <a:pt x="1606" y="672"/>
                  </a:lnTo>
                  <a:lnTo>
                    <a:pt x="1606" y="674"/>
                  </a:lnTo>
                  <a:lnTo>
                    <a:pt x="1606" y="674"/>
                  </a:lnTo>
                  <a:lnTo>
                    <a:pt x="1606" y="674"/>
                  </a:lnTo>
                  <a:lnTo>
                    <a:pt x="1604" y="676"/>
                  </a:lnTo>
                  <a:lnTo>
                    <a:pt x="1606" y="676"/>
                  </a:lnTo>
                  <a:lnTo>
                    <a:pt x="1606" y="678"/>
                  </a:lnTo>
                  <a:lnTo>
                    <a:pt x="1606" y="680"/>
                  </a:lnTo>
                  <a:lnTo>
                    <a:pt x="1608" y="680"/>
                  </a:lnTo>
                  <a:lnTo>
                    <a:pt x="1610" y="680"/>
                  </a:lnTo>
                  <a:lnTo>
                    <a:pt x="1612" y="678"/>
                  </a:lnTo>
                  <a:lnTo>
                    <a:pt x="1612" y="678"/>
                  </a:lnTo>
                  <a:lnTo>
                    <a:pt x="1612" y="678"/>
                  </a:lnTo>
                  <a:lnTo>
                    <a:pt x="1612" y="678"/>
                  </a:lnTo>
                  <a:lnTo>
                    <a:pt x="1610" y="676"/>
                  </a:lnTo>
                  <a:lnTo>
                    <a:pt x="1612" y="676"/>
                  </a:lnTo>
                  <a:lnTo>
                    <a:pt x="1612" y="676"/>
                  </a:lnTo>
                  <a:lnTo>
                    <a:pt x="1612" y="676"/>
                  </a:lnTo>
                  <a:lnTo>
                    <a:pt x="1612" y="676"/>
                  </a:lnTo>
                  <a:lnTo>
                    <a:pt x="1614" y="676"/>
                  </a:lnTo>
                  <a:lnTo>
                    <a:pt x="1614" y="676"/>
                  </a:lnTo>
                  <a:lnTo>
                    <a:pt x="1614" y="676"/>
                  </a:lnTo>
                  <a:lnTo>
                    <a:pt x="1614" y="676"/>
                  </a:lnTo>
                  <a:lnTo>
                    <a:pt x="1614" y="674"/>
                  </a:lnTo>
                  <a:lnTo>
                    <a:pt x="1616" y="674"/>
                  </a:lnTo>
                  <a:lnTo>
                    <a:pt x="1616" y="674"/>
                  </a:lnTo>
                  <a:lnTo>
                    <a:pt x="1616" y="674"/>
                  </a:lnTo>
                  <a:lnTo>
                    <a:pt x="1616" y="672"/>
                  </a:lnTo>
                  <a:lnTo>
                    <a:pt x="1616" y="672"/>
                  </a:lnTo>
                  <a:lnTo>
                    <a:pt x="1616" y="672"/>
                  </a:lnTo>
                  <a:lnTo>
                    <a:pt x="1616" y="672"/>
                  </a:lnTo>
                  <a:close/>
                  <a:moveTo>
                    <a:pt x="1589" y="717"/>
                  </a:moveTo>
                  <a:lnTo>
                    <a:pt x="1589" y="717"/>
                  </a:lnTo>
                  <a:lnTo>
                    <a:pt x="1589" y="717"/>
                  </a:lnTo>
                  <a:lnTo>
                    <a:pt x="1589" y="719"/>
                  </a:lnTo>
                  <a:lnTo>
                    <a:pt x="1589" y="719"/>
                  </a:lnTo>
                  <a:lnTo>
                    <a:pt x="1589" y="719"/>
                  </a:lnTo>
                  <a:lnTo>
                    <a:pt x="1589" y="721"/>
                  </a:lnTo>
                  <a:lnTo>
                    <a:pt x="1591" y="721"/>
                  </a:lnTo>
                  <a:lnTo>
                    <a:pt x="1591" y="719"/>
                  </a:lnTo>
                  <a:lnTo>
                    <a:pt x="1591" y="717"/>
                  </a:lnTo>
                  <a:lnTo>
                    <a:pt x="1589" y="717"/>
                  </a:lnTo>
                  <a:close/>
                  <a:moveTo>
                    <a:pt x="1661" y="725"/>
                  </a:moveTo>
                  <a:lnTo>
                    <a:pt x="1655" y="723"/>
                  </a:lnTo>
                  <a:lnTo>
                    <a:pt x="1655" y="723"/>
                  </a:lnTo>
                  <a:lnTo>
                    <a:pt x="1655" y="723"/>
                  </a:lnTo>
                  <a:lnTo>
                    <a:pt x="1655" y="725"/>
                  </a:lnTo>
                  <a:lnTo>
                    <a:pt x="1655" y="725"/>
                  </a:lnTo>
                  <a:lnTo>
                    <a:pt x="1655" y="725"/>
                  </a:lnTo>
                  <a:lnTo>
                    <a:pt x="1655" y="725"/>
                  </a:lnTo>
                  <a:lnTo>
                    <a:pt x="1655" y="728"/>
                  </a:lnTo>
                  <a:lnTo>
                    <a:pt x="1657" y="728"/>
                  </a:lnTo>
                  <a:lnTo>
                    <a:pt x="1657" y="730"/>
                  </a:lnTo>
                  <a:lnTo>
                    <a:pt x="1659" y="734"/>
                  </a:lnTo>
                  <a:lnTo>
                    <a:pt x="1661" y="736"/>
                  </a:lnTo>
                  <a:lnTo>
                    <a:pt x="1661" y="736"/>
                  </a:lnTo>
                  <a:lnTo>
                    <a:pt x="1663" y="736"/>
                  </a:lnTo>
                  <a:lnTo>
                    <a:pt x="1663" y="736"/>
                  </a:lnTo>
                  <a:lnTo>
                    <a:pt x="1663" y="736"/>
                  </a:lnTo>
                  <a:lnTo>
                    <a:pt x="1663" y="736"/>
                  </a:lnTo>
                  <a:lnTo>
                    <a:pt x="1663" y="734"/>
                  </a:lnTo>
                  <a:lnTo>
                    <a:pt x="1663" y="734"/>
                  </a:lnTo>
                  <a:lnTo>
                    <a:pt x="1661" y="734"/>
                  </a:lnTo>
                  <a:lnTo>
                    <a:pt x="1661" y="732"/>
                  </a:lnTo>
                  <a:lnTo>
                    <a:pt x="1661" y="732"/>
                  </a:lnTo>
                  <a:lnTo>
                    <a:pt x="1661" y="732"/>
                  </a:lnTo>
                  <a:lnTo>
                    <a:pt x="1661" y="732"/>
                  </a:lnTo>
                  <a:lnTo>
                    <a:pt x="1663" y="732"/>
                  </a:lnTo>
                  <a:lnTo>
                    <a:pt x="1663" y="730"/>
                  </a:lnTo>
                  <a:lnTo>
                    <a:pt x="1661" y="728"/>
                  </a:lnTo>
                  <a:lnTo>
                    <a:pt x="1661" y="728"/>
                  </a:lnTo>
                  <a:lnTo>
                    <a:pt x="1663" y="728"/>
                  </a:lnTo>
                  <a:lnTo>
                    <a:pt x="1663" y="728"/>
                  </a:lnTo>
                  <a:lnTo>
                    <a:pt x="1663" y="730"/>
                  </a:lnTo>
                  <a:lnTo>
                    <a:pt x="1663" y="730"/>
                  </a:lnTo>
                  <a:lnTo>
                    <a:pt x="1663" y="728"/>
                  </a:lnTo>
                  <a:lnTo>
                    <a:pt x="1661" y="725"/>
                  </a:lnTo>
                  <a:close/>
                  <a:moveTo>
                    <a:pt x="1610" y="740"/>
                  </a:moveTo>
                  <a:lnTo>
                    <a:pt x="1610" y="740"/>
                  </a:lnTo>
                  <a:lnTo>
                    <a:pt x="1610" y="740"/>
                  </a:lnTo>
                  <a:lnTo>
                    <a:pt x="1608" y="740"/>
                  </a:lnTo>
                  <a:lnTo>
                    <a:pt x="1606" y="740"/>
                  </a:lnTo>
                  <a:lnTo>
                    <a:pt x="1606" y="740"/>
                  </a:lnTo>
                  <a:lnTo>
                    <a:pt x="1606" y="740"/>
                  </a:lnTo>
                  <a:lnTo>
                    <a:pt x="1606" y="742"/>
                  </a:lnTo>
                  <a:lnTo>
                    <a:pt x="1606" y="742"/>
                  </a:lnTo>
                  <a:lnTo>
                    <a:pt x="1606" y="742"/>
                  </a:lnTo>
                  <a:lnTo>
                    <a:pt x="1606" y="742"/>
                  </a:lnTo>
                  <a:lnTo>
                    <a:pt x="1606" y="744"/>
                  </a:lnTo>
                  <a:lnTo>
                    <a:pt x="1606" y="744"/>
                  </a:lnTo>
                  <a:lnTo>
                    <a:pt x="1606" y="744"/>
                  </a:lnTo>
                  <a:lnTo>
                    <a:pt x="1606" y="744"/>
                  </a:lnTo>
                  <a:lnTo>
                    <a:pt x="1606" y="746"/>
                  </a:lnTo>
                  <a:lnTo>
                    <a:pt x="1606" y="746"/>
                  </a:lnTo>
                  <a:lnTo>
                    <a:pt x="1606" y="746"/>
                  </a:lnTo>
                  <a:lnTo>
                    <a:pt x="1606" y="746"/>
                  </a:lnTo>
                  <a:lnTo>
                    <a:pt x="1606" y="746"/>
                  </a:lnTo>
                  <a:lnTo>
                    <a:pt x="1606" y="746"/>
                  </a:lnTo>
                  <a:lnTo>
                    <a:pt x="1606" y="746"/>
                  </a:lnTo>
                  <a:lnTo>
                    <a:pt x="1606" y="746"/>
                  </a:lnTo>
                  <a:lnTo>
                    <a:pt x="1606" y="748"/>
                  </a:lnTo>
                  <a:lnTo>
                    <a:pt x="1606" y="748"/>
                  </a:lnTo>
                  <a:lnTo>
                    <a:pt x="1608" y="748"/>
                  </a:lnTo>
                  <a:lnTo>
                    <a:pt x="1608" y="750"/>
                  </a:lnTo>
                  <a:lnTo>
                    <a:pt x="1608" y="750"/>
                  </a:lnTo>
                  <a:lnTo>
                    <a:pt x="1608" y="748"/>
                  </a:lnTo>
                  <a:lnTo>
                    <a:pt x="1608" y="748"/>
                  </a:lnTo>
                  <a:lnTo>
                    <a:pt x="1608" y="746"/>
                  </a:lnTo>
                  <a:lnTo>
                    <a:pt x="1608" y="744"/>
                  </a:lnTo>
                  <a:lnTo>
                    <a:pt x="1608" y="744"/>
                  </a:lnTo>
                  <a:lnTo>
                    <a:pt x="1608" y="744"/>
                  </a:lnTo>
                  <a:lnTo>
                    <a:pt x="1608" y="744"/>
                  </a:lnTo>
                  <a:lnTo>
                    <a:pt x="1608" y="744"/>
                  </a:lnTo>
                  <a:lnTo>
                    <a:pt x="1608" y="744"/>
                  </a:lnTo>
                  <a:lnTo>
                    <a:pt x="1610" y="744"/>
                  </a:lnTo>
                  <a:lnTo>
                    <a:pt x="1610" y="744"/>
                  </a:lnTo>
                  <a:lnTo>
                    <a:pt x="1610" y="744"/>
                  </a:lnTo>
                  <a:lnTo>
                    <a:pt x="1610" y="742"/>
                  </a:lnTo>
                  <a:lnTo>
                    <a:pt x="1610" y="742"/>
                  </a:lnTo>
                  <a:lnTo>
                    <a:pt x="1610" y="742"/>
                  </a:lnTo>
                  <a:lnTo>
                    <a:pt x="1610" y="742"/>
                  </a:lnTo>
                  <a:lnTo>
                    <a:pt x="1610" y="742"/>
                  </a:lnTo>
                  <a:lnTo>
                    <a:pt x="1610" y="742"/>
                  </a:lnTo>
                  <a:lnTo>
                    <a:pt x="1610" y="742"/>
                  </a:lnTo>
                  <a:lnTo>
                    <a:pt x="1610" y="742"/>
                  </a:lnTo>
                  <a:lnTo>
                    <a:pt x="1610" y="740"/>
                  </a:lnTo>
                  <a:lnTo>
                    <a:pt x="1610" y="740"/>
                  </a:lnTo>
                  <a:lnTo>
                    <a:pt x="1610" y="740"/>
                  </a:lnTo>
                  <a:close/>
                  <a:moveTo>
                    <a:pt x="1643" y="762"/>
                  </a:moveTo>
                  <a:lnTo>
                    <a:pt x="1643" y="762"/>
                  </a:lnTo>
                  <a:lnTo>
                    <a:pt x="1643" y="760"/>
                  </a:lnTo>
                  <a:lnTo>
                    <a:pt x="1643" y="760"/>
                  </a:lnTo>
                  <a:lnTo>
                    <a:pt x="1643" y="760"/>
                  </a:lnTo>
                  <a:lnTo>
                    <a:pt x="1641" y="760"/>
                  </a:lnTo>
                  <a:lnTo>
                    <a:pt x="1641" y="760"/>
                  </a:lnTo>
                  <a:lnTo>
                    <a:pt x="1641" y="760"/>
                  </a:lnTo>
                  <a:lnTo>
                    <a:pt x="1641" y="760"/>
                  </a:lnTo>
                  <a:lnTo>
                    <a:pt x="1641" y="760"/>
                  </a:lnTo>
                  <a:lnTo>
                    <a:pt x="1643" y="760"/>
                  </a:lnTo>
                  <a:lnTo>
                    <a:pt x="1643" y="760"/>
                  </a:lnTo>
                  <a:lnTo>
                    <a:pt x="1643" y="760"/>
                  </a:lnTo>
                  <a:lnTo>
                    <a:pt x="1643" y="758"/>
                  </a:lnTo>
                  <a:lnTo>
                    <a:pt x="1643" y="758"/>
                  </a:lnTo>
                  <a:lnTo>
                    <a:pt x="1643" y="758"/>
                  </a:lnTo>
                  <a:lnTo>
                    <a:pt x="1643" y="758"/>
                  </a:lnTo>
                  <a:lnTo>
                    <a:pt x="1643" y="758"/>
                  </a:lnTo>
                  <a:lnTo>
                    <a:pt x="1643" y="758"/>
                  </a:lnTo>
                  <a:lnTo>
                    <a:pt x="1643" y="756"/>
                  </a:lnTo>
                  <a:lnTo>
                    <a:pt x="1641" y="756"/>
                  </a:lnTo>
                  <a:lnTo>
                    <a:pt x="1641" y="756"/>
                  </a:lnTo>
                  <a:lnTo>
                    <a:pt x="1641" y="756"/>
                  </a:lnTo>
                  <a:lnTo>
                    <a:pt x="1641" y="756"/>
                  </a:lnTo>
                  <a:lnTo>
                    <a:pt x="1641" y="756"/>
                  </a:lnTo>
                  <a:lnTo>
                    <a:pt x="1641" y="756"/>
                  </a:lnTo>
                  <a:lnTo>
                    <a:pt x="1638" y="756"/>
                  </a:lnTo>
                  <a:lnTo>
                    <a:pt x="1638" y="756"/>
                  </a:lnTo>
                  <a:lnTo>
                    <a:pt x="1638" y="756"/>
                  </a:lnTo>
                  <a:lnTo>
                    <a:pt x="1638" y="756"/>
                  </a:lnTo>
                  <a:lnTo>
                    <a:pt x="1638" y="756"/>
                  </a:lnTo>
                  <a:lnTo>
                    <a:pt x="1638" y="756"/>
                  </a:lnTo>
                  <a:lnTo>
                    <a:pt x="1638" y="756"/>
                  </a:lnTo>
                  <a:lnTo>
                    <a:pt x="1638" y="756"/>
                  </a:lnTo>
                  <a:lnTo>
                    <a:pt x="1638" y="756"/>
                  </a:lnTo>
                  <a:lnTo>
                    <a:pt x="1638" y="756"/>
                  </a:lnTo>
                  <a:lnTo>
                    <a:pt x="1638" y="756"/>
                  </a:lnTo>
                  <a:lnTo>
                    <a:pt x="1638" y="756"/>
                  </a:lnTo>
                  <a:lnTo>
                    <a:pt x="1636" y="756"/>
                  </a:lnTo>
                  <a:lnTo>
                    <a:pt x="1636" y="756"/>
                  </a:lnTo>
                  <a:lnTo>
                    <a:pt x="1636" y="756"/>
                  </a:lnTo>
                  <a:lnTo>
                    <a:pt x="1636" y="756"/>
                  </a:lnTo>
                  <a:lnTo>
                    <a:pt x="1636" y="756"/>
                  </a:lnTo>
                  <a:lnTo>
                    <a:pt x="1636" y="758"/>
                  </a:lnTo>
                  <a:lnTo>
                    <a:pt x="1636" y="758"/>
                  </a:lnTo>
                  <a:lnTo>
                    <a:pt x="1636" y="758"/>
                  </a:lnTo>
                  <a:lnTo>
                    <a:pt x="1636" y="758"/>
                  </a:lnTo>
                  <a:lnTo>
                    <a:pt x="1638" y="758"/>
                  </a:lnTo>
                  <a:lnTo>
                    <a:pt x="1638" y="760"/>
                  </a:lnTo>
                  <a:lnTo>
                    <a:pt x="1638" y="760"/>
                  </a:lnTo>
                  <a:lnTo>
                    <a:pt x="1638" y="760"/>
                  </a:lnTo>
                  <a:lnTo>
                    <a:pt x="1638" y="760"/>
                  </a:lnTo>
                  <a:lnTo>
                    <a:pt x="1638" y="760"/>
                  </a:lnTo>
                  <a:lnTo>
                    <a:pt x="1638" y="760"/>
                  </a:lnTo>
                  <a:lnTo>
                    <a:pt x="1641" y="760"/>
                  </a:lnTo>
                  <a:lnTo>
                    <a:pt x="1641" y="760"/>
                  </a:lnTo>
                  <a:lnTo>
                    <a:pt x="1641" y="762"/>
                  </a:lnTo>
                  <a:lnTo>
                    <a:pt x="1641" y="762"/>
                  </a:lnTo>
                  <a:lnTo>
                    <a:pt x="1641" y="762"/>
                  </a:lnTo>
                  <a:lnTo>
                    <a:pt x="1641" y="762"/>
                  </a:lnTo>
                  <a:lnTo>
                    <a:pt x="1641" y="762"/>
                  </a:lnTo>
                  <a:lnTo>
                    <a:pt x="1643" y="762"/>
                  </a:lnTo>
                  <a:lnTo>
                    <a:pt x="1643" y="762"/>
                  </a:lnTo>
                  <a:lnTo>
                    <a:pt x="1643" y="764"/>
                  </a:lnTo>
                  <a:lnTo>
                    <a:pt x="1643" y="764"/>
                  </a:lnTo>
                  <a:lnTo>
                    <a:pt x="1645" y="764"/>
                  </a:lnTo>
                  <a:lnTo>
                    <a:pt x="1645" y="762"/>
                  </a:lnTo>
                  <a:lnTo>
                    <a:pt x="1643" y="762"/>
                  </a:lnTo>
                  <a:close/>
                  <a:moveTo>
                    <a:pt x="1663" y="760"/>
                  </a:moveTo>
                  <a:lnTo>
                    <a:pt x="1663" y="760"/>
                  </a:lnTo>
                  <a:lnTo>
                    <a:pt x="1663" y="758"/>
                  </a:lnTo>
                  <a:lnTo>
                    <a:pt x="1661" y="758"/>
                  </a:lnTo>
                  <a:lnTo>
                    <a:pt x="1661" y="758"/>
                  </a:lnTo>
                  <a:lnTo>
                    <a:pt x="1661" y="758"/>
                  </a:lnTo>
                  <a:lnTo>
                    <a:pt x="1661" y="756"/>
                  </a:lnTo>
                  <a:lnTo>
                    <a:pt x="1661" y="756"/>
                  </a:lnTo>
                  <a:lnTo>
                    <a:pt x="1661" y="756"/>
                  </a:lnTo>
                  <a:lnTo>
                    <a:pt x="1663" y="756"/>
                  </a:lnTo>
                  <a:lnTo>
                    <a:pt x="1663" y="756"/>
                  </a:lnTo>
                  <a:lnTo>
                    <a:pt x="1663" y="754"/>
                  </a:lnTo>
                  <a:lnTo>
                    <a:pt x="1661" y="754"/>
                  </a:lnTo>
                  <a:lnTo>
                    <a:pt x="1661" y="754"/>
                  </a:lnTo>
                  <a:lnTo>
                    <a:pt x="1661" y="754"/>
                  </a:lnTo>
                  <a:lnTo>
                    <a:pt x="1661" y="754"/>
                  </a:lnTo>
                  <a:lnTo>
                    <a:pt x="1661" y="754"/>
                  </a:lnTo>
                  <a:lnTo>
                    <a:pt x="1661" y="754"/>
                  </a:lnTo>
                  <a:lnTo>
                    <a:pt x="1661" y="754"/>
                  </a:lnTo>
                  <a:lnTo>
                    <a:pt x="1661" y="752"/>
                  </a:lnTo>
                  <a:lnTo>
                    <a:pt x="1661" y="752"/>
                  </a:lnTo>
                  <a:lnTo>
                    <a:pt x="1659" y="752"/>
                  </a:lnTo>
                  <a:lnTo>
                    <a:pt x="1659" y="752"/>
                  </a:lnTo>
                  <a:lnTo>
                    <a:pt x="1659" y="752"/>
                  </a:lnTo>
                  <a:lnTo>
                    <a:pt x="1659" y="750"/>
                  </a:lnTo>
                  <a:lnTo>
                    <a:pt x="1659" y="750"/>
                  </a:lnTo>
                  <a:lnTo>
                    <a:pt x="1659" y="750"/>
                  </a:lnTo>
                  <a:lnTo>
                    <a:pt x="1659" y="750"/>
                  </a:lnTo>
                  <a:lnTo>
                    <a:pt x="1659" y="748"/>
                  </a:lnTo>
                  <a:lnTo>
                    <a:pt x="1659" y="748"/>
                  </a:lnTo>
                  <a:lnTo>
                    <a:pt x="1659" y="748"/>
                  </a:lnTo>
                  <a:lnTo>
                    <a:pt x="1659" y="748"/>
                  </a:lnTo>
                  <a:lnTo>
                    <a:pt x="1659" y="748"/>
                  </a:lnTo>
                  <a:lnTo>
                    <a:pt x="1659" y="748"/>
                  </a:lnTo>
                  <a:lnTo>
                    <a:pt x="1657" y="748"/>
                  </a:lnTo>
                  <a:lnTo>
                    <a:pt x="1657" y="746"/>
                  </a:lnTo>
                  <a:lnTo>
                    <a:pt x="1657" y="746"/>
                  </a:lnTo>
                  <a:lnTo>
                    <a:pt x="1659" y="746"/>
                  </a:lnTo>
                  <a:lnTo>
                    <a:pt x="1659" y="746"/>
                  </a:lnTo>
                  <a:lnTo>
                    <a:pt x="1657" y="744"/>
                  </a:lnTo>
                  <a:lnTo>
                    <a:pt x="1657" y="744"/>
                  </a:lnTo>
                  <a:lnTo>
                    <a:pt x="1659" y="744"/>
                  </a:lnTo>
                  <a:lnTo>
                    <a:pt x="1657" y="744"/>
                  </a:lnTo>
                  <a:lnTo>
                    <a:pt x="1657" y="746"/>
                  </a:lnTo>
                  <a:lnTo>
                    <a:pt x="1655" y="746"/>
                  </a:lnTo>
                  <a:lnTo>
                    <a:pt x="1655" y="748"/>
                  </a:lnTo>
                  <a:lnTo>
                    <a:pt x="1655" y="748"/>
                  </a:lnTo>
                  <a:lnTo>
                    <a:pt x="1655" y="748"/>
                  </a:lnTo>
                  <a:lnTo>
                    <a:pt x="1655" y="748"/>
                  </a:lnTo>
                  <a:lnTo>
                    <a:pt x="1655" y="748"/>
                  </a:lnTo>
                  <a:lnTo>
                    <a:pt x="1655" y="748"/>
                  </a:lnTo>
                  <a:lnTo>
                    <a:pt x="1653" y="748"/>
                  </a:lnTo>
                  <a:lnTo>
                    <a:pt x="1653" y="748"/>
                  </a:lnTo>
                  <a:lnTo>
                    <a:pt x="1653" y="748"/>
                  </a:lnTo>
                  <a:lnTo>
                    <a:pt x="1653" y="748"/>
                  </a:lnTo>
                  <a:lnTo>
                    <a:pt x="1651" y="748"/>
                  </a:lnTo>
                  <a:lnTo>
                    <a:pt x="1651" y="748"/>
                  </a:lnTo>
                  <a:lnTo>
                    <a:pt x="1653" y="746"/>
                  </a:lnTo>
                  <a:lnTo>
                    <a:pt x="1653" y="746"/>
                  </a:lnTo>
                  <a:lnTo>
                    <a:pt x="1655" y="746"/>
                  </a:lnTo>
                  <a:lnTo>
                    <a:pt x="1655" y="744"/>
                  </a:lnTo>
                  <a:lnTo>
                    <a:pt x="1655" y="744"/>
                  </a:lnTo>
                  <a:lnTo>
                    <a:pt x="1655" y="744"/>
                  </a:lnTo>
                  <a:lnTo>
                    <a:pt x="1653" y="744"/>
                  </a:lnTo>
                  <a:lnTo>
                    <a:pt x="1653" y="744"/>
                  </a:lnTo>
                  <a:lnTo>
                    <a:pt x="1653" y="744"/>
                  </a:lnTo>
                  <a:lnTo>
                    <a:pt x="1653" y="744"/>
                  </a:lnTo>
                  <a:lnTo>
                    <a:pt x="1655" y="744"/>
                  </a:lnTo>
                  <a:lnTo>
                    <a:pt x="1655" y="742"/>
                  </a:lnTo>
                  <a:lnTo>
                    <a:pt x="1653" y="742"/>
                  </a:lnTo>
                  <a:lnTo>
                    <a:pt x="1653" y="742"/>
                  </a:lnTo>
                  <a:lnTo>
                    <a:pt x="1653" y="742"/>
                  </a:lnTo>
                  <a:lnTo>
                    <a:pt x="1653" y="742"/>
                  </a:lnTo>
                  <a:lnTo>
                    <a:pt x="1653" y="742"/>
                  </a:lnTo>
                  <a:lnTo>
                    <a:pt x="1655" y="742"/>
                  </a:lnTo>
                  <a:lnTo>
                    <a:pt x="1655" y="742"/>
                  </a:lnTo>
                  <a:lnTo>
                    <a:pt x="1655" y="742"/>
                  </a:lnTo>
                  <a:lnTo>
                    <a:pt x="1655" y="742"/>
                  </a:lnTo>
                  <a:lnTo>
                    <a:pt x="1655" y="740"/>
                  </a:lnTo>
                  <a:lnTo>
                    <a:pt x="1655" y="740"/>
                  </a:lnTo>
                  <a:lnTo>
                    <a:pt x="1655" y="740"/>
                  </a:lnTo>
                  <a:lnTo>
                    <a:pt x="1655" y="740"/>
                  </a:lnTo>
                  <a:lnTo>
                    <a:pt x="1655" y="738"/>
                  </a:lnTo>
                  <a:lnTo>
                    <a:pt x="1655" y="738"/>
                  </a:lnTo>
                  <a:lnTo>
                    <a:pt x="1655" y="736"/>
                  </a:lnTo>
                  <a:lnTo>
                    <a:pt x="1655" y="736"/>
                  </a:lnTo>
                  <a:lnTo>
                    <a:pt x="1655" y="734"/>
                  </a:lnTo>
                  <a:lnTo>
                    <a:pt x="1655" y="734"/>
                  </a:lnTo>
                  <a:lnTo>
                    <a:pt x="1653" y="734"/>
                  </a:lnTo>
                  <a:lnTo>
                    <a:pt x="1653" y="732"/>
                  </a:lnTo>
                  <a:lnTo>
                    <a:pt x="1653" y="732"/>
                  </a:lnTo>
                  <a:lnTo>
                    <a:pt x="1653" y="734"/>
                  </a:lnTo>
                  <a:lnTo>
                    <a:pt x="1651" y="734"/>
                  </a:lnTo>
                  <a:lnTo>
                    <a:pt x="1651" y="736"/>
                  </a:lnTo>
                  <a:lnTo>
                    <a:pt x="1651" y="738"/>
                  </a:lnTo>
                  <a:lnTo>
                    <a:pt x="1649" y="736"/>
                  </a:lnTo>
                  <a:lnTo>
                    <a:pt x="1649" y="736"/>
                  </a:lnTo>
                  <a:lnTo>
                    <a:pt x="1649" y="738"/>
                  </a:lnTo>
                  <a:lnTo>
                    <a:pt x="1649" y="738"/>
                  </a:lnTo>
                  <a:lnTo>
                    <a:pt x="1649" y="738"/>
                  </a:lnTo>
                  <a:lnTo>
                    <a:pt x="1647" y="738"/>
                  </a:lnTo>
                  <a:lnTo>
                    <a:pt x="1647" y="738"/>
                  </a:lnTo>
                  <a:lnTo>
                    <a:pt x="1647" y="738"/>
                  </a:lnTo>
                  <a:lnTo>
                    <a:pt x="1647" y="736"/>
                  </a:lnTo>
                  <a:lnTo>
                    <a:pt x="1647" y="736"/>
                  </a:lnTo>
                  <a:lnTo>
                    <a:pt x="1647" y="736"/>
                  </a:lnTo>
                  <a:lnTo>
                    <a:pt x="1647" y="736"/>
                  </a:lnTo>
                  <a:lnTo>
                    <a:pt x="1649" y="736"/>
                  </a:lnTo>
                  <a:lnTo>
                    <a:pt x="1649" y="736"/>
                  </a:lnTo>
                  <a:lnTo>
                    <a:pt x="1651" y="734"/>
                  </a:lnTo>
                  <a:lnTo>
                    <a:pt x="1651" y="734"/>
                  </a:lnTo>
                  <a:lnTo>
                    <a:pt x="1651" y="734"/>
                  </a:lnTo>
                  <a:lnTo>
                    <a:pt x="1651" y="732"/>
                  </a:lnTo>
                  <a:lnTo>
                    <a:pt x="1649" y="732"/>
                  </a:lnTo>
                  <a:lnTo>
                    <a:pt x="1649" y="732"/>
                  </a:lnTo>
                  <a:lnTo>
                    <a:pt x="1649" y="732"/>
                  </a:lnTo>
                  <a:lnTo>
                    <a:pt x="1649" y="732"/>
                  </a:lnTo>
                  <a:lnTo>
                    <a:pt x="1649" y="732"/>
                  </a:lnTo>
                  <a:lnTo>
                    <a:pt x="1649" y="732"/>
                  </a:lnTo>
                  <a:lnTo>
                    <a:pt x="1647" y="730"/>
                  </a:lnTo>
                  <a:lnTo>
                    <a:pt x="1647" y="730"/>
                  </a:lnTo>
                  <a:lnTo>
                    <a:pt x="1647" y="730"/>
                  </a:lnTo>
                  <a:lnTo>
                    <a:pt x="1647" y="730"/>
                  </a:lnTo>
                  <a:lnTo>
                    <a:pt x="1647" y="730"/>
                  </a:lnTo>
                  <a:lnTo>
                    <a:pt x="1647" y="730"/>
                  </a:lnTo>
                  <a:lnTo>
                    <a:pt x="1647" y="730"/>
                  </a:lnTo>
                  <a:lnTo>
                    <a:pt x="1647" y="730"/>
                  </a:lnTo>
                  <a:lnTo>
                    <a:pt x="1645" y="730"/>
                  </a:lnTo>
                  <a:lnTo>
                    <a:pt x="1645" y="728"/>
                  </a:lnTo>
                  <a:lnTo>
                    <a:pt x="1643" y="728"/>
                  </a:lnTo>
                  <a:lnTo>
                    <a:pt x="1643" y="730"/>
                  </a:lnTo>
                  <a:lnTo>
                    <a:pt x="1643" y="730"/>
                  </a:lnTo>
                  <a:lnTo>
                    <a:pt x="1641" y="730"/>
                  </a:lnTo>
                  <a:lnTo>
                    <a:pt x="1641" y="730"/>
                  </a:lnTo>
                  <a:lnTo>
                    <a:pt x="1641" y="730"/>
                  </a:lnTo>
                  <a:lnTo>
                    <a:pt x="1641" y="730"/>
                  </a:lnTo>
                  <a:lnTo>
                    <a:pt x="1641" y="732"/>
                  </a:lnTo>
                  <a:lnTo>
                    <a:pt x="1641" y="730"/>
                  </a:lnTo>
                  <a:lnTo>
                    <a:pt x="1641" y="730"/>
                  </a:lnTo>
                  <a:lnTo>
                    <a:pt x="1638" y="730"/>
                  </a:lnTo>
                  <a:lnTo>
                    <a:pt x="1638" y="730"/>
                  </a:lnTo>
                  <a:lnTo>
                    <a:pt x="1638" y="732"/>
                  </a:lnTo>
                  <a:lnTo>
                    <a:pt x="1638" y="732"/>
                  </a:lnTo>
                  <a:lnTo>
                    <a:pt x="1636" y="730"/>
                  </a:lnTo>
                  <a:lnTo>
                    <a:pt x="1636" y="730"/>
                  </a:lnTo>
                  <a:lnTo>
                    <a:pt x="1638" y="730"/>
                  </a:lnTo>
                  <a:lnTo>
                    <a:pt x="1641" y="728"/>
                  </a:lnTo>
                  <a:lnTo>
                    <a:pt x="1641" y="728"/>
                  </a:lnTo>
                  <a:lnTo>
                    <a:pt x="1641" y="728"/>
                  </a:lnTo>
                  <a:lnTo>
                    <a:pt x="1641" y="728"/>
                  </a:lnTo>
                  <a:lnTo>
                    <a:pt x="1641" y="728"/>
                  </a:lnTo>
                  <a:lnTo>
                    <a:pt x="1641" y="728"/>
                  </a:lnTo>
                  <a:lnTo>
                    <a:pt x="1643" y="728"/>
                  </a:lnTo>
                  <a:lnTo>
                    <a:pt x="1643" y="728"/>
                  </a:lnTo>
                  <a:lnTo>
                    <a:pt x="1643" y="728"/>
                  </a:lnTo>
                  <a:lnTo>
                    <a:pt x="1643" y="725"/>
                  </a:lnTo>
                  <a:lnTo>
                    <a:pt x="1641" y="725"/>
                  </a:lnTo>
                  <a:lnTo>
                    <a:pt x="1638" y="725"/>
                  </a:lnTo>
                  <a:lnTo>
                    <a:pt x="1638" y="725"/>
                  </a:lnTo>
                  <a:lnTo>
                    <a:pt x="1638" y="725"/>
                  </a:lnTo>
                  <a:lnTo>
                    <a:pt x="1638" y="723"/>
                  </a:lnTo>
                  <a:lnTo>
                    <a:pt x="1636" y="725"/>
                  </a:lnTo>
                  <a:lnTo>
                    <a:pt x="1636" y="725"/>
                  </a:lnTo>
                  <a:lnTo>
                    <a:pt x="1636" y="725"/>
                  </a:lnTo>
                  <a:lnTo>
                    <a:pt x="1636" y="725"/>
                  </a:lnTo>
                  <a:lnTo>
                    <a:pt x="1634" y="725"/>
                  </a:lnTo>
                  <a:lnTo>
                    <a:pt x="1634" y="725"/>
                  </a:lnTo>
                  <a:lnTo>
                    <a:pt x="1634" y="725"/>
                  </a:lnTo>
                  <a:lnTo>
                    <a:pt x="1634" y="725"/>
                  </a:lnTo>
                  <a:lnTo>
                    <a:pt x="1634" y="725"/>
                  </a:lnTo>
                  <a:lnTo>
                    <a:pt x="1634" y="725"/>
                  </a:lnTo>
                  <a:lnTo>
                    <a:pt x="1634" y="728"/>
                  </a:lnTo>
                  <a:lnTo>
                    <a:pt x="1634" y="728"/>
                  </a:lnTo>
                  <a:lnTo>
                    <a:pt x="1634" y="728"/>
                  </a:lnTo>
                  <a:lnTo>
                    <a:pt x="1634" y="728"/>
                  </a:lnTo>
                  <a:lnTo>
                    <a:pt x="1634" y="728"/>
                  </a:lnTo>
                  <a:lnTo>
                    <a:pt x="1632" y="730"/>
                  </a:lnTo>
                  <a:lnTo>
                    <a:pt x="1632" y="730"/>
                  </a:lnTo>
                  <a:lnTo>
                    <a:pt x="1632" y="732"/>
                  </a:lnTo>
                  <a:lnTo>
                    <a:pt x="1632" y="732"/>
                  </a:lnTo>
                  <a:lnTo>
                    <a:pt x="1632" y="730"/>
                  </a:lnTo>
                  <a:lnTo>
                    <a:pt x="1632" y="730"/>
                  </a:lnTo>
                  <a:lnTo>
                    <a:pt x="1630" y="730"/>
                  </a:lnTo>
                  <a:lnTo>
                    <a:pt x="1630" y="730"/>
                  </a:lnTo>
                  <a:lnTo>
                    <a:pt x="1630" y="730"/>
                  </a:lnTo>
                  <a:lnTo>
                    <a:pt x="1632" y="728"/>
                  </a:lnTo>
                  <a:lnTo>
                    <a:pt x="1632" y="725"/>
                  </a:lnTo>
                  <a:lnTo>
                    <a:pt x="1634" y="723"/>
                  </a:lnTo>
                  <a:lnTo>
                    <a:pt x="1634" y="723"/>
                  </a:lnTo>
                  <a:lnTo>
                    <a:pt x="1632" y="723"/>
                  </a:lnTo>
                  <a:lnTo>
                    <a:pt x="1632" y="723"/>
                  </a:lnTo>
                  <a:lnTo>
                    <a:pt x="1632" y="723"/>
                  </a:lnTo>
                  <a:lnTo>
                    <a:pt x="1632" y="723"/>
                  </a:lnTo>
                  <a:lnTo>
                    <a:pt x="1632" y="721"/>
                  </a:lnTo>
                  <a:lnTo>
                    <a:pt x="1632" y="721"/>
                  </a:lnTo>
                  <a:lnTo>
                    <a:pt x="1632" y="721"/>
                  </a:lnTo>
                  <a:lnTo>
                    <a:pt x="1632" y="721"/>
                  </a:lnTo>
                  <a:lnTo>
                    <a:pt x="1632" y="721"/>
                  </a:lnTo>
                  <a:lnTo>
                    <a:pt x="1632" y="721"/>
                  </a:lnTo>
                  <a:lnTo>
                    <a:pt x="1632" y="719"/>
                  </a:lnTo>
                  <a:lnTo>
                    <a:pt x="1634" y="721"/>
                  </a:lnTo>
                  <a:lnTo>
                    <a:pt x="1636" y="723"/>
                  </a:lnTo>
                  <a:lnTo>
                    <a:pt x="1636" y="723"/>
                  </a:lnTo>
                  <a:lnTo>
                    <a:pt x="1638" y="723"/>
                  </a:lnTo>
                  <a:lnTo>
                    <a:pt x="1641" y="723"/>
                  </a:lnTo>
                  <a:lnTo>
                    <a:pt x="1643" y="723"/>
                  </a:lnTo>
                  <a:lnTo>
                    <a:pt x="1643" y="725"/>
                  </a:lnTo>
                  <a:lnTo>
                    <a:pt x="1645" y="725"/>
                  </a:lnTo>
                  <a:lnTo>
                    <a:pt x="1647" y="725"/>
                  </a:lnTo>
                  <a:lnTo>
                    <a:pt x="1647" y="723"/>
                  </a:lnTo>
                  <a:lnTo>
                    <a:pt x="1645" y="723"/>
                  </a:lnTo>
                  <a:lnTo>
                    <a:pt x="1645" y="723"/>
                  </a:lnTo>
                  <a:lnTo>
                    <a:pt x="1643" y="721"/>
                  </a:lnTo>
                  <a:lnTo>
                    <a:pt x="1643" y="721"/>
                  </a:lnTo>
                  <a:lnTo>
                    <a:pt x="1641" y="721"/>
                  </a:lnTo>
                  <a:lnTo>
                    <a:pt x="1641" y="721"/>
                  </a:lnTo>
                  <a:lnTo>
                    <a:pt x="1638" y="719"/>
                  </a:lnTo>
                  <a:lnTo>
                    <a:pt x="1638" y="719"/>
                  </a:lnTo>
                  <a:lnTo>
                    <a:pt x="1638" y="719"/>
                  </a:lnTo>
                  <a:lnTo>
                    <a:pt x="1636" y="717"/>
                  </a:lnTo>
                  <a:lnTo>
                    <a:pt x="1636" y="717"/>
                  </a:lnTo>
                  <a:lnTo>
                    <a:pt x="1636" y="717"/>
                  </a:lnTo>
                  <a:lnTo>
                    <a:pt x="1636" y="717"/>
                  </a:lnTo>
                  <a:lnTo>
                    <a:pt x="1634" y="717"/>
                  </a:lnTo>
                  <a:lnTo>
                    <a:pt x="1634" y="719"/>
                  </a:lnTo>
                  <a:lnTo>
                    <a:pt x="1634" y="719"/>
                  </a:lnTo>
                  <a:lnTo>
                    <a:pt x="1634" y="719"/>
                  </a:lnTo>
                  <a:lnTo>
                    <a:pt x="1634" y="717"/>
                  </a:lnTo>
                  <a:lnTo>
                    <a:pt x="1634" y="717"/>
                  </a:lnTo>
                  <a:lnTo>
                    <a:pt x="1634" y="717"/>
                  </a:lnTo>
                  <a:lnTo>
                    <a:pt x="1634" y="715"/>
                  </a:lnTo>
                  <a:lnTo>
                    <a:pt x="1632" y="715"/>
                  </a:lnTo>
                  <a:lnTo>
                    <a:pt x="1632" y="715"/>
                  </a:lnTo>
                  <a:lnTo>
                    <a:pt x="1632" y="713"/>
                  </a:lnTo>
                  <a:lnTo>
                    <a:pt x="1632" y="713"/>
                  </a:lnTo>
                  <a:lnTo>
                    <a:pt x="1632" y="713"/>
                  </a:lnTo>
                  <a:lnTo>
                    <a:pt x="1632" y="711"/>
                  </a:lnTo>
                  <a:lnTo>
                    <a:pt x="1630" y="709"/>
                  </a:lnTo>
                  <a:lnTo>
                    <a:pt x="1628" y="709"/>
                  </a:lnTo>
                  <a:lnTo>
                    <a:pt x="1628" y="709"/>
                  </a:lnTo>
                  <a:lnTo>
                    <a:pt x="1628" y="709"/>
                  </a:lnTo>
                  <a:lnTo>
                    <a:pt x="1626" y="707"/>
                  </a:lnTo>
                  <a:lnTo>
                    <a:pt x="1626" y="707"/>
                  </a:lnTo>
                  <a:lnTo>
                    <a:pt x="1626" y="707"/>
                  </a:lnTo>
                  <a:lnTo>
                    <a:pt x="1626" y="707"/>
                  </a:lnTo>
                  <a:lnTo>
                    <a:pt x="1624" y="707"/>
                  </a:lnTo>
                  <a:lnTo>
                    <a:pt x="1624" y="705"/>
                  </a:lnTo>
                  <a:lnTo>
                    <a:pt x="1622" y="705"/>
                  </a:lnTo>
                  <a:lnTo>
                    <a:pt x="1622" y="705"/>
                  </a:lnTo>
                  <a:lnTo>
                    <a:pt x="1622" y="705"/>
                  </a:lnTo>
                  <a:lnTo>
                    <a:pt x="1620" y="703"/>
                  </a:lnTo>
                  <a:lnTo>
                    <a:pt x="1618" y="703"/>
                  </a:lnTo>
                  <a:lnTo>
                    <a:pt x="1618" y="703"/>
                  </a:lnTo>
                  <a:lnTo>
                    <a:pt x="1618" y="703"/>
                  </a:lnTo>
                  <a:lnTo>
                    <a:pt x="1618" y="703"/>
                  </a:lnTo>
                  <a:lnTo>
                    <a:pt x="1616" y="703"/>
                  </a:lnTo>
                  <a:lnTo>
                    <a:pt x="1616" y="703"/>
                  </a:lnTo>
                  <a:lnTo>
                    <a:pt x="1616" y="703"/>
                  </a:lnTo>
                  <a:lnTo>
                    <a:pt x="1616" y="703"/>
                  </a:lnTo>
                  <a:lnTo>
                    <a:pt x="1616" y="703"/>
                  </a:lnTo>
                  <a:lnTo>
                    <a:pt x="1616" y="703"/>
                  </a:lnTo>
                  <a:lnTo>
                    <a:pt x="1616" y="703"/>
                  </a:lnTo>
                  <a:lnTo>
                    <a:pt x="1616" y="703"/>
                  </a:lnTo>
                  <a:lnTo>
                    <a:pt x="1614" y="703"/>
                  </a:lnTo>
                  <a:lnTo>
                    <a:pt x="1614" y="703"/>
                  </a:lnTo>
                  <a:lnTo>
                    <a:pt x="1614" y="701"/>
                  </a:lnTo>
                  <a:lnTo>
                    <a:pt x="1614" y="701"/>
                  </a:lnTo>
                  <a:lnTo>
                    <a:pt x="1614" y="703"/>
                  </a:lnTo>
                  <a:lnTo>
                    <a:pt x="1614" y="703"/>
                  </a:lnTo>
                  <a:lnTo>
                    <a:pt x="1614" y="703"/>
                  </a:lnTo>
                  <a:lnTo>
                    <a:pt x="1614" y="703"/>
                  </a:lnTo>
                  <a:lnTo>
                    <a:pt x="1612" y="703"/>
                  </a:lnTo>
                  <a:lnTo>
                    <a:pt x="1612" y="703"/>
                  </a:lnTo>
                  <a:lnTo>
                    <a:pt x="1612" y="703"/>
                  </a:lnTo>
                  <a:lnTo>
                    <a:pt x="1610" y="703"/>
                  </a:lnTo>
                  <a:lnTo>
                    <a:pt x="1610" y="703"/>
                  </a:lnTo>
                  <a:lnTo>
                    <a:pt x="1610" y="703"/>
                  </a:lnTo>
                  <a:lnTo>
                    <a:pt x="1608" y="701"/>
                  </a:lnTo>
                  <a:lnTo>
                    <a:pt x="1608" y="701"/>
                  </a:lnTo>
                  <a:lnTo>
                    <a:pt x="1608" y="701"/>
                  </a:lnTo>
                  <a:lnTo>
                    <a:pt x="1610" y="701"/>
                  </a:lnTo>
                  <a:lnTo>
                    <a:pt x="1610" y="701"/>
                  </a:lnTo>
                  <a:lnTo>
                    <a:pt x="1610" y="699"/>
                  </a:lnTo>
                  <a:lnTo>
                    <a:pt x="1610" y="699"/>
                  </a:lnTo>
                  <a:lnTo>
                    <a:pt x="1610" y="699"/>
                  </a:lnTo>
                  <a:lnTo>
                    <a:pt x="1610" y="697"/>
                  </a:lnTo>
                  <a:lnTo>
                    <a:pt x="1610" y="697"/>
                  </a:lnTo>
                  <a:lnTo>
                    <a:pt x="1610" y="697"/>
                  </a:lnTo>
                  <a:lnTo>
                    <a:pt x="1610" y="697"/>
                  </a:lnTo>
                  <a:lnTo>
                    <a:pt x="1608" y="697"/>
                  </a:lnTo>
                  <a:lnTo>
                    <a:pt x="1608" y="697"/>
                  </a:lnTo>
                  <a:lnTo>
                    <a:pt x="1608" y="697"/>
                  </a:lnTo>
                  <a:lnTo>
                    <a:pt x="1608" y="697"/>
                  </a:lnTo>
                  <a:lnTo>
                    <a:pt x="1608" y="697"/>
                  </a:lnTo>
                  <a:lnTo>
                    <a:pt x="1608" y="697"/>
                  </a:lnTo>
                  <a:lnTo>
                    <a:pt x="1608" y="695"/>
                  </a:lnTo>
                  <a:lnTo>
                    <a:pt x="1608" y="695"/>
                  </a:lnTo>
                  <a:lnTo>
                    <a:pt x="1608" y="695"/>
                  </a:lnTo>
                  <a:lnTo>
                    <a:pt x="1608" y="695"/>
                  </a:lnTo>
                  <a:lnTo>
                    <a:pt x="1608" y="695"/>
                  </a:lnTo>
                  <a:lnTo>
                    <a:pt x="1606" y="695"/>
                  </a:lnTo>
                  <a:lnTo>
                    <a:pt x="1606" y="695"/>
                  </a:lnTo>
                  <a:lnTo>
                    <a:pt x="1606" y="695"/>
                  </a:lnTo>
                  <a:lnTo>
                    <a:pt x="1606" y="695"/>
                  </a:lnTo>
                  <a:lnTo>
                    <a:pt x="1606" y="695"/>
                  </a:lnTo>
                  <a:lnTo>
                    <a:pt x="1606" y="693"/>
                  </a:lnTo>
                  <a:lnTo>
                    <a:pt x="1606" y="693"/>
                  </a:lnTo>
                  <a:lnTo>
                    <a:pt x="1606" y="693"/>
                  </a:lnTo>
                  <a:lnTo>
                    <a:pt x="1604" y="693"/>
                  </a:lnTo>
                  <a:lnTo>
                    <a:pt x="1604" y="693"/>
                  </a:lnTo>
                  <a:lnTo>
                    <a:pt x="1604" y="691"/>
                  </a:lnTo>
                  <a:lnTo>
                    <a:pt x="1604" y="691"/>
                  </a:lnTo>
                  <a:lnTo>
                    <a:pt x="1602" y="691"/>
                  </a:lnTo>
                  <a:lnTo>
                    <a:pt x="1602" y="693"/>
                  </a:lnTo>
                  <a:lnTo>
                    <a:pt x="1600" y="693"/>
                  </a:lnTo>
                  <a:lnTo>
                    <a:pt x="1600" y="695"/>
                  </a:lnTo>
                  <a:lnTo>
                    <a:pt x="1600" y="695"/>
                  </a:lnTo>
                  <a:lnTo>
                    <a:pt x="1600" y="695"/>
                  </a:lnTo>
                  <a:lnTo>
                    <a:pt x="1600" y="695"/>
                  </a:lnTo>
                  <a:lnTo>
                    <a:pt x="1602" y="695"/>
                  </a:lnTo>
                  <a:lnTo>
                    <a:pt x="1600" y="695"/>
                  </a:lnTo>
                  <a:lnTo>
                    <a:pt x="1600" y="695"/>
                  </a:lnTo>
                  <a:lnTo>
                    <a:pt x="1600" y="693"/>
                  </a:lnTo>
                  <a:lnTo>
                    <a:pt x="1600" y="693"/>
                  </a:lnTo>
                  <a:lnTo>
                    <a:pt x="1600" y="693"/>
                  </a:lnTo>
                  <a:lnTo>
                    <a:pt x="1598" y="693"/>
                  </a:lnTo>
                  <a:lnTo>
                    <a:pt x="1595" y="693"/>
                  </a:lnTo>
                  <a:lnTo>
                    <a:pt x="1591" y="693"/>
                  </a:lnTo>
                  <a:lnTo>
                    <a:pt x="1591" y="695"/>
                  </a:lnTo>
                  <a:lnTo>
                    <a:pt x="1591" y="695"/>
                  </a:lnTo>
                  <a:lnTo>
                    <a:pt x="1591" y="695"/>
                  </a:lnTo>
                  <a:lnTo>
                    <a:pt x="1591" y="695"/>
                  </a:lnTo>
                  <a:lnTo>
                    <a:pt x="1593" y="697"/>
                  </a:lnTo>
                  <a:lnTo>
                    <a:pt x="1593" y="697"/>
                  </a:lnTo>
                  <a:lnTo>
                    <a:pt x="1591" y="697"/>
                  </a:lnTo>
                  <a:lnTo>
                    <a:pt x="1591" y="697"/>
                  </a:lnTo>
                  <a:lnTo>
                    <a:pt x="1591" y="699"/>
                  </a:lnTo>
                  <a:lnTo>
                    <a:pt x="1591" y="699"/>
                  </a:lnTo>
                  <a:lnTo>
                    <a:pt x="1591" y="699"/>
                  </a:lnTo>
                  <a:lnTo>
                    <a:pt x="1591" y="699"/>
                  </a:lnTo>
                  <a:lnTo>
                    <a:pt x="1591" y="699"/>
                  </a:lnTo>
                  <a:lnTo>
                    <a:pt x="1593" y="701"/>
                  </a:lnTo>
                  <a:lnTo>
                    <a:pt x="1593" y="701"/>
                  </a:lnTo>
                  <a:lnTo>
                    <a:pt x="1593" y="701"/>
                  </a:lnTo>
                  <a:lnTo>
                    <a:pt x="1593" y="701"/>
                  </a:lnTo>
                  <a:lnTo>
                    <a:pt x="1593" y="701"/>
                  </a:lnTo>
                  <a:lnTo>
                    <a:pt x="1593" y="701"/>
                  </a:lnTo>
                  <a:lnTo>
                    <a:pt x="1593" y="701"/>
                  </a:lnTo>
                  <a:lnTo>
                    <a:pt x="1593" y="701"/>
                  </a:lnTo>
                  <a:lnTo>
                    <a:pt x="1595" y="701"/>
                  </a:lnTo>
                  <a:lnTo>
                    <a:pt x="1595" y="701"/>
                  </a:lnTo>
                  <a:lnTo>
                    <a:pt x="1595" y="701"/>
                  </a:lnTo>
                  <a:lnTo>
                    <a:pt x="1598" y="701"/>
                  </a:lnTo>
                  <a:lnTo>
                    <a:pt x="1598" y="701"/>
                  </a:lnTo>
                  <a:lnTo>
                    <a:pt x="1600" y="701"/>
                  </a:lnTo>
                  <a:lnTo>
                    <a:pt x="1602" y="701"/>
                  </a:lnTo>
                  <a:lnTo>
                    <a:pt x="1602" y="701"/>
                  </a:lnTo>
                  <a:lnTo>
                    <a:pt x="1604" y="701"/>
                  </a:lnTo>
                  <a:lnTo>
                    <a:pt x="1604" y="703"/>
                  </a:lnTo>
                  <a:lnTo>
                    <a:pt x="1604" y="705"/>
                  </a:lnTo>
                  <a:lnTo>
                    <a:pt x="1606" y="705"/>
                  </a:lnTo>
                  <a:lnTo>
                    <a:pt x="1606" y="707"/>
                  </a:lnTo>
                  <a:lnTo>
                    <a:pt x="1606" y="709"/>
                  </a:lnTo>
                  <a:lnTo>
                    <a:pt x="1608" y="709"/>
                  </a:lnTo>
                  <a:lnTo>
                    <a:pt x="1608" y="709"/>
                  </a:lnTo>
                  <a:lnTo>
                    <a:pt x="1608" y="709"/>
                  </a:lnTo>
                  <a:lnTo>
                    <a:pt x="1608" y="711"/>
                  </a:lnTo>
                  <a:lnTo>
                    <a:pt x="1608" y="711"/>
                  </a:lnTo>
                  <a:lnTo>
                    <a:pt x="1608" y="711"/>
                  </a:lnTo>
                  <a:lnTo>
                    <a:pt x="1608" y="711"/>
                  </a:lnTo>
                  <a:lnTo>
                    <a:pt x="1608" y="713"/>
                  </a:lnTo>
                  <a:lnTo>
                    <a:pt x="1608" y="713"/>
                  </a:lnTo>
                  <a:lnTo>
                    <a:pt x="1608" y="713"/>
                  </a:lnTo>
                  <a:lnTo>
                    <a:pt x="1610" y="713"/>
                  </a:lnTo>
                  <a:lnTo>
                    <a:pt x="1610" y="713"/>
                  </a:lnTo>
                  <a:lnTo>
                    <a:pt x="1610" y="713"/>
                  </a:lnTo>
                  <a:lnTo>
                    <a:pt x="1610" y="713"/>
                  </a:lnTo>
                  <a:lnTo>
                    <a:pt x="1610" y="713"/>
                  </a:lnTo>
                  <a:lnTo>
                    <a:pt x="1610" y="713"/>
                  </a:lnTo>
                  <a:lnTo>
                    <a:pt x="1610" y="713"/>
                  </a:lnTo>
                  <a:lnTo>
                    <a:pt x="1612" y="713"/>
                  </a:lnTo>
                  <a:lnTo>
                    <a:pt x="1612" y="713"/>
                  </a:lnTo>
                  <a:lnTo>
                    <a:pt x="1612" y="715"/>
                  </a:lnTo>
                  <a:lnTo>
                    <a:pt x="1612" y="715"/>
                  </a:lnTo>
                  <a:lnTo>
                    <a:pt x="1612" y="715"/>
                  </a:lnTo>
                  <a:lnTo>
                    <a:pt x="1612" y="717"/>
                  </a:lnTo>
                  <a:lnTo>
                    <a:pt x="1612" y="717"/>
                  </a:lnTo>
                  <a:lnTo>
                    <a:pt x="1610" y="719"/>
                  </a:lnTo>
                  <a:lnTo>
                    <a:pt x="1610" y="719"/>
                  </a:lnTo>
                  <a:lnTo>
                    <a:pt x="1610" y="721"/>
                  </a:lnTo>
                  <a:lnTo>
                    <a:pt x="1610" y="721"/>
                  </a:lnTo>
                  <a:lnTo>
                    <a:pt x="1610" y="721"/>
                  </a:lnTo>
                  <a:lnTo>
                    <a:pt x="1608" y="719"/>
                  </a:lnTo>
                  <a:lnTo>
                    <a:pt x="1608" y="721"/>
                  </a:lnTo>
                  <a:lnTo>
                    <a:pt x="1608" y="721"/>
                  </a:lnTo>
                  <a:lnTo>
                    <a:pt x="1608" y="723"/>
                  </a:lnTo>
                  <a:lnTo>
                    <a:pt x="1608" y="723"/>
                  </a:lnTo>
                  <a:lnTo>
                    <a:pt x="1608" y="723"/>
                  </a:lnTo>
                  <a:lnTo>
                    <a:pt x="1608" y="723"/>
                  </a:lnTo>
                  <a:lnTo>
                    <a:pt x="1608" y="723"/>
                  </a:lnTo>
                  <a:lnTo>
                    <a:pt x="1608" y="723"/>
                  </a:lnTo>
                  <a:lnTo>
                    <a:pt x="1608" y="723"/>
                  </a:lnTo>
                  <a:lnTo>
                    <a:pt x="1608" y="723"/>
                  </a:lnTo>
                  <a:lnTo>
                    <a:pt x="1608" y="723"/>
                  </a:lnTo>
                  <a:lnTo>
                    <a:pt x="1608" y="723"/>
                  </a:lnTo>
                  <a:lnTo>
                    <a:pt x="1608" y="725"/>
                  </a:lnTo>
                  <a:lnTo>
                    <a:pt x="1608" y="725"/>
                  </a:lnTo>
                  <a:lnTo>
                    <a:pt x="1608" y="725"/>
                  </a:lnTo>
                  <a:lnTo>
                    <a:pt x="1608" y="725"/>
                  </a:lnTo>
                  <a:lnTo>
                    <a:pt x="1608" y="725"/>
                  </a:lnTo>
                  <a:lnTo>
                    <a:pt x="1608" y="728"/>
                  </a:lnTo>
                  <a:lnTo>
                    <a:pt x="1608" y="728"/>
                  </a:lnTo>
                  <a:lnTo>
                    <a:pt x="1610" y="728"/>
                  </a:lnTo>
                  <a:lnTo>
                    <a:pt x="1612" y="730"/>
                  </a:lnTo>
                  <a:lnTo>
                    <a:pt x="1614" y="728"/>
                  </a:lnTo>
                  <a:lnTo>
                    <a:pt x="1618" y="725"/>
                  </a:lnTo>
                  <a:lnTo>
                    <a:pt x="1618" y="725"/>
                  </a:lnTo>
                  <a:lnTo>
                    <a:pt x="1620" y="723"/>
                  </a:lnTo>
                  <a:lnTo>
                    <a:pt x="1620" y="723"/>
                  </a:lnTo>
                  <a:lnTo>
                    <a:pt x="1620" y="723"/>
                  </a:lnTo>
                  <a:lnTo>
                    <a:pt x="1622" y="723"/>
                  </a:lnTo>
                  <a:lnTo>
                    <a:pt x="1622" y="723"/>
                  </a:lnTo>
                  <a:lnTo>
                    <a:pt x="1622" y="723"/>
                  </a:lnTo>
                  <a:lnTo>
                    <a:pt x="1620" y="723"/>
                  </a:lnTo>
                  <a:lnTo>
                    <a:pt x="1620" y="725"/>
                  </a:lnTo>
                  <a:lnTo>
                    <a:pt x="1620" y="725"/>
                  </a:lnTo>
                  <a:lnTo>
                    <a:pt x="1618" y="725"/>
                  </a:lnTo>
                  <a:lnTo>
                    <a:pt x="1618" y="728"/>
                  </a:lnTo>
                  <a:lnTo>
                    <a:pt x="1618" y="728"/>
                  </a:lnTo>
                  <a:lnTo>
                    <a:pt x="1618" y="728"/>
                  </a:lnTo>
                  <a:lnTo>
                    <a:pt x="1618" y="730"/>
                  </a:lnTo>
                  <a:lnTo>
                    <a:pt x="1618" y="730"/>
                  </a:lnTo>
                  <a:lnTo>
                    <a:pt x="1618" y="732"/>
                  </a:lnTo>
                  <a:lnTo>
                    <a:pt x="1618" y="732"/>
                  </a:lnTo>
                  <a:lnTo>
                    <a:pt x="1618" y="732"/>
                  </a:lnTo>
                  <a:lnTo>
                    <a:pt x="1618" y="734"/>
                  </a:lnTo>
                  <a:lnTo>
                    <a:pt x="1620" y="734"/>
                  </a:lnTo>
                  <a:lnTo>
                    <a:pt x="1622" y="734"/>
                  </a:lnTo>
                  <a:lnTo>
                    <a:pt x="1622" y="734"/>
                  </a:lnTo>
                  <a:lnTo>
                    <a:pt x="1622" y="734"/>
                  </a:lnTo>
                  <a:lnTo>
                    <a:pt x="1622" y="734"/>
                  </a:lnTo>
                  <a:lnTo>
                    <a:pt x="1620" y="734"/>
                  </a:lnTo>
                  <a:lnTo>
                    <a:pt x="1620" y="736"/>
                  </a:lnTo>
                  <a:lnTo>
                    <a:pt x="1620" y="734"/>
                  </a:lnTo>
                  <a:lnTo>
                    <a:pt x="1622" y="734"/>
                  </a:lnTo>
                  <a:lnTo>
                    <a:pt x="1622" y="736"/>
                  </a:lnTo>
                  <a:lnTo>
                    <a:pt x="1622" y="736"/>
                  </a:lnTo>
                  <a:lnTo>
                    <a:pt x="1622" y="736"/>
                  </a:lnTo>
                  <a:lnTo>
                    <a:pt x="1622" y="736"/>
                  </a:lnTo>
                  <a:lnTo>
                    <a:pt x="1624" y="736"/>
                  </a:lnTo>
                  <a:lnTo>
                    <a:pt x="1626" y="736"/>
                  </a:lnTo>
                  <a:lnTo>
                    <a:pt x="1628" y="736"/>
                  </a:lnTo>
                  <a:lnTo>
                    <a:pt x="1626" y="736"/>
                  </a:lnTo>
                  <a:lnTo>
                    <a:pt x="1622" y="738"/>
                  </a:lnTo>
                  <a:lnTo>
                    <a:pt x="1622" y="738"/>
                  </a:lnTo>
                  <a:lnTo>
                    <a:pt x="1622" y="738"/>
                  </a:lnTo>
                  <a:lnTo>
                    <a:pt x="1622" y="738"/>
                  </a:lnTo>
                  <a:lnTo>
                    <a:pt x="1622" y="738"/>
                  </a:lnTo>
                  <a:lnTo>
                    <a:pt x="1620" y="738"/>
                  </a:lnTo>
                  <a:lnTo>
                    <a:pt x="1618" y="738"/>
                  </a:lnTo>
                  <a:lnTo>
                    <a:pt x="1618" y="738"/>
                  </a:lnTo>
                  <a:lnTo>
                    <a:pt x="1618" y="738"/>
                  </a:lnTo>
                  <a:lnTo>
                    <a:pt x="1618" y="738"/>
                  </a:lnTo>
                  <a:lnTo>
                    <a:pt x="1618" y="738"/>
                  </a:lnTo>
                  <a:lnTo>
                    <a:pt x="1618" y="738"/>
                  </a:lnTo>
                  <a:lnTo>
                    <a:pt x="1618" y="738"/>
                  </a:lnTo>
                  <a:lnTo>
                    <a:pt x="1618" y="738"/>
                  </a:lnTo>
                  <a:lnTo>
                    <a:pt x="1618" y="738"/>
                  </a:lnTo>
                  <a:lnTo>
                    <a:pt x="1616" y="740"/>
                  </a:lnTo>
                  <a:lnTo>
                    <a:pt x="1616" y="740"/>
                  </a:lnTo>
                  <a:lnTo>
                    <a:pt x="1616" y="740"/>
                  </a:lnTo>
                  <a:lnTo>
                    <a:pt x="1616" y="740"/>
                  </a:lnTo>
                  <a:lnTo>
                    <a:pt x="1616" y="740"/>
                  </a:lnTo>
                  <a:lnTo>
                    <a:pt x="1616" y="742"/>
                  </a:lnTo>
                  <a:lnTo>
                    <a:pt x="1618" y="742"/>
                  </a:lnTo>
                  <a:lnTo>
                    <a:pt x="1618" y="742"/>
                  </a:lnTo>
                  <a:lnTo>
                    <a:pt x="1618" y="742"/>
                  </a:lnTo>
                  <a:lnTo>
                    <a:pt x="1618" y="742"/>
                  </a:lnTo>
                  <a:lnTo>
                    <a:pt x="1618" y="744"/>
                  </a:lnTo>
                  <a:lnTo>
                    <a:pt x="1618" y="744"/>
                  </a:lnTo>
                  <a:lnTo>
                    <a:pt x="1620" y="744"/>
                  </a:lnTo>
                  <a:lnTo>
                    <a:pt x="1620" y="744"/>
                  </a:lnTo>
                  <a:lnTo>
                    <a:pt x="1620" y="742"/>
                  </a:lnTo>
                  <a:lnTo>
                    <a:pt x="1620" y="742"/>
                  </a:lnTo>
                  <a:lnTo>
                    <a:pt x="1622" y="742"/>
                  </a:lnTo>
                  <a:lnTo>
                    <a:pt x="1622" y="742"/>
                  </a:lnTo>
                  <a:lnTo>
                    <a:pt x="1622" y="742"/>
                  </a:lnTo>
                  <a:lnTo>
                    <a:pt x="1622" y="744"/>
                  </a:lnTo>
                  <a:lnTo>
                    <a:pt x="1622" y="742"/>
                  </a:lnTo>
                  <a:lnTo>
                    <a:pt x="1622" y="742"/>
                  </a:lnTo>
                  <a:lnTo>
                    <a:pt x="1626" y="742"/>
                  </a:lnTo>
                  <a:lnTo>
                    <a:pt x="1626" y="740"/>
                  </a:lnTo>
                  <a:lnTo>
                    <a:pt x="1626" y="740"/>
                  </a:lnTo>
                  <a:lnTo>
                    <a:pt x="1628" y="740"/>
                  </a:lnTo>
                  <a:lnTo>
                    <a:pt x="1628" y="742"/>
                  </a:lnTo>
                  <a:lnTo>
                    <a:pt x="1628" y="742"/>
                  </a:lnTo>
                  <a:lnTo>
                    <a:pt x="1626" y="744"/>
                  </a:lnTo>
                  <a:lnTo>
                    <a:pt x="1624" y="744"/>
                  </a:lnTo>
                  <a:lnTo>
                    <a:pt x="1624" y="744"/>
                  </a:lnTo>
                  <a:lnTo>
                    <a:pt x="1624" y="746"/>
                  </a:lnTo>
                  <a:lnTo>
                    <a:pt x="1628" y="744"/>
                  </a:lnTo>
                  <a:lnTo>
                    <a:pt x="1628" y="744"/>
                  </a:lnTo>
                  <a:lnTo>
                    <a:pt x="1628" y="744"/>
                  </a:lnTo>
                  <a:lnTo>
                    <a:pt x="1630" y="742"/>
                  </a:lnTo>
                  <a:lnTo>
                    <a:pt x="1630" y="742"/>
                  </a:lnTo>
                  <a:lnTo>
                    <a:pt x="1630" y="742"/>
                  </a:lnTo>
                  <a:lnTo>
                    <a:pt x="1630" y="742"/>
                  </a:lnTo>
                  <a:lnTo>
                    <a:pt x="1630" y="740"/>
                  </a:lnTo>
                  <a:lnTo>
                    <a:pt x="1630" y="740"/>
                  </a:lnTo>
                  <a:lnTo>
                    <a:pt x="1630" y="740"/>
                  </a:lnTo>
                  <a:lnTo>
                    <a:pt x="1630" y="740"/>
                  </a:lnTo>
                  <a:lnTo>
                    <a:pt x="1630" y="742"/>
                  </a:lnTo>
                  <a:lnTo>
                    <a:pt x="1630" y="742"/>
                  </a:lnTo>
                  <a:lnTo>
                    <a:pt x="1632" y="744"/>
                  </a:lnTo>
                  <a:lnTo>
                    <a:pt x="1632" y="744"/>
                  </a:lnTo>
                  <a:lnTo>
                    <a:pt x="1632" y="744"/>
                  </a:lnTo>
                  <a:lnTo>
                    <a:pt x="1634" y="744"/>
                  </a:lnTo>
                  <a:lnTo>
                    <a:pt x="1634" y="746"/>
                  </a:lnTo>
                  <a:lnTo>
                    <a:pt x="1636" y="746"/>
                  </a:lnTo>
                  <a:lnTo>
                    <a:pt x="1636" y="744"/>
                  </a:lnTo>
                  <a:lnTo>
                    <a:pt x="1638" y="744"/>
                  </a:lnTo>
                  <a:lnTo>
                    <a:pt x="1636" y="744"/>
                  </a:lnTo>
                  <a:lnTo>
                    <a:pt x="1636" y="742"/>
                  </a:lnTo>
                  <a:lnTo>
                    <a:pt x="1636" y="742"/>
                  </a:lnTo>
                  <a:lnTo>
                    <a:pt x="1636" y="742"/>
                  </a:lnTo>
                  <a:lnTo>
                    <a:pt x="1636" y="742"/>
                  </a:lnTo>
                  <a:lnTo>
                    <a:pt x="1634" y="740"/>
                  </a:lnTo>
                  <a:lnTo>
                    <a:pt x="1634" y="740"/>
                  </a:lnTo>
                  <a:lnTo>
                    <a:pt x="1636" y="740"/>
                  </a:lnTo>
                  <a:lnTo>
                    <a:pt x="1636" y="740"/>
                  </a:lnTo>
                  <a:lnTo>
                    <a:pt x="1636" y="742"/>
                  </a:lnTo>
                  <a:lnTo>
                    <a:pt x="1638" y="742"/>
                  </a:lnTo>
                  <a:lnTo>
                    <a:pt x="1638" y="742"/>
                  </a:lnTo>
                  <a:lnTo>
                    <a:pt x="1638" y="744"/>
                  </a:lnTo>
                  <a:lnTo>
                    <a:pt x="1638" y="744"/>
                  </a:lnTo>
                  <a:lnTo>
                    <a:pt x="1638" y="746"/>
                  </a:lnTo>
                  <a:lnTo>
                    <a:pt x="1638" y="748"/>
                  </a:lnTo>
                  <a:lnTo>
                    <a:pt x="1638" y="748"/>
                  </a:lnTo>
                  <a:lnTo>
                    <a:pt x="1638" y="748"/>
                  </a:lnTo>
                  <a:lnTo>
                    <a:pt x="1638" y="746"/>
                  </a:lnTo>
                  <a:lnTo>
                    <a:pt x="1641" y="746"/>
                  </a:lnTo>
                  <a:lnTo>
                    <a:pt x="1641" y="746"/>
                  </a:lnTo>
                  <a:lnTo>
                    <a:pt x="1641" y="746"/>
                  </a:lnTo>
                  <a:lnTo>
                    <a:pt x="1641" y="746"/>
                  </a:lnTo>
                  <a:lnTo>
                    <a:pt x="1641" y="746"/>
                  </a:lnTo>
                  <a:lnTo>
                    <a:pt x="1641" y="748"/>
                  </a:lnTo>
                  <a:lnTo>
                    <a:pt x="1643" y="748"/>
                  </a:lnTo>
                  <a:lnTo>
                    <a:pt x="1643" y="748"/>
                  </a:lnTo>
                  <a:lnTo>
                    <a:pt x="1643" y="748"/>
                  </a:lnTo>
                  <a:lnTo>
                    <a:pt x="1643" y="748"/>
                  </a:lnTo>
                  <a:lnTo>
                    <a:pt x="1643" y="748"/>
                  </a:lnTo>
                  <a:lnTo>
                    <a:pt x="1641" y="748"/>
                  </a:lnTo>
                  <a:lnTo>
                    <a:pt x="1641" y="750"/>
                  </a:lnTo>
                  <a:lnTo>
                    <a:pt x="1641" y="750"/>
                  </a:lnTo>
                  <a:lnTo>
                    <a:pt x="1641" y="750"/>
                  </a:lnTo>
                  <a:lnTo>
                    <a:pt x="1643" y="750"/>
                  </a:lnTo>
                  <a:lnTo>
                    <a:pt x="1643" y="750"/>
                  </a:lnTo>
                  <a:lnTo>
                    <a:pt x="1643" y="750"/>
                  </a:lnTo>
                  <a:lnTo>
                    <a:pt x="1643" y="750"/>
                  </a:lnTo>
                  <a:lnTo>
                    <a:pt x="1643" y="752"/>
                  </a:lnTo>
                  <a:lnTo>
                    <a:pt x="1643" y="752"/>
                  </a:lnTo>
                  <a:lnTo>
                    <a:pt x="1643" y="752"/>
                  </a:lnTo>
                  <a:lnTo>
                    <a:pt x="1641" y="752"/>
                  </a:lnTo>
                  <a:lnTo>
                    <a:pt x="1641" y="752"/>
                  </a:lnTo>
                  <a:lnTo>
                    <a:pt x="1641" y="752"/>
                  </a:lnTo>
                  <a:lnTo>
                    <a:pt x="1641" y="752"/>
                  </a:lnTo>
                  <a:lnTo>
                    <a:pt x="1643" y="754"/>
                  </a:lnTo>
                  <a:lnTo>
                    <a:pt x="1643" y="754"/>
                  </a:lnTo>
                  <a:lnTo>
                    <a:pt x="1645" y="754"/>
                  </a:lnTo>
                  <a:lnTo>
                    <a:pt x="1645" y="752"/>
                  </a:lnTo>
                  <a:lnTo>
                    <a:pt x="1645" y="750"/>
                  </a:lnTo>
                  <a:lnTo>
                    <a:pt x="1645" y="750"/>
                  </a:lnTo>
                  <a:lnTo>
                    <a:pt x="1645" y="752"/>
                  </a:lnTo>
                  <a:lnTo>
                    <a:pt x="1645" y="752"/>
                  </a:lnTo>
                  <a:lnTo>
                    <a:pt x="1645" y="752"/>
                  </a:lnTo>
                  <a:lnTo>
                    <a:pt x="1645" y="754"/>
                  </a:lnTo>
                  <a:lnTo>
                    <a:pt x="1645" y="754"/>
                  </a:lnTo>
                  <a:lnTo>
                    <a:pt x="1645" y="754"/>
                  </a:lnTo>
                  <a:lnTo>
                    <a:pt x="1645" y="754"/>
                  </a:lnTo>
                  <a:lnTo>
                    <a:pt x="1645" y="754"/>
                  </a:lnTo>
                  <a:lnTo>
                    <a:pt x="1645" y="754"/>
                  </a:lnTo>
                  <a:lnTo>
                    <a:pt x="1645" y="754"/>
                  </a:lnTo>
                  <a:lnTo>
                    <a:pt x="1647" y="754"/>
                  </a:lnTo>
                  <a:lnTo>
                    <a:pt x="1647" y="754"/>
                  </a:lnTo>
                  <a:lnTo>
                    <a:pt x="1647" y="754"/>
                  </a:lnTo>
                  <a:lnTo>
                    <a:pt x="1647" y="754"/>
                  </a:lnTo>
                  <a:lnTo>
                    <a:pt x="1647" y="752"/>
                  </a:lnTo>
                  <a:lnTo>
                    <a:pt x="1647" y="752"/>
                  </a:lnTo>
                  <a:lnTo>
                    <a:pt x="1647" y="752"/>
                  </a:lnTo>
                  <a:lnTo>
                    <a:pt x="1647" y="752"/>
                  </a:lnTo>
                  <a:lnTo>
                    <a:pt x="1647" y="750"/>
                  </a:lnTo>
                  <a:lnTo>
                    <a:pt x="1647" y="748"/>
                  </a:lnTo>
                  <a:lnTo>
                    <a:pt x="1647" y="748"/>
                  </a:lnTo>
                  <a:lnTo>
                    <a:pt x="1647" y="750"/>
                  </a:lnTo>
                  <a:lnTo>
                    <a:pt x="1647" y="750"/>
                  </a:lnTo>
                  <a:lnTo>
                    <a:pt x="1647" y="750"/>
                  </a:lnTo>
                  <a:lnTo>
                    <a:pt x="1647" y="752"/>
                  </a:lnTo>
                  <a:lnTo>
                    <a:pt x="1649" y="752"/>
                  </a:lnTo>
                  <a:lnTo>
                    <a:pt x="1649" y="752"/>
                  </a:lnTo>
                  <a:lnTo>
                    <a:pt x="1649" y="752"/>
                  </a:lnTo>
                  <a:lnTo>
                    <a:pt x="1649" y="752"/>
                  </a:lnTo>
                  <a:lnTo>
                    <a:pt x="1647" y="752"/>
                  </a:lnTo>
                  <a:lnTo>
                    <a:pt x="1649" y="752"/>
                  </a:lnTo>
                  <a:lnTo>
                    <a:pt x="1649" y="754"/>
                  </a:lnTo>
                  <a:lnTo>
                    <a:pt x="1649" y="754"/>
                  </a:lnTo>
                  <a:lnTo>
                    <a:pt x="1649" y="754"/>
                  </a:lnTo>
                  <a:lnTo>
                    <a:pt x="1649" y="754"/>
                  </a:lnTo>
                  <a:lnTo>
                    <a:pt x="1649" y="754"/>
                  </a:lnTo>
                  <a:lnTo>
                    <a:pt x="1649" y="754"/>
                  </a:lnTo>
                  <a:lnTo>
                    <a:pt x="1649" y="754"/>
                  </a:lnTo>
                  <a:lnTo>
                    <a:pt x="1651" y="754"/>
                  </a:lnTo>
                  <a:lnTo>
                    <a:pt x="1651" y="754"/>
                  </a:lnTo>
                  <a:lnTo>
                    <a:pt x="1651" y="754"/>
                  </a:lnTo>
                  <a:lnTo>
                    <a:pt x="1653" y="754"/>
                  </a:lnTo>
                  <a:lnTo>
                    <a:pt x="1651" y="754"/>
                  </a:lnTo>
                  <a:lnTo>
                    <a:pt x="1651" y="756"/>
                  </a:lnTo>
                  <a:lnTo>
                    <a:pt x="1651" y="756"/>
                  </a:lnTo>
                  <a:lnTo>
                    <a:pt x="1651" y="756"/>
                  </a:lnTo>
                  <a:lnTo>
                    <a:pt x="1653" y="756"/>
                  </a:lnTo>
                  <a:lnTo>
                    <a:pt x="1653" y="756"/>
                  </a:lnTo>
                  <a:lnTo>
                    <a:pt x="1653" y="756"/>
                  </a:lnTo>
                  <a:lnTo>
                    <a:pt x="1651" y="758"/>
                  </a:lnTo>
                  <a:lnTo>
                    <a:pt x="1651" y="758"/>
                  </a:lnTo>
                  <a:lnTo>
                    <a:pt x="1651" y="758"/>
                  </a:lnTo>
                  <a:lnTo>
                    <a:pt x="1653" y="758"/>
                  </a:lnTo>
                  <a:lnTo>
                    <a:pt x="1653" y="758"/>
                  </a:lnTo>
                  <a:lnTo>
                    <a:pt x="1653" y="758"/>
                  </a:lnTo>
                  <a:lnTo>
                    <a:pt x="1653" y="758"/>
                  </a:lnTo>
                  <a:lnTo>
                    <a:pt x="1653" y="758"/>
                  </a:lnTo>
                  <a:lnTo>
                    <a:pt x="1653" y="756"/>
                  </a:lnTo>
                  <a:lnTo>
                    <a:pt x="1655" y="756"/>
                  </a:lnTo>
                  <a:lnTo>
                    <a:pt x="1655" y="756"/>
                  </a:lnTo>
                  <a:lnTo>
                    <a:pt x="1655" y="758"/>
                  </a:lnTo>
                  <a:lnTo>
                    <a:pt x="1655" y="758"/>
                  </a:lnTo>
                  <a:lnTo>
                    <a:pt x="1655" y="758"/>
                  </a:lnTo>
                  <a:lnTo>
                    <a:pt x="1653" y="758"/>
                  </a:lnTo>
                  <a:lnTo>
                    <a:pt x="1653" y="760"/>
                  </a:lnTo>
                  <a:lnTo>
                    <a:pt x="1653" y="760"/>
                  </a:lnTo>
                  <a:lnTo>
                    <a:pt x="1653" y="760"/>
                  </a:lnTo>
                  <a:lnTo>
                    <a:pt x="1655" y="762"/>
                  </a:lnTo>
                  <a:lnTo>
                    <a:pt x="1655" y="762"/>
                  </a:lnTo>
                  <a:lnTo>
                    <a:pt x="1655" y="760"/>
                  </a:lnTo>
                  <a:lnTo>
                    <a:pt x="1657" y="760"/>
                  </a:lnTo>
                  <a:lnTo>
                    <a:pt x="1659" y="762"/>
                  </a:lnTo>
                  <a:lnTo>
                    <a:pt x="1659" y="762"/>
                  </a:lnTo>
                  <a:lnTo>
                    <a:pt x="1659" y="760"/>
                  </a:lnTo>
                  <a:lnTo>
                    <a:pt x="1659" y="760"/>
                  </a:lnTo>
                  <a:lnTo>
                    <a:pt x="1659" y="760"/>
                  </a:lnTo>
                  <a:lnTo>
                    <a:pt x="1661" y="760"/>
                  </a:lnTo>
                  <a:lnTo>
                    <a:pt x="1661" y="760"/>
                  </a:lnTo>
                  <a:lnTo>
                    <a:pt x="1663" y="760"/>
                  </a:lnTo>
                  <a:lnTo>
                    <a:pt x="1663" y="760"/>
                  </a:lnTo>
                  <a:lnTo>
                    <a:pt x="1663" y="760"/>
                  </a:lnTo>
                  <a:close/>
                  <a:moveTo>
                    <a:pt x="1630" y="746"/>
                  </a:moveTo>
                  <a:lnTo>
                    <a:pt x="1630" y="746"/>
                  </a:lnTo>
                  <a:lnTo>
                    <a:pt x="1630" y="746"/>
                  </a:lnTo>
                  <a:lnTo>
                    <a:pt x="1630" y="746"/>
                  </a:lnTo>
                  <a:lnTo>
                    <a:pt x="1630" y="748"/>
                  </a:lnTo>
                  <a:lnTo>
                    <a:pt x="1630" y="748"/>
                  </a:lnTo>
                  <a:lnTo>
                    <a:pt x="1632" y="748"/>
                  </a:lnTo>
                  <a:lnTo>
                    <a:pt x="1632" y="750"/>
                  </a:lnTo>
                  <a:lnTo>
                    <a:pt x="1632" y="748"/>
                  </a:lnTo>
                  <a:lnTo>
                    <a:pt x="1632" y="750"/>
                  </a:lnTo>
                  <a:lnTo>
                    <a:pt x="1634" y="750"/>
                  </a:lnTo>
                  <a:lnTo>
                    <a:pt x="1634" y="750"/>
                  </a:lnTo>
                  <a:lnTo>
                    <a:pt x="1632" y="750"/>
                  </a:lnTo>
                  <a:lnTo>
                    <a:pt x="1632" y="750"/>
                  </a:lnTo>
                  <a:lnTo>
                    <a:pt x="1632" y="750"/>
                  </a:lnTo>
                  <a:lnTo>
                    <a:pt x="1632" y="752"/>
                  </a:lnTo>
                  <a:lnTo>
                    <a:pt x="1632" y="752"/>
                  </a:lnTo>
                  <a:lnTo>
                    <a:pt x="1632" y="752"/>
                  </a:lnTo>
                  <a:lnTo>
                    <a:pt x="1634" y="752"/>
                  </a:lnTo>
                  <a:lnTo>
                    <a:pt x="1634" y="752"/>
                  </a:lnTo>
                  <a:lnTo>
                    <a:pt x="1634" y="752"/>
                  </a:lnTo>
                  <a:lnTo>
                    <a:pt x="1636" y="752"/>
                  </a:lnTo>
                  <a:lnTo>
                    <a:pt x="1636" y="752"/>
                  </a:lnTo>
                  <a:lnTo>
                    <a:pt x="1636" y="754"/>
                  </a:lnTo>
                  <a:lnTo>
                    <a:pt x="1638" y="750"/>
                  </a:lnTo>
                  <a:lnTo>
                    <a:pt x="1638" y="750"/>
                  </a:lnTo>
                  <a:lnTo>
                    <a:pt x="1634" y="746"/>
                  </a:lnTo>
                  <a:lnTo>
                    <a:pt x="1634" y="746"/>
                  </a:lnTo>
                  <a:lnTo>
                    <a:pt x="1632" y="744"/>
                  </a:lnTo>
                  <a:lnTo>
                    <a:pt x="1632" y="744"/>
                  </a:lnTo>
                  <a:lnTo>
                    <a:pt x="1630" y="744"/>
                  </a:lnTo>
                  <a:lnTo>
                    <a:pt x="1630" y="744"/>
                  </a:lnTo>
                  <a:lnTo>
                    <a:pt x="1630" y="746"/>
                  </a:lnTo>
                  <a:lnTo>
                    <a:pt x="1630" y="746"/>
                  </a:lnTo>
                  <a:lnTo>
                    <a:pt x="1630" y="746"/>
                  </a:lnTo>
                  <a:lnTo>
                    <a:pt x="1630" y="746"/>
                  </a:lnTo>
                  <a:close/>
                  <a:moveTo>
                    <a:pt x="1643" y="766"/>
                  </a:moveTo>
                  <a:lnTo>
                    <a:pt x="1643" y="766"/>
                  </a:lnTo>
                  <a:lnTo>
                    <a:pt x="1641" y="766"/>
                  </a:lnTo>
                  <a:lnTo>
                    <a:pt x="1641" y="766"/>
                  </a:lnTo>
                  <a:lnTo>
                    <a:pt x="1641" y="766"/>
                  </a:lnTo>
                  <a:lnTo>
                    <a:pt x="1641" y="764"/>
                  </a:lnTo>
                  <a:lnTo>
                    <a:pt x="1641" y="764"/>
                  </a:lnTo>
                  <a:lnTo>
                    <a:pt x="1641" y="764"/>
                  </a:lnTo>
                  <a:lnTo>
                    <a:pt x="1641" y="764"/>
                  </a:lnTo>
                  <a:lnTo>
                    <a:pt x="1641" y="762"/>
                  </a:lnTo>
                  <a:lnTo>
                    <a:pt x="1638" y="762"/>
                  </a:lnTo>
                  <a:lnTo>
                    <a:pt x="1638" y="762"/>
                  </a:lnTo>
                  <a:lnTo>
                    <a:pt x="1638" y="762"/>
                  </a:lnTo>
                  <a:lnTo>
                    <a:pt x="1638" y="762"/>
                  </a:lnTo>
                  <a:lnTo>
                    <a:pt x="1638" y="762"/>
                  </a:lnTo>
                  <a:lnTo>
                    <a:pt x="1636" y="762"/>
                  </a:lnTo>
                  <a:lnTo>
                    <a:pt x="1636" y="762"/>
                  </a:lnTo>
                  <a:lnTo>
                    <a:pt x="1636" y="760"/>
                  </a:lnTo>
                  <a:lnTo>
                    <a:pt x="1636" y="760"/>
                  </a:lnTo>
                  <a:lnTo>
                    <a:pt x="1636" y="760"/>
                  </a:lnTo>
                  <a:lnTo>
                    <a:pt x="1636" y="760"/>
                  </a:lnTo>
                  <a:lnTo>
                    <a:pt x="1636" y="760"/>
                  </a:lnTo>
                  <a:lnTo>
                    <a:pt x="1634" y="758"/>
                  </a:lnTo>
                  <a:lnTo>
                    <a:pt x="1634" y="758"/>
                  </a:lnTo>
                  <a:lnTo>
                    <a:pt x="1634" y="758"/>
                  </a:lnTo>
                  <a:lnTo>
                    <a:pt x="1634" y="758"/>
                  </a:lnTo>
                  <a:lnTo>
                    <a:pt x="1632" y="758"/>
                  </a:lnTo>
                  <a:lnTo>
                    <a:pt x="1632" y="758"/>
                  </a:lnTo>
                  <a:lnTo>
                    <a:pt x="1632" y="758"/>
                  </a:lnTo>
                  <a:lnTo>
                    <a:pt x="1632" y="756"/>
                  </a:lnTo>
                  <a:lnTo>
                    <a:pt x="1632" y="756"/>
                  </a:lnTo>
                  <a:lnTo>
                    <a:pt x="1632" y="758"/>
                  </a:lnTo>
                  <a:lnTo>
                    <a:pt x="1632" y="758"/>
                  </a:lnTo>
                  <a:lnTo>
                    <a:pt x="1632" y="756"/>
                  </a:lnTo>
                  <a:lnTo>
                    <a:pt x="1630" y="754"/>
                  </a:lnTo>
                  <a:lnTo>
                    <a:pt x="1630" y="754"/>
                  </a:lnTo>
                  <a:lnTo>
                    <a:pt x="1628" y="754"/>
                  </a:lnTo>
                  <a:lnTo>
                    <a:pt x="1628" y="754"/>
                  </a:lnTo>
                  <a:lnTo>
                    <a:pt x="1628" y="754"/>
                  </a:lnTo>
                  <a:lnTo>
                    <a:pt x="1626" y="754"/>
                  </a:lnTo>
                  <a:lnTo>
                    <a:pt x="1628" y="754"/>
                  </a:lnTo>
                  <a:lnTo>
                    <a:pt x="1628" y="752"/>
                  </a:lnTo>
                  <a:lnTo>
                    <a:pt x="1628" y="752"/>
                  </a:lnTo>
                  <a:lnTo>
                    <a:pt x="1626" y="752"/>
                  </a:lnTo>
                  <a:lnTo>
                    <a:pt x="1626" y="750"/>
                  </a:lnTo>
                  <a:lnTo>
                    <a:pt x="1626" y="750"/>
                  </a:lnTo>
                  <a:lnTo>
                    <a:pt x="1628" y="752"/>
                  </a:lnTo>
                  <a:lnTo>
                    <a:pt x="1630" y="752"/>
                  </a:lnTo>
                  <a:lnTo>
                    <a:pt x="1628" y="750"/>
                  </a:lnTo>
                  <a:lnTo>
                    <a:pt x="1628" y="750"/>
                  </a:lnTo>
                  <a:lnTo>
                    <a:pt x="1628" y="750"/>
                  </a:lnTo>
                  <a:lnTo>
                    <a:pt x="1628" y="750"/>
                  </a:lnTo>
                  <a:lnTo>
                    <a:pt x="1626" y="748"/>
                  </a:lnTo>
                  <a:lnTo>
                    <a:pt x="1626" y="748"/>
                  </a:lnTo>
                  <a:lnTo>
                    <a:pt x="1624" y="748"/>
                  </a:lnTo>
                  <a:lnTo>
                    <a:pt x="1624" y="746"/>
                  </a:lnTo>
                  <a:lnTo>
                    <a:pt x="1624" y="746"/>
                  </a:lnTo>
                  <a:lnTo>
                    <a:pt x="1624" y="746"/>
                  </a:lnTo>
                  <a:lnTo>
                    <a:pt x="1622" y="746"/>
                  </a:lnTo>
                  <a:lnTo>
                    <a:pt x="1622" y="746"/>
                  </a:lnTo>
                  <a:lnTo>
                    <a:pt x="1622" y="744"/>
                  </a:lnTo>
                  <a:lnTo>
                    <a:pt x="1622" y="744"/>
                  </a:lnTo>
                  <a:lnTo>
                    <a:pt x="1622" y="744"/>
                  </a:lnTo>
                  <a:lnTo>
                    <a:pt x="1622" y="744"/>
                  </a:lnTo>
                  <a:lnTo>
                    <a:pt x="1620" y="744"/>
                  </a:lnTo>
                  <a:lnTo>
                    <a:pt x="1620" y="746"/>
                  </a:lnTo>
                  <a:lnTo>
                    <a:pt x="1620" y="746"/>
                  </a:lnTo>
                  <a:lnTo>
                    <a:pt x="1620" y="746"/>
                  </a:lnTo>
                  <a:lnTo>
                    <a:pt x="1622" y="748"/>
                  </a:lnTo>
                  <a:lnTo>
                    <a:pt x="1620" y="748"/>
                  </a:lnTo>
                  <a:lnTo>
                    <a:pt x="1620" y="748"/>
                  </a:lnTo>
                  <a:lnTo>
                    <a:pt x="1620" y="748"/>
                  </a:lnTo>
                  <a:lnTo>
                    <a:pt x="1622" y="748"/>
                  </a:lnTo>
                  <a:lnTo>
                    <a:pt x="1622" y="748"/>
                  </a:lnTo>
                  <a:lnTo>
                    <a:pt x="1622" y="750"/>
                  </a:lnTo>
                  <a:lnTo>
                    <a:pt x="1622" y="750"/>
                  </a:lnTo>
                  <a:lnTo>
                    <a:pt x="1620" y="750"/>
                  </a:lnTo>
                  <a:lnTo>
                    <a:pt x="1620" y="750"/>
                  </a:lnTo>
                  <a:lnTo>
                    <a:pt x="1622" y="750"/>
                  </a:lnTo>
                  <a:lnTo>
                    <a:pt x="1622" y="750"/>
                  </a:lnTo>
                  <a:lnTo>
                    <a:pt x="1622" y="750"/>
                  </a:lnTo>
                  <a:lnTo>
                    <a:pt x="1624" y="750"/>
                  </a:lnTo>
                  <a:lnTo>
                    <a:pt x="1624" y="752"/>
                  </a:lnTo>
                  <a:lnTo>
                    <a:pt x="1622" y="752"/>
                  </a:lnTo>
                  <a:lnTo>
                    <a:pt x="1622" y="752"/>
                  </a:lnTo>
                  <a:lnTo>
                    <a:pt x="1622" y="752"/>
                  </a:lnTo>
                  <a:lnTo>
                    <a:pt x="1622" y="754"/>
                  </a:lnTo>
                  <a:lnTo>
                    <a:pt x="1622" y="754"/>
                  </a:lnTo>
                  <a:lnTo>
                    <a:pt x="1622" y="754"/>
                  </a:lnTo>
                  <a:lnTo>
                    <a:pt x="1624" y="756"/>
                  </a:lnTo>
                  <a:lnTo>
                    <a:pt x="1626" y="756"/>
                  </a:lnTo>
                  <a:lnTo>
                    <a:pt x="1624" y="758"/>
                  </a:lnTo>
                  <a:lnTo>
                    <a:pt x="1626" y="758"/>
                  </a:lnTo>
                  <a:lnTo>
                    <a:pt x="1626" y="758"/>
                  </a:lnTo>
                  <a:lnTo>
                    <a:pt x="1626" y="758"/>
                  </a:lnTo>
                  <a:lnTo>
                    <a:pt x="1626" y="758"/>
                  </a:lnTo>
                  <a:lnTo>
                    <a:pt x="1626" y="760"/>
                  </a:lnTo>
                  <a:lnTo>
                    <a:pt x="1626" y="760"/>
                  </a:lnTo>
                  <a:lnTo>
                    <a:pt x="1626" y="758"/>
                  </a:lnTo>
                  <a:lnTo>
                    <a:pt x="1628" y="758"/>
                  </a:lnTo>
                  <a:lnTo>
                    <a:pt x="1628" y="758"/>
                  </a:lnTo>
                  <a:lnTo>
                    <a:pt x="1628" y="758"/>
                  </a:lnTo>
                  <a:lnTo>
                    <a:pt x="1628" y="758"/>
                  </a:lnTo>
                  <a:lnTo>
                    <a:pt x="1628" y="760"/>
                  </a:lnTo>
                  <a:lnTo>
                    <a:pt x="1628" y="760"/>
                  </a:lnTo>
                  <a:lnTo>
                    <a:pt x="1628" y="760"/>
                  </a:lnTo>
                  <a:lnTo>
                    <a:pt x="1628" y="760"/>
                  </a:lnTo>
                  <a:lnTo>
                    <a:pt x="1628" y="760"/>
                  </a:lnTo>
                  <a:lnTo>
                    <a:pt x="1630" y="760"/>
                  </a:lnTo>
                  <a:lnTo>
                    <a:pt x="1630" y="760"/>
                  </a:lnTo>
                  <a:lnTo>
                    <a:pt x="1630" y="760"/>
                  </a:lnTo>
                  <a:lnTo>
                    <a:pt x="1630" y="762"/>
                  </a:lnTo>
                  <a:lnTo>
                    <a:pt x="1630" y="762"/>
                  </a:lnTo>
                  <a:lnTo>
                    <a:pt x="1630" y="762"/>
                  </a:lnTo>
                  <a:lnTo>
                    <a:pt x="1632" y="762"/>
                  </a:lnTo>
                  <a:lnTo>
                    <a:pt x="1632" y="764"/>
                  </a:lnTo>
                  <a:lnTo>
                    <a:pt x="1634" y="762"/>
                  </a:lnTo>
                  <a:lnTo>
                    <a:pt x="1634" y="762"/>
                  </a:lnTo>
                  <a:lnTo>
                    <a:pt x="1634" y="762"/>
                  </a:lnTo>
                  <a:lnTo>
                    <a:pt x="1634" y="762"/>
                  </a:lnTo>
                  <a:lnTo>
                    <a:pt x="1634" y="764"/>
                  </a:lnTo>
                  <a:lnTo>
                    <a:pt x="1634" y="764"/>
                  </a:lnTo>
                  <a:lnTo>
                    <a:pt x="1634" y="764"/>
                  </a:lnTo>
                  <a:lnTo>
                    <a:pt x="1634" y="764"/>
                  </a:lnTo>
                  <a:lnTo>
                    <a:pt x="1638" y="766"/>
                  </a:lnTo>
                  <a:lnTo>
                    <a:pt x="1638" y="766"/>
                  </a:lnTo>
                  <a:lnTo>
                    <a:pt x="1636" y="766"/>
                  </a:lnTo>
                  <a:lnTo>
                    <a:pt x="1636" y="766"/>
                  </a:lnTo>
                  <a:lnTo>
                    <a:pt x="1638" y="768"/>
                  </a:lnTo>
                  <a:lnTo>
                    <a:pt x="1638" y="768"/>
                  </a:lnTo>
                  <a:lnTo>
                    <a:pt x="1638" y="768"/>
                  </a:lnTo>
                  <a:lnTo>
                    <a:pt x="1641" y="768"/>
                  </a:lnTo>
                  <a:lnTo>
                    <a:pt x="1641" y="768"/>
                  </a:lnTo>
                  <a:lnTo>
                    <a:pt x="1641" y="768"/>
                  </a:lnTo>
                  <a:lnTo>
                    <a:pt x="1643" y="768"/>
                  </a:lnTo>
                  <a:lnTo>
                    <a:pt x="1643" y="768"/>
                  </a:lnTo>
                  <a:lnTo>
                    <a:pt x="1645" y="768"/>
                  </a:lnTo>
                  <a:lnTo>
                    <a:pt x="1643" y="766"/>
                  </a:lnTo>
                  <a:lnTo>
                    <a:pt x="1643" y="766"/>
                  </a:lnTo>
                  <a:close/>
                  <a:moveTo>
                    <a:pt x="1612" y="736"/>
                  </a:moveTo>
                  <a:lnTo>
                    <a:pt x="1612" y="736"/>
                  </a:lnTo>
                  <a:lnTo>
                    <a:pt x="1614" y="734"/>
                  </a:lnTo>
                  <a:lnTo>
                    <a:pt x="1614" y="734"/>
                  </a:lnTo>
                  <a:lnTo>
                    <a:pt x="1614" y="734"/>
                  </a:lnTo>
                  <a:lnTo>
                    <a:pt x="1614" y="734"/>
                  </a:lnTo>
                  <a:lnTo>
                    <a:pt x="1614" y="732"/>
                  </a:lnTo>
                  <a:lnTo>
                    <a:pt x="1614" y="732"/>
                  </a:lnTo>
                  <a:lnTo>
                    <a:pt x="1612" y="732"/>
                  </a:lnTo>
                  <a:lnTo>
                    <a:pt x="1612" y="732"/>
                  </a:lnTo>
                  <a:lnTo>
                    <a:pt x="1612" y="732"/>
                  </a:lnTo>
                  <a:lnTo>
                    <a:pt x="1610" y="732"/>
                  </a:lnTo>
                  <a:lnTo>
                    <a:pt x="1608" y="732"/>
                  </a:lnTo>
                  <a:lnTo>
                    <a:pt x="1608" y="732"/>
                  </a:lnTo>
                  <a:lnTo>
                    <a:pt x="1608" y="734"/>
                  </a:lnTo>
                  <a:lnTo>
                    <a:pt x="1610" y="734"/>
                  </a:lnTo>
                  <a:lnTo>
                    <a:pt x="1610" y="734"/>
                  </a:lnTo>
                  <a:lnTo>
                    <a:pt x="1612" y="736"/>
                  </a:lnTo>
                  <a:lnTo>
                    <a:pt x="1612" y="736"/>
                  </a:lnTo>
                  <a:lnTo>
                    <a:pt x="1612" y="736"/>
                  </a:lnTo>
                  <a:close/>
                  <a:moveTo>
                    <a:pt x="1618" y="744"/>
                  </a:moveTo>
                  <a:lnTo>
                    <a:pt x="1618" y="744"/>
                  </a:lnTo>
                  <a:lnTo>
                    <a:pt x="1618" y="744"/>
                  </a:lnTo>
                  <a:lnTo>
                    <a:pt x="1616" y="744"/>
                  </a:lnTo>
                  <a:lnTo>
                    <a:pt x="1616" y="746"/>
                  </a:lnTo>
                  <a:lnTo>
                    <a:pt x="1616" y="744"/>
                  </a:lnTo>
                  <a:lnTo>
                    <a:pt x="1616" y="744"/>
                  </a:lnTo>
                  <a:lnTo>
                    <a:pt x="1616" y="742"/>
                  </a:lnTo>
                  <a:lnTo>
                    <a:pt x="1616" y="742"/>
                  </a:lnTo>
                  <a:lnTo>
                    <a:pt x="1614" y="742"/>
                  </a:lnTo>
                  <a:lnTo>
                    <a:pt x="1614" y="742"/>
                  </a:lnTo>
                  <a:lnTo>
                    <a:pt x="1614" y="742"/>
                  </a:lnTo>
                  <a:lnTo>
                    <a:pt x="1614" y="742"/>
                  </a:lnTo>
                  <a:lnTo>
                    <a:pt x="1614" y="744"/>
                  </a:lnTo>
                  <a:lnTo>
                    <a:pt x="1614" y="744"/>
                  </a:lnTo>
                  <a:lnTo>
                    <a:pt x="1612" y="744"/>
                  </a:lnTo>
                  <a:lnTo>
                    <a:pt x="1612" y="744"/>
                  </a:lnTo>
                  <a:lnTo>
                    <a:pt x="1612" y="744"/>
                  </a:lnTo>
                  <a:lnTo>
                    <a:pt x="1612" y="746"/>
                  </a:lnTo>
                  <a:lnTo>
                    <a:pt x="1614" y="746"/>
                  </a:lnTo>
                  <a:lnTo>
                    <a:pt x="1614" y="746"/>
                  </a:lnTo>
                  <a:lnTo>
                    <a:pt x="1614" y="746"/>
                  </a:lnTo>
                  <a:lnTo>
                    <a:pt x="1612" y="746"/>
                  </a:lnTo>
                  <a:lnTo>
                    <a:pt x="1612" y="746"/>
                  </a:lnTo>
                  <a:lnTo>
                    <a:pt x="1612" y="748"/>
                  </a:lnTo>
                  <a:lnTo>
                    <a:pt x="1614" y="748"/>
                  </a:lnTo>
                  <a:lnTo>
                    <a:pt x="1614" y="748"/>
                  </a:lnTo>
                  <a:lnTo>
                    <a:pt x="1614" y="750"/>
                  </a:lnTo>
                  <a:lnTo>
                    <a:pt x="1614" y="750"/>
                  </a:lnTo>
                  <a:lnTo>
                    <a:pt x="1614" y="748"/>
                  </a:lnTo>
                  <a:lnTo>
                    <a:pt x="1614" y="748"/>
                  </a:lnTo>
                  <a:lnTo>
                    <a:pt x="1614" y="748"/>
                  </a:lnTo>
                  <a:lnTo>
                    <a:pt x="1614" y="748"/>
                  </a:lnTo>
                  <a:lnTo>
                    <a:pt x="1616" y="748"/>
                  </a:lnTo>
                  <a:lnTo>
                    <a:pt x="1616" y="748"/>
                  </a:lnTo>
                  <a:lnTo>
                    <a:pt x="1616" y="748"/>
                  </a:lnTo>
                  <a:lnTo>
                    <a:pt x="1616" y="748"/>
                  </a:lnTo>
                  <a:lnTo>
                    <a:pt x="1616" y="748"/>
                  </a:lnTo>
                  <a:lnTo>
                    <a:pt x="1618" y="748"/>
                  </a:lnTo>
                  <a:lnTo>
                    <a:pt x="1618" y="748"/>
                  </a:lnTo>
                  <a:lnTo>
                    <a:pt x="1618" y="748"/>
                  </a:lnTo>
                  <a:lnTo>
                    <a:pt x="1618" y="746"/>
                  </a:lnTo>
                  <a:lnTo>
                    <a:pt x="1618" y="746"/>
                  </a:lnTo>
                  <a:lnTo>
                    <a:pt x="1618" y="746"/>
                  </a:lnTo>
                  <a:lnTo>
                    <a:pt x="1618" y="744"/>
                  </a:lnTo>
                  <a:lnTo>
                    <a:pt x="1618" y="744"/>
                  </a:lnTo>
                  <a:close/>
                  <a:moveTo>
                    <a:pt x="1106" y="531"/>
                  </a:moveTo>
                  <a:lnTo>
                    <a:pt x="1108" y="531"/>
                  </a:lnTo>
                  <a:lnTo>
                    <a:pt x="1108" y="529"/>
                  </a:lnTo>
                  <a:lnTo>
                    <a:pt x="1108" y="529"/>
                  </a:lnTo>
                  <a:lnTo>
                    <a:pt x="1108" y="529"/>
                  </a:lnTo>
                  <a:lnTo>
                    <a:pt x="1106" y="529"/>
                  </a:lnTo>
                  <a:lnTo>
                    <a:pt x="1106" y="529"/>
                  </a:lnTo>
                  <a:lnTo>
                    <a:pt x="1106" y="531"/>
                  </a:lnTo>
                  <a:lnTo>
                    <a:pt x="1106" y="531"/>
                  </a:lnTo>
                  <a:lnTo>
                    <a:pt x="1106" y="531"/>
                  </a:lnTo>
                  <a:lnTo>
                    <a:pt x="1106" y="531"/>
                  </a:lnTo>
                  <a:lnTo>
                    <a:pt x="1106" y="531"/>
                  </a:lnTo>
                  <a:close/>
                  <a:moveTo>
                    <a:pt x="780" y="236"/>
                  </a:moveTo>
                  <a:lnTo>
                    <a:pt x="780" y="236"/>
                  </a:lnTo>
                  <a:lnTo>
                    <a:pt x="782" y="236"/>
                  </a:lnTo>
                  <a:lnTo>
                    <a:pt x="782" y="236"/>
                  </a:lnTo>
                  <a:lnTo>
                    <a:pt x="786" y="236"/>
                  </a:lnTo>
                  <a:lnTo>
                    <a:pt x="786" y="236"/>
                  </a:lnTo>
                  <a:lnTo>
                    <a:pt x="786" y="236"/>
                  </a:lnTo>
                  <a:lnTo>
                    <a:pt x="786" y="236"/>
                  </a:lnTo>
                  <a:lnTo>
                    <a:pt x="786" y="236"/>
                  </a:lnTo>
                  <a:lnTo>
                    <a:pt x="786" y="236"/>
                  </a:lnTo>
                  <a:lnTo>
                    <a:pt x="789" y="234"/>
                  </a:lnTo>
                  <a:lnTo>
                    <a:pt x="789" y="234"/>
                  </a:lnTo>
                  <a:lnTo>
                    <a:pt x="789" y="234"/>
                  </a:lnTo>
                  <a:lnTo>
                    <a:pt x="789" y="234"/>
                  </a:lnTo>
                  <a:lnTo>
                    <a:pt x="789" y="234"/>
                  </a:lnTo>
                  <a:lnTo>
                    <a:pt x="789" y="234"/>
                  </a:lnTo>
                  <a:lnTo>
                    <a:pt x="789" y="234"/>
                  </a:lnTo>
                  <a:lnTo>
                    <a:pt x="791" y="234"/>
                  </a:lnTo>
                  <a:lnTo>
                    <a:pt x="791" y="234"/>
                  </a:lnTo>
                  <a:lnTo>
                    <a:pt x="789" y="234"/>
                  </a:lnTo>
                  <a:lnTo>
                    <a:pt x="776" y="238"/>
                  </a:lnTo>
                  <a:lnTo>
                    <a:pt x="778" y="238"/>
                  </a:lnTo>
                  <a:lnTo>
                    <a:pt x="780" y="236"/>
                  </a:lnTo>
                  <a:close/>
                  <a:moveTo>
                    <a:pt x="776" y="238"/>
                  </a:moveTo>
                  <a:lnTo>
                    <a:pt x="776" y="238"/>
                  </a:lnTo>
                  <a:lnTo>
                    <a:pt x="776" y="238"/>
                  </a:lnTo>
                  <a:lnTo>
                    <a:pt x="776" y="238"/>
                  </a:lnTo>
                  <a:close/>
                  <a:moveTo>
                    <a:pt x="776" y="238"/>
                  </a:moveTo>
                  <a:lnTo>
                    <a:pt x="776" y="238"/>
                  </a:lnTo>
                  <a:lnTo>
                    <a:pt x="774" y="238"/>
                  </a:lnTo>
                  <a:lnTo>
                    <a:pt x="776" y="238"/>
                  </a:lnTo>
                  <a:lnTo>
                    <a:pt x="776" y="238"/>
                  </a:lnTo>
                  <a:close/>
                  <a:moveTo>
                    <a:pt x="774" y="238"/>
                  </a:moveTo>
                  <a:lnTo>
                    <a:pt x="774" y="238"/>
                  </a:lnTo>
                  <a:lnTo>
                    <a:pt x="774" y="238"/>
                  </a:lnTo>
                  <a:lnTo>
                    <a:pt x="774" y="238"/>
                  </a:lnTo>
                  <a:lnTo>
                    <a:pt x="774" y="238"/>
                  </a:lnTo>
                  <a:close/>
                  <a:moveTo>
                    <a:pt x="770" y="240"/>
                  </a:moveTo>
                  <a:lnTo>
                    <a:pt x="770" y="240"/>
                  </a:lnTo>
                  <a:lnTo>
                    <a:pt x="770" y="240"/>
                  </a:lnTo>
                  <a:lnTo>
                    <a:pt x="770" y="240"/>
                  </a:lnTo>
                  <a:lnTo>
                    <a:pt x="772" y="238"/>
                  </a:lnTo>
                  <a:lnTo>
                    <a:pt x="772" y="238"/>
                  </a:lnTo>
                  <a:lnTo>
                    <a:pt x="774" y="238"/>
                  </a:lnTo>
                  <a:lnTo>
                    <a:pt x="768" y="240"/>
                  </a:lnTo>
                  <a:lnTo>
                    <a:pt x="768" y="240"/>
                  </a:lnTo>
                  <a:lnTo>
                    <a:pt x="768" y="240"/>
                  </a:lnTo>
                  <a:lnTo>
                    <a:pt x="768" y="240"/>
                  </a:lnTo>
                  <a:lnTo>
                    <a:pt x="770" y="240"/>
                  </a:lnTo>
                  <a:close/>
                  <a:moveTo>
                    <a:pt x="758" y="246"/>
                  </a:moveTo>
                  <a:lnTo>
                    <a:pt x="760" y="244"/>
                  </a:lnTo>
                  <a:lnTo>
                    <a:pt x="760" y="244"/>
                  </a:lnTo>
                  <a:lnTo>
                    <a:pt x="760" y="244"/>
                  </a:lnTo>
                  <a:lnTo>
                    <a:pt x="760" y="244"/>
                  </a:lnTo>
                  <a:lnTo>
                    <a:pt x="760" y="244"/>
                  </a:lnTo>
                  <a:lnTo>
                    <a:pt x="758" y="244"/>
                  </a:lnTo>
                  <a:lnTo>
                    <a:pt x="758" y="244"/>
                  </a:lnTo>
                  <a:lnTo>
                    <a:pt x="758" y="246"/>
                  </a:lnTo>
                  <a:lnTo>
                    <a:pt x="758" y="246"/>
                  </a:lnTo>
                  <a:lnTo>
                    <a:pt x="758" y="246"/>
                  </a:lnTo>
                  <a:close/>
                  <a:moveTo>
                    <a:pt x="762" y="244"/>
                  </a:moveTo>
                  <a:lnTo>
                    <a:pt x="764" y="242"/>
                  </a:lnTo>
                  <a:lnTo>
                    <a:pt x="764" y="242"/>
                  </a:lnTo>
                  <a:lnTo>
                    <a:pt x="766" y="242"/>
                  </a:lnTo>
                  <a:lnTo>
                    <a:pt x="766" y="242"/>
                  </a:lnTo>
                  <a:lnTo>
                    <a:pt x="764" y="242"/>
                  </a:lnTo>
                  <a:lnTo>
                    <a:pt x="762" y="242"/>
                  </a:lnTo>
                  <a:lnTo>
                    <a:pt x="762" y="242"/>
                  </a:lnTo>
                  <a:lnTo>
                    <a:pt x="762" y="244"/>
                  </a:lnTo>
                  <a:lnTo>
                    <a:pt x="762" y="244"/>
                  </a:lnTo>
                  <a:lnTo>
                    <a:pt x="762" y="244"/>
                  </a:lnTo>
                  <a:lnTo>
                    <a:pt x="762" y="244"/>
                  </a:lnTo>
                  <a:close/>
                  <a:moveTo>
                    <a:pt x="844" y="84"/>
                  </a:moveTo>
                  <a:lnTo>
                    <a:pt x="844" y="82"/>
                  </a:lnTo>
                  <a:lnTo>
                    <a:pt x="844" y="80"/>
                  </a:lnTo>
                  <a:lnTo>
                    <a:pt x="844" y="78"/>
                  </a:lnTo>
                  <a:lnTo>
                    <a:pt x="846" y="78"/>
                  </a:lnTo>
                  <a:lnTo>
                    <a:pt x="846" y="78"/>
                  </a:lnTo>
                  <a:lnTo>
                    <a:pt x="844" y="78"/>
                  </a:lnTo>
                  <a:lnTo>
                    <a:pt x="844" y="80"/>
                  </a:lnTo>
                  <a:lnTo>
                    <a:pt x="844" y="82"/>
                  </a:lnTo>
                  <a:lnTo>
                    <a:pt x="844" y="84"/>
                  </a:lnTo>
                  <a:lnTo>
                    <a:pt x="844" y="86"/>
                  </a:lnTo>
                  <a:lnTo>
                    <a:pt x="844" y="86"/>
                  </a:lnTo>
                  <a:lnTo>
                    <a:pt x="844" y="88"/>
                  </a:lnTo>
                  <a:lnTo>
                    <a:pt x="844" y="84"/>
                  </a:lnTo>
                  <a:lnTo>
                    <a:pt x="844" y="84"/>
                  </a:lnTo>
                  <a:close/>
                  <a:moveTo>
                    <a:pt x="846" y="646"/>
                  </a:moveTo>
                  <a:lnTo>
                    <a:pt x="846" y="648"/>
                  </a:lnTo>
                  <a:lnTo>
                    <a:pt x="846" y="646"/>
                  </a:lnTo>
                  <a:lnTo>
                    <a:pt x="846" y="646"/>
                  </a:lnTo>
                  <a:lnTo>
                    <a:pt x="846" y="646"/>
                  </a:lnTo>
                  <a:lnTo>
                    <a:pt x="846" y="646"/>
                  </a:lnTo>
                  <a:lnTo>
                    <a:pt x="846" y="646"/>
                  </a:lnTo>
                  <a:lnTo>
                    <a:pt x="846" y="646"/>
                  </a:lnTo>
                  <a:lnTo>
                    <a:pt x="846" y="646"/>
                  </a:lnTo>
                  <a:lnTo>
                    <a:pt x="846" y="646"/>
                  </a:lnTo>
                  <a:lnTo>
                    <a:pt x="846" y="646"/>
                  </a:lnTo>
                  <a:lnTo>
                    <a:pt x="846" y="646"/>
                  </a:lnTo>
                  <a:lnTo>
                    <a:pt x="846" y="646"/>
                  </a:lnTo>
                  <a:lnTo>
                    <a:pt x="846" y="646"/>
                  </a:lnTo>
                  <a:lnTo>
                    <a:pt x="846" y="646"/>
                  </a:lnTo>
                  <a:close/>
                  <a:moveTo>
                    <a:pt x="1235" y="64"/>
                  </a:moveTo>
                  <a:lnTo>
                    <a:pt x="1235" y="64"/>
                  </a:lnTo>
                  <a:lnTo>
                    <a:pt x="1235" y="64"/>
                  </a:lnTo>
                  <a:lnTo>
                    <a:pt x="1237" y="64"/>
                  </a:lnTo>
                  <a:lnTo>
                    <a:pt x="1239" y="64"/>
                  </a:lnTo>
                  <a:lnTo>
                    <a:pt x="1241" y="66"/>
                  </a:lnTo>
                  <a:lnTo>
                    <a:pt x="1241" y="68"/>
                  </a:lnTo>
                  <a:lnTo>
                    <a:pt x="1243" y="68"/>
                  </a:lnTo>
                  <a:lnTo>
                    <a:pt x="1243" y="68"/>
                  </a:lnTo>
                  <a:lnTo>
                    <a:pt x="1241" y="66"/>
                  </a:lnTo>
                  <a:lnTo>
                    <a:pt x="1241" y="66"/>
                  </a:lnTo>
                  <a:lnTo>
                    <a:pt x="1239" y="64"/>
                  </a:lnTo>
                  <a:lnTo>
                    <a:pt x="1233" y="61"/>
                  </a:lnTo>
                  <a:lnTo>
                    <a:pt x="1233" y="61"/>
                  </a:lnTo>
                  <a:lnTo>
                    <a:pt x="1233" y="64"/>
                  </a:lnTo>
                  <a:lnTo>
                    <a:pt x="1235" y="64"/>
                  </a:lnTo>
                  <a:close/>
                  <a:moveTo>
                    <a:pt x="873" y="47"/>
                  </a:moveTo>
                  <a:lnTo>
                    <a:pt x="879" y="49"/>
                  </a:lnTo>
                  <a:lnTo>
                    <a:pt x="873" y="47"/>
                  </a:lnTo>
                  <a:lnTo>
                    <a:pt x="870" y="47"/>
                  </a:lnTo>
                  <a:lnTo>
                    <a:pt x="870" y="49"/>
                  </a:lnTo>
                  <a:lnTo>
                    <a:pt x="870" y="49"/>
                  </a:lnTo>
                  <a:lnTo>
                    <a:pt x="870" y="47"/>
                  </a:lnTo>
                  <a:lnTo>
                    <a:pt x="873" y="47"/>
                  </a:lnTo>
                  <a:close/>
                  <a:moveTo>
                    <a:pt x="856" y="64"/>
                  </a:moveTo>
                  <a:lnTo>
                    <a:pt x="856" y="61"/>
                  </a:lnTo>
                  <a:lnTo>
                    <a:pt x="858" y="59"/>
                  </a:lnTo>
                  <a:lnTo>
                    <a:pt x="858" y="59"/>
                  </a:lnTo>
                  <a:lnTo>
                    <a:pt x="858" y="59"/>
                  </a:lnTo>
                  <a:lnTo>
                    <a:pt x="858" y="59"/>
                  </a:lnTo>
                  <a:lnTo>
                    <a:pt x="856" y="59"/>
                  </a:lnTo>
                  <a:lnTo>
                    <a:pt x="856" y="61"/>
                  </a:lnTo>
                  <a:lnTo>
                    <a:pt x="856" y="61"/>
                  </a:lnTo>
                  <a:lnTo>
                    <a:pt x="854" y="64"/>
                  </a:lnTo>
                  <a:lnTo>
                    <a:pt x="852" y="66"/>
                  </a:lnTo>
                  <a:lnTo>
                    <a:pt x="854" y="64"/>
                  </a:lnTo>
                  <a:lnTo>
                    <a:pt x="856" y="64"/>
                  </a:lnTo>
                  <a:close/>
                  <a:moveTo>
                    <a:pt x="860" y="57"/>
                  </a:moveTo>
                  <a:lnTo>
                    <a:pt x="860" y="55"/>
                  </a:lnTo>
                  <a:lnTo>
                    <a:pt x="862" y="53"/>
                  </a:lnTo>
                  <a:lnTo>
                    <a:pt x="866" y="51"/>
                  </a:lnTo>
                  <a:lnTo>
                    <a:pt x="864" y="51"/>
                  </a:lnTo>
                  <a:lnTo>
                    <a:pt x="860" y="55"/>
                  </a:lnTo>
                  <a:lnTo>
                    <a:pt x="860" y="55"/>
                  </a:lnTo>
                  <a:lnTo>
                    <a:pt x="858" y="57"/>
                  </a:lnTo>
                  <a:lnTo>
                    <a:pt x="858" y="57"/>
                  </a:lnTo>
                  <a:lnTo>
                    <a:pt x="860" y="57"/>
                  </a:lnTo>
                  <a:close/>
                  <a:moveTo>
                    <a:pt x="848" y="72"/>
                  </a:moveTo>
                  <a:lnTo>
                    <a:pt x="848" y="72"/>
                  </a:lnTo>
                  <a:lnTo>
                    <a:pt x="852" y="68"/>
                  </a:lnTo>
                  <a:lnTo>
                    <a:pt x="852" y="66"/>
                  </a:lnTo>
                  <a:lnTo>
                    <a:pt x="848" y="70"/>
                  </a:lnTo>
                  <a:lnTo>
                    <a:pt x="848" y="72"/>
                  </a:lnTo>
                  <a:lnTo>
                    <a:pt x="848" y="72"/>
                  </a:lnTo>
                  <a:lnTo>
                    <a:pt x="846" y="78"/>
                  </a:lnTo>
                  <a:lnTo>
                    <a:pt x="846" y="76"/>
                  </a:lnTo>
                  <a:lnTo>
                    <a:pt x="848" y="72"/>
                  </a:lnTo>
                  <a:close/>
                  <a:moveTo>
                    <a:pt x="746" y="250"/>
                  </a:moveTo>
                  <a:lnTo>
                    <a:pt x="748" y="250"/>
                  </a:lnTo>
                  <a:lnTo>
                    <a:pt x="750" y="248"/>
                  </a:lnTo>
                  <a:lnTo>
                    <a:pt x="750" y="248"/>
                  </a:lnTo>
                  <a:lnTo>
                    <a:pt x="750" y="248"/>
                  </a:lnTo>
                  <a:lnTo>
                    <a:pt x="750" y="248"/>
                  </a:lnTo>
                  <a:lnTo>
                    <a:pt x="752" y="248"/>
                  </a:lnTo>
                  <a:lnTo>
                    <a:pt x="754" y="246"/>
                  </a:lnTo>
                  <a:lnTo>
                    <a:pt x="756" y="246"/>
                  </a:lnTo>
                  <a:lnTo>
                    <a:pt x="756" y="246"/>
                  </a:lnTo>
                  <a:lnTo>
                    <a:pt x="756" y="246"/>
                  </a:lnTo>
                  <a:lnTo>
                    <a:pt x="758" y="246"/>
                  </a:lnTo>
                  <a:lnTo>
                    <a:pt x="756" y="246"/>
                  </a:lnTo>
                  <a:lnTo>
                    <a:pt x="754" y="246"/>
                  </a:lnTo>
                  <a:lnTo>
                    <a:pt x="743" y="250"/>
                  </a:lnTo>
                  <a:lnTo>
                    <a:pt x="743" y="250"/>
                  </a:lnTo>
                  <a:lnTo>
                    <a:pt x="743" y="252"/>
                  </a:lnTo>
                  <a:lnTo>
                    <a:pt x="743" y="250"/>
                  </a:lnTo>
                  <a:lnTo>
                    <a:pt x="746" y="250"/>
                  </a:lnTo>
                  <a:close/>
                  <a:moveTo>
                    <a:pt x="1098" y="43"/>
                  </a:moveTo>
                  <a:lnTo>
                    <a:pt x="1100" y="45"/>
                  </a:lnTo>
                  <a:lnTo>
                    <a:pt x="1102" y="45"/>
                  </a:lnTo>
                  <a:lnTo>
                    <a:pt x="1102" y="45"/>
                  </a:lnTo>
                  <a:lnTo>
                    <a:pt x="1102" y="45"/>
                  </a:lnTo>
                  <a:lnTo>
                    <a:pt x="1104" y="45"/>
                  </a:lnTo>
                  <a:lnTo>
                    <a:pt x="1104" y="45"/>
                  </a:lnTo>
                  <a:lnTo>
                    <a:pt x="1102" y="45"/>
                  </a:lnTo>
                  <a:lnTo>
                    <a:pt x="1102" y="45"/>
                  </a:lnTo>
                  <a:lnTo>
                    <a:pt x="1102" y="45"/>
                  </a:lnTo>
                  <a:lnTo>
                    <a:pt x="1102" y="45"/>
                  </a:lnTo>
                  <a:lnTo>
                    <a:pt x="1102" y="45"/>
                  </a:lnTo>
                  <a:lnTo>
                    <a:pt x="1096" y="43"/>
                  </a:lnTo>
                  <a:lnTo>
                    <a:pt x="1096" y="43"/>
                  </a:lnTo>
                  <a:lnTo>
                    <a:pt x="1096" y="43"/>
                  </a:lnTo>
                  <a:lnTo>
                    <a:pt x="1096" y="43"/>
                  </a:lnTo>
                  <a:lnTo>
                    <a:pt x="1096" y="43"/>
                  </a:lnTo>
                  <a:lnTo>
                    <a:pt x="1098" y="43"/>
                  </a:lnTo>
                  <a:close/>
                  <a:moveTo>
                    <a:pt x="723" y="459"/>
                  </a:moveTo>
                  <a:lnTo>
                    <a:pt x="723" y="459"/>
                  </a:lnTo>
                  <a:lnTo>
                    <a:pt x="723" y="459"/>
                  </a:lnTo>
                  <a:lnTo>
                    <a:pt x="723" y="459"/>
                  </a:lnTo>
                  <a:lnTo>
                    <a:pt x="721" y="461"/>
                  </a:lnTo>
                  <a:lnTo>
                    <a:pt x="721" y="461"/>
                  </a:lnTo>
                  <a:lnTo>
                    <a:pt x="721" y="461"/>
                  </a:lnTo>
                  <a:lnTo>
                    <a:pt x="721" y="461"/>
                  </a:lnTo>
                  <a:lnTo>
                    <a:pt x="723" y="461"/>
                  </a:lnTo>
                  <a:lnTo>
                    <a:pt x="723" y="461"/>
                  </a:lnTo>
                  <a:lnTo>
                    <a:pt x="723" y="461"/>
                  </a:lnTo>
                  <a:lnTo>
                    <a:pt x="723" y="461"/>
                  </a:lnTo>
                  <a:lnTo>
                    <a:pt x="723" y="461"/>
                  </a:lnTo>
                  <a:lnTo>
                    <a:pt x="723" y="461"/>
                  </a:lnTo>
                  <a:lnTo>
                    <a:pt x="723" y="461"/>
                  </a:lnTo>
                  <a:lnTo>
                    <a:pt x="723" y="461"/>
                  </a:lnTo>
                  <a:lnTo>
                    <a:pt x="723" y="461"/>
                  </a:lnTo>
                  <a:lnTo>
                    <a:pt x="723" y="461"/>
                  </a:lnTo>
                  <a:lnTo>
                    <a:pt x="723" y="461"/>
                  </a:lnTo>
                  <a:lnTo>
                    <a:pt x="723" y="459"/>
                  </a:lnTo>
                  <a:lnTo>
                    <a:pt x="723" y="459"/>
                  </a:lnTo>
                  <a:lnTo>
                    <a:pt x="723" y="459"/>
                  </a:lnTo>
                  <a:close/>
                  <a:moveTo>
                    <a:pt x="721" y="467"/>
                  </a:moveTo>
                  <a:lnTo>
                    <a:pt x="721" y="467"/>
                  </a:lnTo>
                  <a:lnTo>
                    <a:pt x="721" y="469"/>
                  </a:lnTo>
                  <a:lnTo>
                    <a:pt x="721" y="469"/>
                  </a:lnTo>
                  <a:lnTo>
                    <a:pt x="721" y="469"/>
                  </a:lnTo>
                  <a:lnTo>
                    <a:pt x="721" y="467"/>
                  </a:lnTo>
                  <a:lnTo>
                    <a:pt x="721" y="465"/>
                  </a:lnTo>
                  <a:lnTo>
                    <a:pt x="721" y="463"/>
                  </a:lnTo>
                  <a:lnTo>
                    <a:pt x="723" y="463"/>
                  </a:lnTo>
                  <a:lnTo>
                    <a:pt x="721" y="463"/>
                  </a:lnTo>
                  <a:lnTo>
                    <a:pt x="721" y="465"/>
                  </a:lnTo>
                  <a:lnTo>
                    <a:pt x="721" y="467"/>
                  </a:lnTo>
                  <a:close/>
                  <a:moveTo>
                    <a:pt x="750" y="434"/>
                  </a:moveTo>
                  <a:lnTo>
                    <a:pt x="750" y="434"/>
                  </a:lnTo>
                  <a:lnTo>
                    <a:pt x="750" y="434"/>
                  </a:lnTo>
                  <a:lnTo>
                    <a:pt x="752" y="434"/>
                  </a:lnTo>
                  <a:lnTo>
                    <a:pt x="750" y="434"/>
                  </a:lnTo>
                  <a:close/>
                  <a:moveTo>
                    <a:pt x="858" y="760"/>
                  </a:moveTo>
                  <a:lnTo>
                    <a:pt x="858" y="760"/>
                  </a:lnTo>
                  <a:lnTo>
                    <a:pt x="858" y="760"/>
                  </a:lnTo>
                  <a:lnTo>
                    <a:pt x="858" y="760"/>
                  </a:lnTo>
                  <a:lnTo>
                    <a:pt x="858" y="760"/>
                  </a:lnTo>
                  <a:lnTo>
                    <a:pt x="858" y="760"/>
                  </a:lnTo>
                  <a:lnTo>
                    <a:pt x="858" y="760"/>
                  </a:lnTo>
                  <a:close/>
                  <a:moveTo>
                    <a:pt x="852" y="660"/>
                  </a:moveTo>
                  <a:lnTo>
                    <a:pt x="852" y="660"/>
                  </a:lnTo>
                  <a:lnTo>
                    <a:pt x="852" y="658"/>
                  </a:lnTo>
                  <a:lnTo>
                    <a:pt x="850" y="658"/>
                  </a:lnTo>
                  <a:lnTo>
                    <a:pt x="850" y="658"/>
                  </a:lnTo>
                  <a:lnTo>
                    <a:pt x="850" y="658"/>
                  </a:lnTo>
                  <a:lnTo>
                    <a:pt x="850" y="658"/>
                  </a:lnTo>
                  <a:lnTo>
                    <a:pt x="850" y="658"/>
                  </a:lnTo>
                  <a:lnTo>
                    <a:pt x="850" y="660"/>
                  </a:lnTo>
                  <a:lnTo>
                    <a:pt x="852" y="660"/>
                  </a:lnTo>
                  <a:close/>
                  <a:moveTo>
                    <a:pt x="860" y="758"/>
                  </a:moveTo>
                  <a:lnTo>
                    <a:pt x="860" y="758"/>
                  </a:lnTo>
                  <a:lnTo>
                    <a:pt x="860" y="758"/>
                  </a:lnTo>
                  <a:lnTo>
                    <a:pt x="860" y="758"/>
                  </a:lnTo>
                  <a:lnTo>
                    <a:pt x="860" y="758"/>
                  </a:lnTo>
                  <a:lnTo>
                    <a:pt x="860" y="760"/>
                  </a:lnTo>
                  <a:lnTo>
                    <a:pt x="860" y="760"/>
                  </a:lnTo>
                  <a:lnTo>
                    <a:pt x="860" y="760"/>
                  </a:lnTo>
                  <a:lnTo>
                    <a:pt x="860" y="758"/>
                  </a:lnTo>
                  <a:close/>
                  <a:moveTo>
                    <a:pt x="754" y="434"/>
                  </a:moveTo>
                  <a:lnTo>
                    <a:pt x="754" y="434"/>
                  </a:lnTo>
                  <a:lnTo>
                    <a:pt x="752" y="434"/>
                  </a:lnTo>
                  <a:lnTo>
                    <a:pt x="752" y="434"/>
                  </a:lnTo>
                  <a:lnTo>
                    <a:pt x="752" y="434"/>
                  </a:lnTo>
                  <a:lnTo>
                    <a:pt x="752" y="434"/>
                  </a:lnTo>
                  <a:lnTo>
                    <a:pt x="752" y="434"/>
                  </a:lnTo>
                  <a:lnTo>
                    <a:pt x="752" y="434"/>
                  </a:lnTo>
                  <a:lnTo>
                    <a:pt x="754" y="437"/>
                  </a:lnTo>
                  <a:lnTo>
                    <a:pt x="754" y="437"/>
                  </a:lnTo>
                  <a:lnTo>
                    <a:pt x="754" y="434"/>
                  </a:lnTo>
                  <a:lnTo>
                    <a:pt x="754" y="434"/>
                  </a:lnTo>
                  <a:lnTo>
                    <a:pt x="754" y="434"/>
                  </a:lnTo>
                  <a:close/>
                  <a:moveTo>
                    <a:pt x="754" y="434"/>
                  </a:moveTo>
                  <a:lnTo>
                    <a:pt x="754" y="434"/>
                  </a:lnTo>
                  <a:lnTo>
                    <a:pt x="754" y="434"/>
                  </a:lnTo>
                  <a:lnTo>
                    <a:pt x="754" y="434"/>
                  </a:lnTo>
                  <a:lnTo>
                    <a:pt x="754" y="434"/>
                  </a:lnTo>
                  <a:lnTo>
                    <a:pt x="754" y="434"/>
                  </a:lnTo>
                  <a:lnTo>
                    <a:pt x="754" y="434"/>
                  </a:lnTo>
                  <a:close/>
                  <a:moveTo>
                    <a:pt x="754" y="439"/>
                  </a:moveTo>
                  <a:lnTo>
                    <a:pt x="752" y="439"/>
                  </a:lnTo>
                  <a:lnTo>
                    <a:pt x="752" y="439"/>
                  </a:lnTo>
                  <a:lnTo>
                    <a:pt x="752" y="439"/>
                  </a:lnTo>
                  <a:lnTo>
                    <a:pt x="752" y="439"/>
                  </a:lnTo>
                  <a:lnTo>
                    <a:pt x="754" y="439"/>
                  </a:lnTo>
                  <a:lnTo>
                    <a:pt x="754" y="439"/>
                  </a:lnTo>
                  <a:lnTo>
                    <a:pt x="754" y="439"/>
                  </a:lnTo>
                  <a:lnTo>
                    <a:pt x="754" y="439"/>
                  </a:lnTo>
                  <a:lnTo>
                    <a:pt x="754" y="439"/>
                  </a:lnTo>
                  <a:lnTo>
                    <a:pt x="754" y="439"/>
                  </a:lnTo>
                  <a:close/>
                  <a:moveTo>
                    <a:pt x="926" y="771"/>
                  </a:moveTo>
                  <a:lnTo>
                    <a:pt x="926" y="771"/>
                  </a:lnTo>
                  <a:lnTo>
                    <a:pt x="926" y="768"/>
                  </a:lnTo>
                  <a:lnTo>
                    <a:pt x="924" y="768"/>
                  </a:lnTo>
                  <a:lnTo>
                    <a:pt x="922" y="768"/>
                  </a:lnTo>
                  <a:lnTo>
                    <a:pt x="920" y="768"/>
                  </a:lnTo>
                  <a:lnTo>
                    <a:pt x="920" y="768"/>
                  </a:lnTo>
                  <a:lnTo>
                    <a:pt x="918" y="771"/>
                  </a:lnTo>
                  <a:lnTo>
                    <a:pt x="918" y="771"/>
                  </a:lnTo>
                  <a:lnTo>
                    <a:pt x="918" y="771"/>
                  </a:lnTo>
                  <a:lnTo>
                    <a:pt x="918" y="771"/>
                  </a:lnTo>
                  <a:lnTo>
                    <a:pt x="918" y="771"/>
                  </a:lnTo>
                  <a:lnTo>
                    <a:pt x="918" y="773"/>
                  </a:lnTo>
                  <a:lnTo>
                    <a:pt x="918" y="773"/>
                  </a:lnTo>
                  <a:lnTo>
                    <a:pt x="920" y="773"/>
                  </a:lnTo>
                  <a:lnTo>
                    <a:pt x="922" y="771"/>
                  </a:lnTo>
                  <a:lnTo>
                    <a:pt x="922" y="773"/>
                  </a:lnTo>
                  <a:lnTo>
                    <a:pt x="922" y="773"/>
                  </a:lnTo>
                  <a:lnTo>
                    <a:pt x="922" y="773"/>
                  </a:lnTo>
                  <a:lnTo>
                    <a:pt x="922" y="773"/>
                  </a:lnTo>
                  <a:lnTo>
                    <a:pt x="922" y="771"/>
                  </a:lnTo>
                  <a:lnTo>
                    <a:pt x="922" y="771"/>
                  </a:lnTo>
                  <a:lnTo>
                    <a:pt x="926" y="771"/>
                  </a:lnTo>
                  <a:lnTo>
                    <a:pt x="926" y="771"/>
                  </a:lnTo>
                  <a:lnTo>
                    <a:pt x="926" y="773"/>
                  </a:lnTo>
                  <a:lnTo>
                    <a:pt x="926" y="773"/>
                  </a:lnTo>
                  <a:lnTo>
                    <a:pt x="928" y="773"/>
                  </a:lnTo>
                  <a:lnTo>
                    <a:pt x="926" y="771"/>
                  </a:lnTo>
                  <a:lnTo>
                    <a:pt x="926" y="771"/>
                  </a:lnTo>
                  <a:close/>
                  <a:moveTo>
                    <a:pt x="764" y="414"/>
                  </a:moveTo>
                  <a:lnTo>
                    <a:pt x="764" y="414"/>
                  </a:lnTo>
                  <a:lnTo>
                    <a:pt x="764" y="414"/>
                  </a:lnTo>
                  <a:lnTo>
                    <a:pt x="764" y="414"/>
                  </a:lnTo>
                  <a:lnTo>
                    <a:pt x="764" y="414"/>
                  </a:lnTo>
                  <a:lnTo>
                    <a:pt x="764" y="414"/>
                  </a:lnTo>
                  <a:lnTo>
                    <a:pt x="764" y="414"/>
                  </a:lnTo>
                  <a:lnTo>
                    <a:pt x="764" y="414"/>
                  </a:lnTo>
                  <a:lnTo>
                    <a:pt x="764" y="414"/>
                  </a:lnTo>
                  <a:lnTo>
                    <a:pt x="764" y="414"/>
                  </a:lnTo>
                  <a:close/>
                  <a:moveTo>
                    <a:pt x="815" y="391"/>
                  </a:moveTo>
                  <a:lnTo>
                    <a:pt x="813" y="391"/>
                  </a:lnTo>
                  <a:lnTo>
                    <a:pt x="813" y="391"/>
                  </a:lnTo>
                  <a:lnTo>
                    <a:pt x="813" y="391"/>
                  </a:lnTo>
                  <a:lnTo>
                    <a:pt x="813" y="391"/>
                  </a:lnTo>
                  <a:lnTo>
                    <a:pt x="813" y="391"/>
                  </a:lnTo>
                  <a:lnTo>
                    <a:pt x="811" y="393"/>
                  </a:lnTo>
                  <a:lnTo>
                    <a:pt x="813" y="393"/>
                  </a:lnTo>
                  <a:lnTo>
                    <a:pt x="813" y="393"/>
                  </a:lnTo>
                  <a:lnTo>
                    <a:pt x="813" y="396"/>
                  </a:lnTo>
                  <a:lnTo>
                    <a:pt x="813" y="396"/>
                  </a:lnTo>
                  <a:lnTo>
                    <a:pt x="815" y="396"/>
                  </a:lnTo>
                  <a:lnTo>
                    <a:pt x="819" y="396"/>
                  </a:lnTo>
                  <a:lnTo>
                    <a:pt x="819" y="396"/>
                  </a:lnTo>
                  <a:lnTo>
                    <a:pt x="819" y="396"/>
                  </a:lnTo>
                  <a:lnTo>
                    <a:pt x="819" y="396"/>
                  </a:lnTo>
                  <a:lnTo>
                    <a:pt x="819" y="396"/>
                  </a:lnTo>
                  <a:lnTo>
                    <a:pt x="819" y="396"/>
                  </a:lnTo>
                  <a:lnTo>
                    <a:pt x="819" y="393"/>
                  </a:lnTo>
                  <a:lnTo>
                    <a:pt x="819" y="393"/>
                  </a:lnTo>
                  <a:lnTo>
                    <a:pt x="819" y="393"/>
                  </a:lnTo>
                  <a:lnTo>
                    <a:pt x="819" y="393"/>
                  </a:lnTo>
                  <a:lnTo>
                    <a:pt x="819" y="393"/>
                  </a:lnTo>
                  <a:lnTo>
                    <a:pt x="819" y="393"/>
                  </a:lnTo>
                  <a:lnTo>
                    <a:pt x="819" y="393"/>
                  </a:lnTo>
                  <a:lnTo>
                    <a:pt x="819" y="393"/>
                  </a:lnTo>
                  <a:lnTo>
                    <a:pt x="819" y="393"/>
                  </a:lnTo>
                  <a:lnTo>
                    <a:pt x="819" y="391"/>
                  </a:lnTo>
                  <a:lnTo>
                    <a:pt x="819" y="391"/>
                  </a:lnTo>
                  <a:lnTo>
                    <a:pt x="819" y="391"/>
                  </a:lnTo>
                  <a:lnTo>
                    <a:pt x="819" y="391"/>
                  </a:lnTo>
                  <a:lnTo>
                    <a:pt x="817" y="391"/>
                  </a:lnTo>
                  <a:lnTo>
                    <a:pt x="817" y="391"/>
                  </a:lnTo>
                  <a:lnTo>
                    <a:pt x="817" y="391"/>
                  </a:lnTo>
                  <a:lnTo>
                    <a:pt x="817" y="391"/>
                  </a:lnTo>
                  <a:lnTo>
                    <a:pt x="815" y="391"/>
                  </a:lnTo>
                  <a:lnTo>
                    <a:pt x="815" y="391"/>
                  </a:lnTo>
                  <a:lnTo>
                    <a:pt x="815" y="391"/>
                  </a:lnTo>
                  <a:lnTo>
                    <a:pt x="815" y="391"/>
                  </a:lnTo>
                  <a:lnTo>
                    <a:pt x="815" y="391"/>
                  </a:lnTo>
                  <a:close/>
                  <a:moveTo>
                    <a:pt x="764" y="410"/>
                  </a:moveTo>
                  <a:lnTo>
                    <a:pt x="764" y="412"/>
                  </a:lnTo>
                  <a:lnTo>
                    <a:pt x="764" y="412"/>
                  </a:lnTo>
                  <a:lnTo>
                    <a:pt x="764" y="412"/>
                  </a:lnTo>
                  <a:lnTo>
                    <a:pt x="764" y="412"/>
                  </a:lnTo>
                  <a:lnTo>
                    <a:pt x="764" y="412"/>
                  </a:lnTo>
                  <a:lnTo>
                    <a:pt x="764" y="412"/>
                  </a:lnTo>
                  <a:lnTo>
                    <a:pt x="764" y="412"/>
                  </a:lnTo>
                  <a:lnTo>
                    <a:pt x="764" y="412"/>
                  </a:lnTo>
                  <a:lnTo>
                    <a:pt x="764" y="412"/>
                  </a:lnTo>
                  <a:lnTo>
                    <a:pt x="764" y="410"/>
                  </a:lnTo>
                  <a:close/>
                  <a:moveTo>
                    <a:pt x="752" y="439"/>
                  </a:moveTo>
                  <a:lnTo>
                    <a:pt x="752" y="439"/>
                  </a:lnTo>
                  <a:lnTo>
                    <a:pt x="752" y="439"/>
                  </a:lnTo>
                  <a:lnTo>
                    <a:pt x="752" y="439"/>
                  </a:lnTo>
                  <a:lnTo>
                    <a:pt x="752" y="439"/>
                  </a:lnTo>
                  <a:lnTo>
                    <a:pt x="752" y="439"/>
                  </a:lnTo>
                  <a:lnTo>
                    <a:pt x="752" y="439"/>
                  </a:lnTo>
                  <a:lnTo>
                    <a:pt x="752" y="439"/>
                  </a:lnTo>
                  <a:lnTo>
                    <a:pt x="752" y="439"/>
                  </a:lnTo>
                  <a:close/>
                  <a:moveTo>
                    <a:pt x="733" y="256"/>
                  </a:moveTo>
                  <a:lnTo>
                    <a:pt x="733" y="256"/>
                  </a:lnTo>
                  <a:lnTo>
                    <a:pt x="735" y="256"/>
                  </a:lnTo>
                  <a:lnTo>
                    <a:pt x="735" y="256"/>
                  </a:lnTo>
                  <a:lnTo>
                    <a:pt x="735" y="256"/>
                  </a:lnTo>
                  <a:lnTo>
                    <a:pt x="735" y="256"/>
                  </a:lnTo>
                  <a:lnTo>
                    <a:pt x="737" y="254"/>
                  </a:lnTo>
                  <a:lnTo>
                    <a:pt x="737" y="254"/>
                  </a:lnTo>
                  <a:lnTo>
                    <a:pt x="741" y="252"/>
                  </a:lnTo>
                  <a:lnTo>
                    <a:pt x="741" y="252"/>
                  </a:lnTo>
                  <a:lnTo>
                    <a:pt x="741" y="252"/>
                  </a:lnTo>
                  <a:lnTo>
                    <a:pt x="741" y="252"/>
                  </a:lnTo>
                  <a:lnTo>
                    <a:pt x="741" y="252"/>
                  </a:lnTo>
                  <a:lnTo>
                    <a:pt x="733" y="256"/>
                  </a:lnTo>
                  <a:lnTo>
                    <a:pt x="731" y="256"/>
                  </a:lnTo>
                  <a:lnTo>
                    <a:pt x="733" y="256"/>
                  </a:lnTo>
                  <a:lnTo>
                    <a:pt x="733" y="256"/>
                  </a:lnTo>
                  <a:close/>
                  <a:moveTo>
                    <a:pt x="721" y="264"/>
                  </a:moveTo>
                  <a:lnTo>
                    <a:pt x="721" y="262"/>
                  </a:lnTo>
                  <a:lnTo>
                    <a:pt x="723" y="262"/>
                  </a:lnTo>
                  <a:lnTo>
                    <a:pt x="721" y="262"/>
                  </a:lnTo>
                  <a:lnTo>
                    <a:pt x="721" y="262"/>
                  </a:lnTo>
                  <a:lnTo>
                    <a:pt x="723" y="260"/>
                  </a:lnTo>
                  <a:lnTo>
                    <a:pt x="725" y="260"/>
                  </a:lnTo>
                  <a:lnTo>
                    <a:pt x="725" y="260"/>
                  </a:lnTo>
                  <a:lnTo>
                    <a:pt x="725" y="260"/>
                  </a:lnTo>
                  <a:lnTo>
                    <a:pt x="721" y="260"/>
                  </a:lnTo>
                  <a:lnTo>
                    <a:pt x="721" y="260"/>
                  </a:lnTo>
                  <a:lnTo>
                    <a:pt x="721" y="262"/>
                  </a:lnTo>
                  <a:lnTo>
                    <a:pt x="721" y="262"/>
                  </a:lnTo>
                  <a:lnTo>
                    <a:pt x="721" y="262"/>
                  </a:lnTo>
                  <a:lnTo>
                    <a:pt x="721" y="262"/>
                  </a:lnTo>
                  <a:lnTo>
                    <a:pt x="721" y="264"/>
                  </a:lnTo>
                  <a:close/>
                  <a:moveTo>
                    <a:pt x="1055" y="664"/>
                  </a:moveTo>
                  <a:lnTo>
                    <a:pt x="1055" y="664"/>
                  </a:lnTo>
                  <a:lnTo>
                    <a:pt x="1055" y="664"/>
                  </a:lnTo>
                  <a:lnTo>
                    <a:pt x="1053" y="664"/>
                  </a:lnTo>
                  <a:lnTo>
                    <a:pt x="1053" y="666"/>
                  </a:lnTo>
                  <a:lnTo>
                    <a:pt x="1053" y="666"/>
                  </a:lnTo>
                  <a:lnTo>
                    <a:pt x="1051" y="666"/>
                  </a:lnTo>
                  <a:lnTo>
                    <a:pt x="1051" y="666"/>
                  </a:lnTo>
                  <a:lnTo>
                    <a:pt x="1051" y="668"/>
                  </a:lnTo>
                  <a:lnTo>
                    <a:pt x="1051" y="668"/>
                  </a:lnTo>
                  <a:lnTo>
                    <a:pt x="1049" y="668"/>
                  </a:lnTo>
                  <a:lnTo>
                    <a:pt x="1049" y="668"/>
                  </a:lnTo>
                  <a:lnTo>
                    <a:pt x="1049" y="668"/>
                  </a:lnTo>
                  <a:lnTo>
                    <a:pt x="1049" y="670"/>
                  </a:lnTo>
                  <a:lnTo>
                    <a:pt x="1049" y="670"/>
                  </a:lnTo>
                  <a:lnTo>
                    <a:pt x="1049" y="670"/>
                  </a:lnTo>
                  <a:lnTo>
                    <a:pt x="1053" y="672"/>
                  </a:lnTo>
                  <a:lnTo>
                    <a:pt x="1053" y="672"/>
                  </a:lnTo>
                  <a:lnTo>
                    <a:pt x="1053" y="672"/>
                  </a:lnTo>
                  <a:lnTo>
                    <a:pt x="1055" y="670"/>
                  </a:lnTo>
                  <a:lnTo>
                    <a:pt x="1057" y="668"/>
                  </a:lnTo>
                  <a:lnTo>
                    <a:pt x="1057" y="668"/>
                  </a:lnTo>
                  <a:lnTo>
                    <a:pt x="1057" y="666"/>
                  </a:lnTo>
                  <a:lnTo>
                    <a:pt x="1057" y="666"/>
                  </a:lnTo>
                  <a:lnTo>
                    <a:pt x="1057" y="666"/>
                  </a:lnTo>
                  <a:lnTo>
                    <a:pt x="1057" y="664"/>
                  </a:lnTo>
                  <a:lnTo>
                    <a:pt x="1057" y="664"/>
                  </a:lnTo>
                  <a:lnTo>
                    <a:pt x="1057" y="664"/>
                  </a:lnTo>
                  <a:lnTo>
                    <a:pt x="1057" y="664"/>
                  </a:lnTo>
                  <a:lnTo>
                    <a:pt x="1057" y="664"/>
                  </a:lnTo>
                  <a:lnTo>
                    <a:pt x="1055" y="664"/>
                  </a:lnTo>
                  <a:close/>
                  <a:moveTo>
                    <a:pt x="1618" y="691"/>
                  </a:moveTo>
                  <a:lnTo>
                    <a:pt x="1618" y="693"/>
                  </a:lnTo>
                  <a:lnTo>
                    <a:pt x="1618" y="693"/>
                  </a:lnTo>
                  <a:lnTo>
                    <a:pt x="1618" y="693"/>
                  </a:lnTo>
                  <a:lnTo>
                    <a:pt x="1618" y="695"/>
                  </a:lnTo>
                  <a:lnTo>
                    <a:pt x="1618" y="695"/>
                  </a:lnTo>
                  <a:lnTo>
                    <a:pt x="1618" y="695"/>
                  </a:lnTo>
                  <a:lnTo>
                    <a:pt x="1618" y="697"/>
                  </a:lnTo>
                  <a:lnTo>
                    <a:pt x="1620" y="697"/>
                  </a:lnTo>
                  <a:lnTo>
                    <a:pt x="1620" y="699"/>
                  </a:lnTo>
                  <a:lnTo>
                    <a:pt x="1620" y="699"/>
                  </a:lnTo>
                  <a:lnTo>
                    <a:pt x="1622" y="699"/>
                  </a:lnTo>
                  <a:lnTo>
                    <a:pt x="1622" y="701"/>
                  </a:lnTo>
                  <a:lnTo>
                    <a:pt x="1622" y="699"/>
                  </a:lnTo>
                  <a:lnTo>
                    <a:pt x="1622" y="699"/>
                  </a:lnTo>
                  <a:lnTo>
                    <a:pt x="1622" y="699"/>
                  </a:lnTo>
                  <a:lnTo>
                    <a:pt x="1622" y="699"/>
                  </a:lnTo>
                  <a:lnTo>
                    <a:pt x="1622" y="699"/>
                  </a:lnTo>
                  <a:lnTo>
                    <a:pt x="1624" y="699"/>
                  </a:lnTo>
                  <a:lnTo>
                    <a:pt x="1624" y="699"/>
                  </a:lnTo>
                  <a:lnTo>
                    <a:pt x="1624" y="699"/>
                  </a:lnTo>
                  <a:lnTo>
                    <a:pt x="1628" y="697"/>
                  </a:lnTo>
                  <a:lnTo>
                    <a:pt x="1628" y="699"/>
                  </a:lnTo>
                  <a:lnTo>
                    <a:pt x="1628" y="699"/>
                  </a:lnTo>
                  <a:lnTo>
                    <a:pt x="1628" y="699"/>
                  </a:lnTo>
                  <a:lnTo>
                    <a:pt x="1630" y="699"/>
                  </a:lnTo>
                  <a:lnTo>
                    <a:pt x="1630" y="699"/>
                  </a:lnTo>
                  <a:lnTo>
                    <a:pt x="1630" y="699"/>
                  </a:lnTo>
                  <a:lnTo>
                    <a:pt x="1630" y="701"/>
                  </a:lnTo>
                  <a:lnTo>
                    <a:pt x="1630" y="701"/>
                  </a:lnTo>
                  <a:lnTo>
                    <a:pt x="1630" y="701"/>
                  </a:lnTo>
                  <a:lnTo>
                    <a:pt x="1630" y="703"/>
                  </a:lnTo>
                  <a:lnTo>
                    <a:pt x="1630" y="703"/>
                  </a:lnTo>
                  <a:lnTo>
                    <a:pt x="1630" y="703"/>
                  </a:lnTo>
                  <a:lnTo>
                    <a:pt x="1632" y="703"/>
                  </a:lnTo>
                  <a:lnTo>
                    <a:pt x="1632" y="703"/>
                  </a:lnTo>
                  <a:lnTo>
                    <a:pt x="1632" y="703"/>
                  </a:lnTo>
                  <a:lnTo>
                    <a:pt x="1632" y="703"/>
                  </a:lnTo>
                  <a:lnTo>
                    <a:pt x="1634" y="703"/>
                  </a:lnTo>
                  <a:lnTo>
                    <a:pt x="1634" y="703"/>
                  </a:lnTo>
                  <a:lnTo>
                    <a:pt x="1634" y="703"/>
                  </a:lnTo>
                  <a:lnTo>
                    <a:pt x="1634" y="703"/>
                  </a:lnTo>
                  <a:lnTo>
                    <a:pt x="1634" y="703"/>
                  </a:lnTo>
                  <a:lnTo>
                    <a:pt x="1634" y="703"/>
                  </a:lnTo>
                  <a:lnTo>
                    <a:pt x="1636" y="703"/>
                  </a:lnTo>
                  <a:lnTo>
                    <a:pt x="1636" y="701"/>
                  </a:lnTo>
                  <a:lnTo>
                    <a:pt x="1636" y="701"/>
                  </a:lnTo>
                  <a:lnTo>
                    <a:pt x="1636" y="701"/>
                  </a:lnTo>
                  <a:lnTo>
                    <a:pt x="1636" y="701"/>
                  </a:lnTo>
                  <a:lnTo>
                    <a:pt x="1636" y="701"/>
                  </a:lnTo>
                  <a:lnTo>
                    <a:pt x="1636" y="701"/>
                  </a:lnTo>
                  <a:lnTo>
                    <a:pt x="1638" y="701"/>
                  </a:lnTo>
                  <a:lnTo>
                    <a:pt x="1638" y="701"/>
                  </a:lnTo>
                  <a:lnTo>
                    <a:pt x="1638" y="699"/>
                  </a:lnTo>
                  <a:lnTo>
                    <a:pt x="1636" y="699"/>
                  </a:lnTo>
                  <a:lnTo>
                    <a:pt x="1636" y="699"/>
                  </a:lnTo>
                  <a:lnTo>
                    <a:pt x="1636" y="699"/>
                  </a:lnTo>
                  <a:lnTo>
                    <a:pt x="1636" y="699"/>
                  </a:lnTo>
                  <a:lnTo>
                    <a:pt x="1636" y="697"/>
                  </a:lnTo>
                  <a:lnTo>
                    <a:pt x="1636" y="697"/>
                  </a:lnTo>
                  <a:lnTo>
                    <a:pt x="1634" y="697"/>
                  </a:lnTo>
                  <a:lnTo>
                    <a:pt x="1634" y="697"/>
                  </a:lnTo>
                  <a:lnTo>
                    <a:pt x="1634" y="697"/>
                  </a:lnTo>
                  <a:lnTo>
                    <a:pt x="1634" y="695"/>
                  </a:lnTo>
                  <a:lnTo>
                    <a:pt x="1634" y="695"/>
                  </a:lnTo>
                  <a:lnTo>
                    <a:pt x="1634" y="695"/>
                  </a:lnTo>
                  <a:lnTo>
                    <a:pt x="1634" y="695"/>
                  </a:lnTo>
                  <a:lnTo>
                    <a:pt x="1634" y="695"/>
                  </a:lnTo>
                  <a:lnTo>
                    <a:pt x="1634" y="695"/>
                  </a:lnTo>
                  <a:lnTo>
                    <a:pt x="1634" y="695"/>
                  </a:lnTo>
                  <a:lnTo>
                    <a:pt x="1636" y="695"/>
                  </a:lnTo>
                  <a:lnTo>
                    <a:pt x="1634" y="693"/>
                  </a:lnTo>
                  <a:lnTo>
                    <a:pt x="1636" y="693"/>
                  </a:lnTo>
                  <a:lnTo>
                    <a:pt x="1636" y="693"/>
                  </a:lnTo>
                  <a:lnTo>
                    <a:pt x="1636" y="693"/>
                  </a:lnTo>
                  <a:lnTo>
                    <a:pt x="1636" y="693"/>
                  </a:lnTo>
                  <a:lnTo>
                    <a:pt x="1636" y="693"/>
                  </a:lnTo>
                  <a:lnTo>
                    <a:pt x="1636" y="693"/>
                  </a:lnTo>
                  <a:lnTo>
                    <a:pt x="1634" y="691"/>
                  </a:lnTo>
                  <a:lnTo>
                    <a:pt x="1634" y="691"/>
                  </a:lnTo>
                  <a:lnTo>
                    <a:pt x="1632" y="691"/>
                  </a:lnTo>
                  <a:lnTo>
                    <a:pt x="1632" y="691"/>
                  </a:lnTo>
                  <a:lnTo>
                    <a:pt x="1630" y="691"/>
                  </a:lnTo>
                  <a:lnTo>
                    <a:pt x="1628" y="691"/>
                  </a:lnTo>
                  <a:lnTo>
                    <a:pt x="1628" y="689"/>
                  </a:lnTo>
                  <a:lnTo>
                    <a:pt x="1626" y="689"/>
                  </a:lnTo>
                  <a:lnTo>
                    <a:pt x="1626" y="691"/>
                  </a:lnTo>
                  <a:lnTo>
                    <a:pt x="1626" y="691"/>
                  </a:lnTo>
                  <a:lnTo>
                    <a:pt x="1624" y="693"/>
                  </a:lnTo>
                  <a:lnTo>
                    <a:pt x="1624" y="691"/>
                  </a:lnTo>
                  <a:lnTo>
                    <a:pt x="1624" y="691"/>
                  </a:lnTo>
                  <a:lnTo>
                    <a:pt x="1626" y="691"/>
                  </a:lnTo>
                  <a:lnTo>
                    <a:pt x="1626" y="689"/>
                  </a:lnTo>
                  <a:lnTo>
                    <a:pt x="1626" y="689"/>
                  </a:lnTo>
                  <a:lnTo>
                    <a:pt x="1626" y="689"/>
                  </a:lnTo>
                  <a:lnTo>
                    <a:pt x="1626" y="689"/>
                  </a:lnTo>
                  <a:lnTo>
                    <a:pt x="1626" y="687"/>
                  </a:lnTo>
                  <a:lnTo>
                    <a:pt x="1626" y="687"/>
                  </a:lnTo>
                  <a:lnTo>
                    <a:pt x="1626" y="687"/>
                  </a:lnTo>
                  <a:lnTo>
                    <a:pt x="1624" y="687"/>
                  </a:lnTo>
                  <a:lnTo>
                    <a:pt x="1624" y="684"/>
                  </a:lnTo>
                  <a:lnTo>
                    <a:pt x="1624" y="684"/>
                  </a:lnTo>
                  <a:lnTo>
                    <a:pt x="1624" y="684"/>
                  </a:lnTo>
                  <a:lnTo>
                    <a:pt x="1624" y="684"/>
                  </a:lnTo>
                  <a:lnTo>
                    <a:pt x="1624" y="682"/>
                  </a:lnTo>
                  <a:lnTo>
                    <a:pt x="1622" y="682"/>
                  </a:lnTo>
                  <a:lnTo>
                    <a:pt x="1620" y="684"/>
                  </a:lnTo>
                  <a:lnTo>
                    <a:pt x="1620" y="684"/>
                  </a:lnTo>
                  <a:lnTo>
                    <a:pt x="1620" y="684"/>
                  </a:lnTo>
                  <a:lnTo>
                    <a:pt x="1620" y="687"/>
                  </a:lnTo>
                  <a:lnTo>
                    <a:pt x="1620" y="687"/>
                  </a:lnTo>
                  <a:lnTo>
                    <a:pt x="1620" y="687"/>
                  </a:lnTo>
                  <a:lnTo>
                    <a:pt x="1620" y="687"/>
                  </a:lnTo>
                  <a:lnTo>
                    <a:pt x="1620" y="691"/>
                  </a:lnTo>
                  <a:lnTo>
                    <a:pt x="1620" y="691"/>
                  </a:lnTo>
                  <a:lnTo>
                    <a:pt x="1618" y="691"/>
                  </a:lnTo>
                  <a:close/>
                  <a:moveTo>
                    <a:pt x="1045" y="682"/>
                  </a:moveTo>
                  <a:lnTo>
                    <a:pt x="1047" y="682"/>
                  </a:lnTo>
                  <a:lnTo>
                    <a:pt x="1045" y="682"/>
                  </a:lnTo>
                  <a:lnTo>
                    <a:pt x="1045" y="680"/>
                  </a:lnTo>
                  <a:lnTo>
                    <a:pt x="1045" y="680"/>
                  </a:lnTo>
                  <a:lnTo>
                    <a:pt x="1045" y="680"/>
                  </a:lnTo>
                  <a:lnTo>
                    <a:pt x="1045" y="680"/>
                  </a:lnTo>
                  <a:lnTo>
                    <a:pt x="1045" y="680"/>
                  </a:lnTo>
                  <a:lnTo>
                    <a:pt x="1045" y="680"/>
                  </a:lnTo>
                  <a:lnTo>
                    <a:pt x="1045" y="680"/>
                  </a:lnTo>
                  <a:lnTo>
                    <a:pt x="1045" y="680"/>
                  </a:lnTo>
                  <a:lnTo>
                    <a:pt x="1045" y="680"/>
                  </a:lnTo>
                  <a:lnTo>
                    <a:pt x="1045" y="680"/>
                  </a:lnTo>
                  <a:lnTo>
                    <a:pt x="1045" y="680"/>
                  </a:lnTo>
                  <a:lnTo>
                    <a:pt x="1045" y="680"/>
                  </a:lnTo>
                  <a:lnTo>
                    <a:pt x="1043" y="680"/>
                  </a:lnTo>
                  <a:lnTo>
                    <a:pt x="1043" y="680"/>
                  </a:lnTo>
                  <a:lnTo>
                    <a:pt x="1043" y="680"/>
                  </a:lnTo>
                  <a:lnTo>
                    <a:pt x="1043" y="680"/>
                  </a:lnTo>
                  <a:lnTo>
                    <a:pt x="1043" y="680"/>
                  </a:lnTo>
                  <a:lnTo>
                    <a:pt x="1043" y="680"/>
                  </a:lnTo>
                  <a:lnTo>
                    <a:pt x="1043" y="680"/>
                  </a:lnTo>
                  <a:lnTo>
                    <a:pt x="1043" y="680"/>
                  </a:lnTo>
                  <a:lnTo>
                    <a:pt x="1045" y="682"/>
                  </a:lnTo>
                  <a:lnTo>
                    <a:pt x="1045" y="682"/>
                  </a:lnTo>
                  <a:lnTo>
                    <a:pt x="1045" y="682"/>
                  </a:lnTo>
                  <a:lnTo>
                    <a:pt x="1045" y="682"/>
                  </a:lnTo>
                  <a:lnTo>
                    <a:pt x="1045" y="682"/>
                  </a:lnTo>
                  <a:close/>
                  <a:moveTo>
                    <a:pt x="1071" y="682"/>
                  </a:moveTo>
                  <a:lnTo>
                    <a:pt x="1071" y="682"/>
                  </a:lnTo>
                  <a:lnTo>
                    <a:pt x="1069" y="687"/>
                  </a:lnTo>
                  <a:lnTo>
                    <a:pt x="1069" y="687"/>
                  </a:lnTo>
                  <a:lnTo>
                    <a:pt x="1071" y="687"/>
                  </a:lnTo>
                  <a:lnTo>
                    <a:pt x="1071" y="687"/>
                  </a:lnTo>
                  <a:lnTo>
                    <a:pt x="1071" y="687"/>
                  </a:lnTo>
                  <a:lnTo>
                    <a:pt x="1071" y="687"/>
                  </a:lnTo>
                  <a:lnTo>
                    <a:pt x="1071" y="687"/>
                  </a:lnTo>
                  <a:lnTo>
                    <a:pt x="1073" y="684"/>
                  </a:lnTo>
                  <a:lnTo>
                    <a:pt x="1073" y="684"/>
                  </a:lnTo>
                  <a:lnTo>
                    <a:pt x="1073" y="682"/>
                  </a:lnTo>
                  <a:lnTo>
                    <a:pt x="1071" y="682"/>
                  </a:lnTo>
                  <a:close/>
                  <a:moveTo>
                    <a:pt x="1063" y="574"/>
                  </a:moveTo>
                  <a:lnTo>
                    <a:pt x="1061" y="574"/>
                  </a:lnTo>
                  <a:lnTo>
                    <a:pt x="1061" y="574"/>
                  </a:lnTo>
                  <a:lnTo>
                    <a:pt x="1061" y="574"/>
                  </a:lnTo>
                  <a:lnTo>
                    <a:pt x="1061" y="574"/>
                  </a:lnTo>
                  <a:lnTo>
                    <a:pt x="1063" y="574"/>
                  </a:lnTo>
                  <a:lnTo>
                    <a:pt x="1063" y="574"/>
                  </a:lnTo>
                  <a:lnTo>
                    <a:pt x="1065" y="572"/>
                  </a:lnTo>
                  <a:lnTo>
                    <a:pt x="1065" y="572"/>
                  </a:lnTo>
                  <a:lnTo>
                    <a:pt x="1065" y="572"/>
                  </a:lnTo>
                  <a:lnTo>
                    <a:pt x="1065" y="570"/>
                  </a:lnTo>
                  <a:lnTo>
                    <a:pt x="1065" y="570"/>
                  </a:lnTo>
                  <a:lnTo>
                    <a:pt x="1065" y="570"/>
                  </a:lnTo>
                  <a:lnTo>
                    <a:pt x="1065" y="570"/>
                  </a:lnTo>
                  <a:lnTo>
                    <a:pt x="1065" y="570"/>
                  </a:lnTo>
                  <a:lnTo>
                    <a:pt x="1067" y="568"/>
                  </a:lnTo>
                  <a:lnTo>
                    <a:pt x="1067" y="568"/>
                  </a:lnTo>
                  <a:lnTo>
                    <a:pt x="1067" y="568"/>
                  </a:lnTo>
                  <a:lnTo>
                    <a:pt x="1067" y="568"/>
                  </a:lnTo>
                  <a:lnTo>
                    <a:pt x="1067" y="568"/>
                  </a:lnTo>
                  <a:lnTo>
                    <a:pt x="1067" y="566"/>
                  </a:lnTo>
                  <a:lnTo>
                    <a:pt x="1067" y="566"/>
                  </a:lnTo>
                  <a:lnTo>
                    <a:pt x="1065" y="566"/>
                  </a:lnTo>
                  <a:lnTo>
                    <a:pt x="1065" y="566"/>
                  </a:lnTo>
                  <a:lnTo>
                    <a:pt x="1065" y="566"/>
                  </a:lnTo>
                  <a:lnTo>
                    <a:pt x="1065" y="566"/>
                  </a:lnTo>
                  <a:lnTo>
                    <a:pt x="1065" y="568"/>
                  </a:lnTo>
                  <a:lnTo>
                    <a:pt x="1065" y="568"/>
                  </a:lnTo>
                  <a:lnTo>
                    <a:pt x="1065" y="568"/>
                  </a:lnTo>
                  <a:lnTo>
                    <a:pt x="1065" y="570"/>
                  </a:lnTo>
                  <a:lnTo>
                    <a:pt x="1063" y="570"/>
                  </a:lnTo>
                  <a:lnTo>
                    <a:pt x="1063" y="570"/>
                  </a:lnTo>
                  <a:lnTo>
                    <a:pt x="1063" y="572"/>
                  </a:lnTo>
                  <a:lnTo>
                    <a:pt x="1063" y="572"/>
                  </a:lnTo>
                  <a:lnTo>
                    <a:pt x="1063" y="572"/>
                  </a:lnTo>
                  <a:lnTo>
                    <a:pt x="1063" y="572"/>
                  </a:lnTo>
                  <a:lnTo>
                    <a:pt x="1063" y="572"/>
                  </a:lnTo>
                  <a:lnTo>
                    <a:pt x="1063" y="574"/>
                  </a:lnTo>
                  <a:lnTo>
                    <a:pt x="1063" y="574"/>
                  </a:lnTo>
                  <a:close/>
                  <a:moveTo>
                    <a:pt x="1067" y="680"/>
                  </a:moveTo>
                  <a:lnTo>
                    <a:pt x="1067" y="678"/>
                  </a:lnTo>
                  <a:lnTo>
                    <a:pt x="1067" y="678"/>
                  </a:lnTo>
                  <a:lnTo>
                    <a:pt x="1067" y="678"/>
                  </a:lnTo>
                  <a:lnTo>
                    <a:pt x="1067" y="678"/>
                  </a:lnTo>
                  <a:lnTo>
                    <a:pt x="1067" y="678"/>
                  </a:lnTo>
                  <a:lnTo>
                    <a:pt x="1067" y="680"/>
                  </a:lnTo>
                  <a:lnTo>
                    <a:pt x="1067" y="680"/>
                  </a:lnTo>
                  <a:lnTo>
                    <a:pt x="1065" y="682"/>
                  </a:lnTo>
                  <a:lnTo>
                    <a:pt x="1065" y="682"/>
                  </a:lnTo>
                  <a:lnTo>
                    <a:pt x="1065" y="680"/>
                  </a:lnTo>
                  <a:lnTo>
                    <a:pt x="1065" y="680"/>
                  </a:lnTo>
                  <a:lnTo>
                    <a:pt x="1065" y="680"/>
                  </a:lnTo>
                  <a:lnTo>
                    <a:pt x="1063" y="680"/>
                  </a:lnTo>
                  <a:lnTo>
                    <a:pt x="1063" y="682"/>
                  </a:lnTo>
                  <a:lnTo>
                    <a:pt x="1063" y="682"/>
                  </a:lnTo>
                  <a:lnTo>
                    <a:pt x="1063" y="684"/>
                  </a:lnTo>
                  <a:lnTo>
                    <a:pt x="1063" y="684"/>
                  </a:lnTo>
                  <a:lnTo>
                    <a:pt x="1063" y="682"/>
                  </a:lnTo>
                  <a:lnTo>
                    <a:pt x="1063" y="680"/>
                  </a:lnTo>
                  <a:lnTo>
                    <a:pt x="1065" y="678"/>
                  </a:lnTo>
                  <a:lnTo>
                    <a:pt x="1065" y="676"/>
                  </a:lnTo>
                  <a:lnTo>
                    <a:pt x="1065" y="676"/>
                  </a:lnTo>
                  <a:lnTo>
                    <a:pt x="1063" y="676"/>
                  </a:lnTo>
                  <a:lnTo>
                    <a:pt x="1063" y="676"/>
                  </a:lnTo>
                  <a:lnTo>
                    <a:pt x="1063" y="676"/>
                  </a:lnTo>
                  <a:lnTo>
                    <a:pt x="1063" y="676"/>
                  </a:lnTo>
                  <a:lnTo>
                    <a:pt x="1061" y="678"/>
                  </a:lnTo>
                  <a:lnTo>
                    <a:pt x="1061" y="678"/>
                  </a:lnTo>
                  <a:lnTo>
                    <a:pt x="1061" y="678"/>
                  </a:lnTo>
                  <a:lnTo>
                    <a:pt x="1059" y="678"/>
                  </a:lnTo>
                  <a:lnTo>
                    <a:pt x="1059" y="676"/>
                  </a:lnTo>
                  <a:lnTo>
                    <a:pt x="1059" y="676"/>
                  </a:lnTo>
                  <a:lnTo>
                    <a:pt x="1061" y="676"/>
                  </a:lnTo>
                  <a:lnTo>
                    <a:pt x="1059" y="676"/>
                  </a:lnTo>
                  <a:lnTo>
                    <a:pt x="1059" y="676"/>
                  </a:lnTo>
                  <a:lnTo>
                    <a:pt x="1059" y="676"/>
                  </a:lnTo>
                  <a:lnTo>
                    <a:pt x="1059" y="676"/>
                  </a:lnTo>
                  <a:lnTo>
                    <a:pt x="1059" y="674"/>
                  </a:lnTo>
                  <a:lnTo>
                    <a:pt x="1059" y="674"/>
                  </a:lnTo>
                  <a:lnTo>
                    <a:pt x="1059" y="674"/>
                  </a:lnTo>
                  <a:lnTo>
                    <a:pt x="1059" y="674"/>
                  </a:lnTo>
                  <a:lnTo>
                    <a:pt x="1059" y="676"/>
                  </a:lnTo>
                  <a:lnTo>
                    <a:pt x="1057" y="674"/>
                  </a:lnTo>
                  <a:lnTo>
                    <a:pt x="1057" y="674"/>
                  </a:lnTo>
                  <a:lnTo>
                    <a:pt x="1057" y="676"/>
                  </a:lnTo>
                  <a:lnTo>
                    <a:pt x="1057" y="676"/>
                  </a:lnTo>
                  <a:lnTo>
                    <a:pt x="1057" y="678"/>
                  </a:lnTo>
                  <a:lnTo>
                    <a:pt x="1057" y="678"/>
                  </a:lnTo>
                  <a:lnTo>
                    <a:pt x="1057" y="678"/>
                  </a:lnTo>
                  <a:lnTo>
                    <a:pt x="1057" y="680"/>
                  </a:lnTo>
                  <a:lnTo>
                    <a:pt x="1055" y="680"/>
                  </a:lnTo>
                  <a:lnTo>
                    <a:pt x="1057" y="678"/>
                  </a:lnTo>
                  <a:lnTo>
                    <a:pt x="1055" y="678"/>
                  </a:lnTo>
                  <a:lnTo>
                    <a:pt x="1055" y="678"/>
                  </a:lnTo>
                  <a:lnTo>
                    <a:pt x="1055" y="678"/>
                  </a:lnTo>
                  <a:lnTo>
                    <a:pt x="1055" y="676"/>
                  </a:lnTo>
                  <a:lnTo>
                    <a:pt x="1055" y="678"/>
                  </a:lnTo>
                  <a:lnTo>
                    <a:pt x="1055" y="678"/>
                  </a:lnTo>
                  <a:lnTo>
                    <a:pt x="1055" y="678"/>
                  </a:lnTo>
                  <a:lnTo>
                    <a:pt x="1055" y="678"/>
                  </a:lnTo>
                  <a:lnTo>
                    <a:pt x="1053" y="678"/>
                  </a:lnTo>
                  <a:lnTo>
                    <a:pt x="1053" y="676"/>
                  </a:lnTo>
                  <a:lnTo>
                    <a:pt x="1055" y="676"/>
                  </a:lnTo>
                  <a:lnTo>
                    <a:pt x="1055" y="676"/>
                  </a:lnTo>
                  <a:lnTo>
                    <a:pt x="1053" y="676"/>
                  </a:lnTo>
                  <a:lnTo>
                    <a:pt x="1053" y="676"/>
                  </a:lnTo>
                  <a:lnTo>
                    <a:pt x="1053" y="674"/>
                  </a:lnTo>
                  <a:lnTo>
                    <a:pt x="1053" y="674"/>
                  </a:lnTo>
                  <a:lnTo>
                    <a:pt x="1053" y="672"/>
                  </a:lnTo>
                  <a:lnTo>
                    <a:pt x="1051" y="672"/>
                  </a:lnTo>
                  <a:lnTo>
                    <a:pt x="1051" y="672"/>
                  </a:lnTo>
                  <a:lnTo>
                    <a:pt x="1051" y="674"/>
                  </a:lnTo>
                  <a:lnTo>
                    <a:pt x="1051" y="672"/>
                  </a:lnTo>
                  <a:lnTo>
                    <a:pt x="1051" y="672"/>
                  </a:lnTo>
                  <a:lnTo>
                    <a:pt x="1049" y="672"/>
                  </a:lnTo>
                  <a:lnTo>
                    <a:pt x="1049" y="672"/>
                  </a:lnTo>
                  <a:lnTo>
                    <a:pt x="1049" y="672"/>
                  </a:lnTo>
                  <a:lnTo>
                    <a:pt x="1049" y="672"/>
                  </a:lnTo>
                  <a:lnTo>
                    <a:pt x="1049" y="674"/>
                  </a:lnTo>
                  <a:lnTo>
                    <a:pt x="1049" y="674"/>
                  </a:lnTo>
                  <a:lnTo>
                    <a:pt x="1049" y="674"/>
                  </a:lnTo>
                  <a:lnTo>
                    <a:pt x="1049" y="674"/>
                  </a:lnTo>
                  <a:lnTo>
                    <a:pt x="1049" y="674"/>
                  </a:lnTo>
                  <a:lnTo>
                    <a:pt x="1047" y="674"/>
                  </a:lnTo>
                  <a:lnTo>
                    <a:pt x="1047" y="674"/>
                  </a:lnTo>
                  <a:lnTo>
                    <a:pt x="1047" y="674"/>
                  </a:lnTo>
                  <a:lnTo>
                    <a:pt x="1047" y="674"/>
                  </a:lnTo>
                  <a:lnTo>
                    <a:pt x="1047" y="674"/>
                  </a:lnTo>
                  <a:lnTo>
                    <a:pt x="1047" y="676"/>
                  </a:lnTo>
                  <a:lnTo>
                    <a:pt x="1045" y="676"/>
                  </a:lnTo>
                  <a:lnTo>
                    <a:pt x="1043" y="676"/>
                  </a:lnTo>
                  <a:lnTo>
                    <a:pt x="1043" y="676"/>
                  </a:lnTo>
                  <a:lnTo>
                    <a:pt x="1043" y="676"/>
                  </a:lnTo>
                  <a:lnTo>
                    <a:pt x="1045" y="678"/>
                  </a:lnTo>
                  <a:lnTo>
                    <a:pt x="1047" y="678"/>
                  </a:lnTo>
                  <a:lnTo>
                    <a:pt x="1047" y="678"/>
                  </a:lnTo>
                  <a:lnTo>
                    <a:pt x="1047" y="678"/>
                  </a:lnTo>
                  <a:lnTo>
                    <a:pt x="1045" y="678"/>
                  </a:lnTo>
                  <a:lnTo>
                    <a:pt x="1045" y="678"/>
                  </a:lnTo>
                  <a:lnTo>
                    <a:pt x="1045" y="678"/>
                  </a:lnTo>
                  <a:lnTo>
                    <a:pt x="1047" y="680"/>
                  </a:lnTo>
                  <a:lnTo>
                    <a:pt x="1047" y="680"/>
                  </a:lnTo>
                  <a:lnTo>
                    <a:pt x="1047" y="680"/>
                  </a:lnTo>
                  <a:lnTo>
                    <a:pt x="1047" y="682"/>
                  </a:lnTo>
                  <a:lnTo>
                    <a:pt x="1047" y="682"/>
                  </a:lnTo>
                  <a:lnTo>
                    <a:pt x="1047" y="682"/>
                  </a:lnTo>
                  <a:lnTo>
                    <a:pt x="1047" y="684"/>
                  </a:lnTo>
                  <a:lnTo>
                    <a:pt x="1045" y="682"/>
                  </a:lnTo>
                  <a:lnTo>
                    <a:pt x="1045" y="682"/>
                  </a:lnTo>
                  <a:lnTo>
                    <a:pt x="1045" y="682"/>
                  </a:lnTo>
                  <a:lnTo>
                    <a:pt x="1045" y="682"/>
                  </a:lnTo>
                  <a:lnTo>
                    <a:pt x="1043" y="682"/>
                  </a:lnTo>
                  <a:lnTo>
                    <a:pt x="1040" y="682"/>
                  </a:lnTo>
                  <a:lnTo>
                    <a:pt x="1040" y="682"/>
                  </a:lnTo>
                  <a:lnTo>
                    <a:pt x="1040" y="680"/>
                  </a:lnTo>
                  <a:lnTo>
                    <a:pt x="1038" y="680"/>
                  </a:lnTo>
                  <a:lnTo>
                    <a:pt x="1038" y="680"/>
                  </a:lnTo>
                  <a:lnTo>
                    <a:pt x="1038" y="682"/>
                  </a:lnTo>
                  <a:lnTo>
                    <a:pt x="1036" y="682"/>
                  </a:lnTo>
                  <a:lnTo>
                    <a:pt x="1038" y="684"/>
                  </a:lnTo>
                  <a:lnTo>
                    <a:pt x="1038" y="684"/>
                  </a:lnTo>
                  <a:lnTo>
                    <a:pt x="1038" y="684"/>
                  </a:lnTo>
                  <a:lnTo>
                    <a:pt x="1038" y="684"/>
                  </a:lnTo>
                  <a:lnTo>
                    <a:pt x="1038" y="687"/>
                  </a:lnTo>
                  <a:lnTo>
                    <a:pt x="1040" y="687"/>
                  </a:lnTo>
                  <a:lnTo>
                    <a:pt x="1043" y="689"/>
                  </a:lnTo>
                  <a:lnTo>
                    <a:pt x="1043" y="689"/>
                  </a:lnTo>
                  <a:lnTo>
                    <a:pt x="1043" y="689"/>
                  </a:lnTo>
                  <a:lnTo>
                    <a:pt x="1040" y="689"/>
                  </a:lnTo>
                  <a:lnTo>
                    <a:pt x="1040" y="687"/>
                  </a:lnTo>
                  <a:lnTo>
                    <a:pt x="1040" y="687"/>
                  </a:lnTo>
                  <a:lnTo>
                    <a:pt x="1040" y="689"/>
                  </a:lnTo>
                  <a:lnTo>
                    <a:pt x="1040" y="689"/>
                  </a:lnTo>
                  <a:lnTo>
                    <a:pt x="1040" y="689"/>
                  </a:lnTo>
                  <a:lnTo>
                    <a:pt x="1038" y="689"/>
                  </a:lnTo>
                  <a:lnTo>
                    <a:pt x="1038" y="687"/>
                  </a:lnTo>
                  <a:lnTo>
                    <a:pt x="1038" y="687"/>
                  </a:lnTo>
                  <a:lnTo>
                    <a:pt x="1034" y="687"/>
                  </a:lnTo>
                  <a:lnTo>
                    <a:pt x="1034" y="687"/>
                  </a:lnTo>
                  <a:lnTo>
                    <a:pt x="1034" y="689"/>
                  </a:lnTo>
                  <a:lnTo>
                    <a:pt x="1034" y="689"/>
                  </a:lnTo>
                  <a:lnTo>
                    <a:pt x="1034" y="691"/>
                  </a:lnTo>
                  <a:lnTo>
                    <a:pt x="1034" y="691"/>
                  </a:lnTo>
                  <a:lnTo>
                    <a:pt x="1036" y="691"/>
                  </a:lnTo>
                  <a:lnTo>
                    <a:pt x="1038" y="691"/>
                  </a:lnTo>
                  <a:lnTo>
                    <a:pt x="1038" y="693"/>
                  </a:lnTo>
                  <a:lnTo>
                    <a:pt x="1038" y="693"/>
                  </a:lnTo>
                  <a:lnTo>
                    <a:pt x="1038" y="693"/>
                  </a:lnTo>
                  <a:lnTo>
                    <a:pt x="1038" y="695"/>
                  </a:lnTo>
                  <a:lnTo>
                    <a:pt x="1040" y="695"/>
                  </a:lnTo>
                  <a:lnTo>
                    <a:pt x="1043" y="697"/>
                  </a:lnTo>
                  <a:lnTo>
                    <a:pt x="1045" y="697"/>
                  </a:lnTo>
                  <a:lnTo>
                    <a:pt x="1047" y="697"/>
                  </a:lnTo>
                  <a:lnTo>
                    <a:pt x="1047" y="697"/>
                  </a:lnTo>
                  <a:lnTo>
                    <a:pt x="1047" y="695"/>
                  </a:lnTo>
                  <a:lnTo>
                    <a:pt x="1047" y="693"/>
                  </a:lnTo>
                  <a:lnTo>
                    <a:pt x="1047" y="695"/>
                  </a:lnTo>
                  <a:lnTo>
                    <a:pt x="1047" y="695"/>
                  </a:lnTo>
                  <a:lnTo>
                    <a:pt x="1049" y="695"/>
                  </a:lnTo>
                  <a:lnTo>
                    <a:pt x="1049" y="693"/>
                  </a:lnTo>
                  <a:lnTo>
                    <a:pt x="1049" y="693"/>
                  </a:lnTo>
                  <a:lnTo>
                    <a:pt x="1049" y="693"/>
                  </a:lnTo>
                  <a:lnTo>
                    <a:pt x="1051" y="693"/>
                  </a:lnTo>
                  <a:lnTo>
                    <a:pt x="1051" y="693"/>
                  </a:lnTo>
                  <a:lnTo>
                    <a:pt x="1051" y="693"/>
                  </a:lnTo>
                  <a:lnTo>
                    <a:pt x="1051" y="693"/>
                  </a:lnTo>
                  <a:lnTo>
                    <a:pt x="1051" y="691"/>
                  </a:lnTo>
                  <a:lnTo>
                    <a:pt x="1051" y="691"/>
                  </a:lnTo>
                  <a:lnTo>
                    <a:pt x="1051" y="689"/>
                  </a:lnTo>
                  <a:lnTo>
                    <a:pt x="1051" y="687"/>
                  </a:lnTo>
                  <a:lnTo>
                    <a:pt x="1051" y="687"/>
                  </a:lnTo>
                  <a:lnTo>
                    <a:pt x="1051" y="687"/>
                  </a:lnTo>
                  <a:lnTo>
                    <a:pt x="1053" y="687"/>
                  </a:lnTo>
                  <a:lnTo>
                    <a:pt x="1053" y="687"/>
                  </a:lnTo>
                  <a:lnTo>
                    <a:pt x="1053" y="689"/>
                  </a:lnTo>
                  <a:lnTo>
                    <a:pt x="1053" y="691"/>
                  </a:lnTo>
                  <a:lnTo>
                    <a:pt x="1053" y="693"/>
                  </a:lnTo>
                  <a:lnTo>
                    <a:pt x="1053" y="693"/>
                  </a:lnTo>
                  <a:lnTo>
                    <a:pt x="1053" y="691"/>
                  </a:lnTo>
                  <a:lnTo>
                    <a:pt x="1055" y="691"/>
                  </a:lnTo>
                  <a:lnTo>
                    <a:pt x="1055" y="691"/>
                  </a:lnTo>
                  <a:lnTo>
                    <a:pt x="1055" y="691"/>
                  </a:lnTo>
                  <a:lnTo>
                    <a:pt x="1057" y="691"/>
                  </a:lnTo>
                  <a:lnTo>
                    <a:pt x="1057" y="691"/>
                  </a:lnTo>
                  <a:lnTo>
                    <a:pt x="1057" y="691"/>
                  </a:lnTo>
                  <a:lnTo>
                    <a:pt x="1057" y="691"/>
                  </a:lnTo>
                  <a:lnTo>
                    <a:pt x="1057" y="691"/>
                  </a:lnTo>
                  <a:lnTo>
                    <a:pt x="1057" y="691"/>
                  </a:lnTo>
                  <a:lnTo>
                    <a:pt x="1059" y="691"/>
                  </a:lnTo>
                  <a:lnTo>
                    <a:pt x="1059" y="691"/>
                  </a:lnTo>
                  <a:lnTo>
                    <a:pt x="1059" y="691"/>
                  </a:lnTo>
                  <a:lnTo>
                    <a:pt x="1059" y="691"/>
                  </a:lnTo>
                  <a:lnTo>
                    <a:pt x="1059" y="691"/>
                  </a:lnTo>
                  <a:lnTo>
                    <a:pt x="1059" y="691"/>
                  </a:lnTo>
                  <a:lnTo>
                    <a:pt x="1059" y="689"/>
                  </a:lnTo>
                  <a:lnTo>
                    <a:pt x="1059" y="689"/>
                  </a:lnTo>
                  <a:lnTo>
                    <a:pt x="1059" y="689"/>
                  </a:lnTo>
                  <a:lnTo>
                    <a:pt x="1059" y="687"/>
                  </a:lnTo>
                  <a:lnTo>
                    <a:pt x="1057" y="687"/>
                  </a:lnTo>
                  <a:lnTo>
                    <a:pt x="1057" y="687"/>
                  </a:lnTo>
                  <a:lnTo>
                    <a:pt x="1057" y="687"/>
                  </a:lnTo>
                  <a:lnTo>
                    <a:pt x="1057" y="687"/>
                  </a:lnTo>
                  <a:lnTo>
                    <a:pt x="1057" y="687"/>
                  </a:lnTo>
                  <a:lnTo>
                    <a:pt x="1059" y="687"/>
                  </a:lnTo>
                  <a:lnTo>
                    <a:pt x="1059" y="687"/>
                  </a:lnTo>
                  <a:lnTo>
                    <a:pt x="1059" y="687"/>
                  </a:lnTo>
                  <a:lnTo>
                    <a:pt x="1059" y="687"/>
                  </a:lnTo>
                  <a:lnTo>
                    <a:pt x="1059" y="687"/>
                  </a:lnTo>
                  <a:lnTo>
                    <a:pt x="1059" y="687"/>
                  </a:lnTo>
                  <a:lnTo>
                    <a:pt x="1059" y="684"/>
                  </a:lnTo>
                  <a:lnTo>
                    <a:pt x="1059" y="684"/>
                  </a:lnTo>
                  <a:lnTo>
                    <a:pt x="1059" y="682"/>
                  </a:lnTo>
                  <a:lnTo>
                    <a:pt x="1059" y="684"/>
                  </a:lnTo>
                  <a:lnTo>
                    <a:pt x="1059" y="682"/>
                  </a:lnTo>
                  <a:lnTo>
                    <a:pt x="1059" y="682"/>
                  </a:lnTo>
                  <a:lnTo>
                    <a:pt x="1059" y="682"/>
                  </a:lnTo>
                  <a:lnTo>
                    <a:pt x="1061" y="682"/>
                  </a:lnTo>
                  <a:lnTo>
                    <a:pt x="1061" y="682"/>
                  </a:lnTo>
                  <a:lnTo>
                    <a:pt x="1061" y="684"/>
                  </a:lnTo>
                  <a:lnTo>
                    <a:pt x="1061" y="687"/>
                  </a:lnTo>
                  <a:lnTo>
                    <a:pt x="1061" y="687"/>
                  </a:lnTo>
                  <a:lnTo>
                    <a:pt x="1063" y="689"/>
                  </a:lnTo>
                  <a:lnTo>
                    <a:pt x="1063" y="689"/>
                  </a:lnTo>
                  <a:lnTo>
                    <a:pt x="1065" y="689"/>
                  </a:lnTo>
                  <a:lnTo>
                    <a:pt x="1065" y="687"/>
                  </a:lnTo>
                  <a:lnTo>
                    <a:pt x="1065" y="687"/>
                  </a:lnTo>
                  <a:lnTo>
                    <a:pt x="1065" y="687"/>
                  </a:lnTo>
                  <a:lnTo>
                    <a:pt x="1065" y="687"/>
                  </a:lnTo>
                  <a:lnTo>
                    <a:pt x="1065" y="687"/>
                  </a:lnTo>
                  <a:lnTo>
                    <a:pt x="1067" y="687"/>
                  </a:lnTo>
                  <a:lnTo>
                    <a:pt x="1067" y="684"/>
                  </a:lnTo>
                  <a:lnTo>
                    <a:pt x="1067" y="684"/>
                  </a:lnTo>
                  <a:lnTo>
                    <a:pt x="1067" y="682"/>
                  </a:lnTo>
                  <a:lnTo>
                    <a:pt x="1067" y="682"/>
                  </a:lnTo>
                  <a:lnTo>
                    <a:pt x="1067" y="680"/>
                  </a:lnTo>
                  <a:lnTo>
                    <a:pt x="1067" y="680"/>
                  </a:lnTo>
                  <a:lnTo>
                    <a:pt x="1067" y="680"/>
                  </a:lnTo>
                  <a:close/>
                  <a:moveTo>
                    <a:pt x="1057" y="650"/>
                  </a:moveTo>
                  <a:lnTo>
                    <a:pt x="1057" y="650"/>
                  </a:lnTo>
                  <a:lnTo>
                    <a:pt x="1057" y="650"/>
                  </a:lnTo>
                  <a:lnTo>
                    <a:pt x="1057" y="650"/>
                  </a:lnTo>
                  <a:lnTo>
                    <a:pt x="1059" y="650"/>
                  </a:lnTo>
                  <a:lnTo>
                    <a:pt x="1059" y="648"/>
                  </a:lnTo>
                  <a:lnTo>
                    <a:pt x="1061" y="648"/>
                  </a:lnTo>
                  <a:lnTo>
                    <a:pt x="1061" y="648"/>
                  </a:lnTo>
                  <a:lnTo>
                    <a:pt x="1061" y="648"/>
                  </a:lnTo>
                  <a:lnTo>
                    <a:pt x="1061" y="648"/>
                  </a:lnTo>
                  <a:lnTo>
                    <a:pt x="1061" y="648"/>
                  </a:lnTo>
                  <a:lnTo>
                    <a:pt x="1061" y="648"/>
                  </a:lnTo>
                  <a:lnTo>
                    <a:pt x="1061" y="648"/>
                  </a:lnTo>
                  <a:lnTo>
                    <a:pt x="1061" y="648"/>
                  </a:lnTo>
                  <a:lnTo>
                    <a:pt x="1059" y="648"/>
                  </a:lnTo>
                  <a:lnTo>
                    <a:pt x="1059" y="648"/>
                  </a:lnTo>
                  <a:lnTo>
                    <a:pt x="1057" y="646"/>
                  </a:lnTo>
                  <a:lnTo>
                    <a:pt x="1057" y="646"/>
                  </a:lnTo>
                  <a:lnTo>
                    <a:pt x="1057" y="648"/>
                  </a:lnTo>
                  <a:lnTo>
                    <a:pt x="1057" y="648"/>
                  </a:lnTo>
                  <a:lnTo>
                    <a:pt x="1057" y="650"/>
                  </a:lnTo>
                  <a:close/>
                  <a:moveTo>
                    <a:pt x="1065" y="648"/>
                  </a:moveTo>
                  <a:lnTo>
                    <a:pt x="1063" y="650"/>
                  </a:lnTo>
                  <a:lnTo>
                    <a:pt x="1065" y="650"/>
                  </a:lnTo>
                  <a:lnTo>
                    <a:pt x="1065" y="650"/>
                  </a:lnTo>
                  <a:lnTo>
                    <a:pt x="1065" y="650"/>
                  </a:lnTo>
                  <a:lnTo>
                    <a:pt x="1065" y="648"/>
                  </a:lnTo>
                  <a:lnTo>
                    <a:pt x="1065" y="648"/>
                  </a:lnTo>
                  <a:lnTo>
                    <a:pt x="1065" y="648"/>
                  </a:lnTo>
                  <a:lnTo>
                    <a:pt x="1065" y="648"/>
                  </a:lnTo>
                  <a:lnTo>
                    <a:pt x="1065" y="648"/>
                  </a:lnTo>
                  <a:lnTo>
                    <a:pt x="1065" y="648"/>
                  </a:lnTo>
                  <a:lnTo>
                    <a:pt x="1065" y="648"/>
                  </a:lnTo>
                  <a:lnTo>
                    <a:pt x="1065" y="648"/>
                  </a:lnTo>
                  <a:lnTo>
                    <a:pt x="1065" y="648"/>
                  </a:lnTo>
                  <a:lnTo>
                    <a:pt x="1065" y="648"/>
                  </a:lnTo>
                  <a:lnTo>
                    <a:pt x="1065" y="648"/>
                  </a:lnTo>
                  <a:lnTo>
                    <a:pt x="1065" y="648"/>
                  </a:lnTo>
                  <a:lnTo>
                    <a:pt x="1065" y="648"/>
                  </a:lnTo>
                  <a:close/>
                  <a:moveTo>
                    <a:pt x="1110" y="619"/>
                  </a:moveTo>
                  <a:lnTo>
                    <a:pt x="1110" y="619"/>
                  </a:lnTo>
                  <a:lnTo>
                    <a:pt x="1108" y="619"/>
                  </a:lnTo>
                  <a:lnTo>
                    <a:pt x="1108" y="619"/>
                  </a:lnTo>
                  <a:lnTo>
                    <a:pt x="1106" y="621"/>
                  </a:lnTo>
                  <a:lnTo>
                    <a:pt x="1106" y="621"/>
                  </a:lnTo>
                  <a:lnTo>
                    <a:pt x="1106" y="621"/>
                  </a:lnTo>
                  <a:lnTo>
                    <a:pt x="1108" y="621"/>
                  </a:lnTo>
                  <a:lnTo>
                    <a:pt x="1108" y="621"/>
                  </a:lnTo>
                  <a:lnTo>
                    <a:pt x="1108" y="621"/>
                  </a:lnTo>
                  <a:lnTo>
                    <a:pt x="1108" y="621"/>
                  </a:lnTo>
                  <a:lnTo>
                    <a:pt x="1108" y="621"/>
                  </a:lnTo>
                  <a:lnTo>
                    <a:pt x="1108" y="621"/>
                  </a:lnTo>
                  <a:lnTo>
                    <a:pt x="1108" y="619"/>
                  </a:lnTo>
                  <a:lnTo>
                    <a:pt x="1110" y="619"/>
                  </a:lnTo>
                  <a:lnTo>
                    <a:pt x="1110" y="621"/>
                  </a:lnTo>
                  <a:lnTo>
                    <a:pt x="1110" y="621"/>
                  </a:lnTo>
                  <a:lnTo>
                    <a:pt x="1110" y="621"/>
                  </a:lnTo>
                  <a:lnTo>
                    <a:pt x="1110" y="621"/>
                  </a:lnTo>
                  <a:lnTo>
                    <a:pt x="1110" y="621"/>
                  </a:lnTo>
                  <a:lnTo>
                    <a:pt x="1110" y="619"/>
                  </a:lnTo>
                  <a:lnTo>
                    <a:pt x="1110" y="619"/>
                  </a:lnTo>
                  <a:lnTo>
                    <a:pt x="1110" y="619"/>
                  </a:lnTo>
                  <a:close/>
                  <a:moveTo>
                    <a:pt x="1165" y="551"/>
                  </a:moveTo>
                  <a:lnTo>
                    <a:pt x="1165" y="551"/>
                  </a:lnTo>
                  <a:lnTo>
                    <a:pt x="1167" y="551"/>
                  </a:lnTo>
                  <a:lnTo>
                    <a:pt x="1167" y="551"/>
                  </a:lnTo>
                  <a:lnTo>
                    <a:pt x="1167" y="551"/>
                  </a:lnTo>
                  <a:lnTo>
                    <a:pt x="1167" y="549"/>
                  </a:lnTo>
                  <a:lnTo>
                    <a:pt x="1167" y="549"/>
                  </a:lnTo>
                  <a:lnTo>
                    <a:pt x="1169" y="549"/>
                  </a:lnTo>
                  <a:lnTo>
                    <a:pt x="1167" y="549"/>
                  </a:lnTo>
                  <a:lnTo>
                    <a:pt x="1167" y="549"/>
                  </a:lnTo>
                  <a:lnTo>
                    <a:pt x="1167" y="547"/>
                  </a:lnTo>
                  <a:lnTo>
                    <a:pt x="1167" y="547"/>
                  </a:lnTo>
                  <a:lnTo>
                    <a:pt x="1167" y="547"/>
                  </a:lnTo>
                  <a:lnTo>
                    <a:pt x="1165" y="547"/>
                  </a:lnTo>
                  <a:lnTo>
                    <a:pt x="1165" y="549"/>
                  </a:lnTo>
                  <a:lnTo>
                    <a:pt x="1165" y="547"/>
                  </a:lnTo>
                  <a:lnTo>
                    <a:pt x="1165" y="547"/>
                  </a:lnTo>
                  <a:lnTo>
                    <a:pt x="1165" y="547"/>
                  </a:lnTo>
                  <a:lnTo>
                    <a:pt x="1165" y="547"/>
                  </a:lnTo>
                  <a:lnTo>
                    <a:pt x="1165" y="547"/>
                  </a:lnTo>
                  <a:lnTo>
                    <a:pt x="1165" y="547"/>
                  </a:lnTo>
                  <a:lnTo>
                    <a:pt x="1165" y="549"/>
                  </a:lnTo>
                  <a:lnTo>
                    <a:pt x="1165" y="549"/>
                  </a:lnTo>
                  <a:lnTo>
                    <a:pt x="1165" y="547"/>
                  </a:lnTo>
                  <a:lnTo>
                    <a:pt x="1165" y="547"/>
                  </a:lnTo>
                  <a:lnTo>
                    <a:pt x="1163" y="549"/>
                  </a:lnTo>
                  <a:lnTo>
                    <a:pt x="1165" y="551"/>
                  </a:lnTo>
                  <a:lnTo>
                    <a:pt x="1165" y="551"/>
                  </a:lnTo>
                  <a:close/>
                  <a:moveTo>
                    <a:pt x="1172" y="570"/>
                  </a:moveTo>
                  <a:lnTo>
                    <a:pt x="1169" y="570"/>
                  </a:lnTo>
                  <a:lnTo>
                    <a:pt x="1169" y="570"/>
                  </a:lnTo>
                  <a:lnTo>
                    <a:pt x="1169" y="572"/>
                  </a:lnTo>
                  <a:lnTo>
                    <a:pt x="1169" y="572"/>
                  </a:lnTo>
                  <a:lnTo>
                    <a:pt x="1169" y="572"/>
                  </a:lnTo>
                  <a:lnTo>
                    <a:pt x="1169" y="572"/>
                  </a:lnTo>
                  <a:lnTo>
                    <a:pt x="1169" y="572"/>
                  </a:lnTo>
                  <a:lnTo>
                    <a:pt x="1169" y="574"/>
                  </a:lnTo>
                  <a:lnTo>
                    <a:pt x="1169" y="574"/>
                  </a:lnTo>
                  <a:lnTo>
                    <a:pt x="1172" y="574"/>
                  </a:lnTo>
                  <a:lnTo>
                    <a:pt x="1172" y="574"/>
                  </a:lnTo>
                  <a:lnTo>
                    <a:pt x="1172" y="572"/>
                  </a:lnTo>
                  <a:lnTo>
                    <a:pt x="1172" y="574"/>
                  </a:lnTo>
                  <a:lnTo>
                    <a:pt x="1172" y="576"/>
                  </a:lnTo>
                  <a:lnTo>
                    <a:pt x="1172" y="576"/>
                  </a:lnTo>
                  <a:lnTo>
                    <a:pt x="1172" y="576"/>
                  </a:lnTo>
                  <a:lnTo>
                    <a:pt x="1172" y="576"/>
                  </a:lnTo>
                  <a:lnTo>
                    <a:pt x="1172" y="576"/>
                  </a:lnTo>
                  <a:lnTo>
                    <a:pt x="1174" y="576"/>
                  </a:lnTo>
                  <a:lnTo>
                    <a:pt x="1174" y="576"/>
                  </a:lnTo>
                  <a:lnTo>
                    <a:pt x="1174" y="574"/>
                  </a:lnTo>
                  <a:lnTo>
                    <a:pt x="1174" y="572"/>
                  </a:lnTo>
                  <a:lnTo>
                    <a:pt x="1174" y="572"/>
                  </a:lnTo>
                  <a:lnTo>
                    <a:pt x="1174" y="572"/>
                  </a:lnTo>
                  <a:lnTo>
                    <a:pt x="1174" y="570"/>
                  </a:lnTo>
                  <a:lnTo>
                    <a:pt x="1176" y="568"/>
                  </a:lnTo>
                  <a:lnTo>
                    <a:pt x="1176" y="566"/>
                  </a:lnTo>
                  <a:lnTo>
                    <a:pt x="1176" y="566"/>
                  </a:lnTo>
                  <a:lnTo>
                    <a:pt x="1176" y="564"/>
                  </a:lnTo>
                  <a:lnTo>
                    <a:pt x="1174" y="566"/>
                  </a:lnTo>
                  <a:lnTo>
                    <a:pt x="1174" y="566"/>
                  </a:lnTo>
                  <a:lnTo>
                    <a:pt x="1174" y="566"/>
                  </a:lnTo>
                  <a:lnTo>
                    <a:pt x="1174" y="566"/>
                  </a:lnTo>
                  <a:lnTo>
                    <a:pt x="1174" y="564"/>
                  </a:lnTo>
                  <a:lnTo>
                    <a:pt x="1174" y="564"/>
                  </a:lnTo>
                  <a:lnTo>
                    <a:pt x="1176" y="564"/>
                  </a:lnTo>
                  <a:lnTo>
                    <a:pt x="1176" y="564"/>
                  </a:lnTo>
                  <a:lnTo>
                    <a:pt x="1176" y="562"/>
                  </a:lnTo>
                  <a:lnTo>
                    <a:pt x="1176" y="562"/>
                  </a:lnTo>
                  <a:lnTo>
                    <a:pt x="1176" y="562"/>
                  </a:lnTo>
                  <a:lnTo>
                    <a:pt x="1176" y="562"/>
                  </a:lnTo>
                  <a:lnTo>
                    <a:pt x="1176" y="562"/>
                  </a:lnTo>
                  <a:lnTo>
                    <a:pt x="1176" y="562"/>
                  </a:lnTo>
                  <a:lnTo>
                    <a:pt x="1176" y="559"/>
                  </a:lnTo>
                  <a:lnTo>
                    <a:pt x="1176" y="559"/>
                  </a:lnTo>
                  <a:lnTo>
                    <a:pt x="1176" y="559"/>
                  </a:lnTo>
                  <a:lnTo>
                    <a:pt x="1174" y="559"/>
                  </a:lnTo>
                  <a:lnTo>
                    <a:pt x="1174" y="562"/>
                  </a:lnTo>
                  <a:lnTo>
                    <a:pt x="1174" y="559"/>
                  </a:lnTo>
                  <a:lnTo>
                    <a:pt x="1174" y="559"/>
                  </a:lnTo>
                  <a:lnTo>
                    <a:pt x="1174" y="559"/>
                  </a:lnTo>
                  <a:lnTo>
                    <a:pt x="1174" y="562"/>
                  </a:lnTo>
                  <a:lnTo>
                    <a:pt x="1174" y="562"/>
                  </a:lnTo>
                  <a:lnTo>
                    <a:pt x="1174" y="562"/>
                  </a:lnTo>
                  <a:lnTo>
                    <a:pt x="1172" y="564"/>
                  </a:lnTo>
                  <a:lnTo>
                    <a:pt x="1172" y="562"/>
                  </a:lnTo>
                  <a:lnTo>
                    <a:pt x="1172" y="562"/>
                  </a:lnTo>
                  <a:lnTo>
                    <a:pt x="1172" y="559"/>
                  </a:lnTo>
                  <a:lnTo>
                    <a:pt x="1172" y="562"/>
                  </a:lnTo>
                  <a:lnTo>
                    <a:pt x="1172" y="562"/>
                  </a:lnTo>
                  <a:lnTo>
                    <a:pt x="1169" y="566"/>
                  </a:lnTo>
                  <a:lnTo>
                    <a:pt x="1172" y="566"/>
                  </a:lnTo>
                  <a:lnTo>
                    <a:pt x="1172" y="564"/>
                  </a:lnTo>
                  <a:lnTo>
                    <a:pt x="1172" y="564"/>
                  </a:lnTo>
                  <a:lnTo>
                    <a:pt x="1172" y="566"/>
                  </a:lnTo>
                  <a:lnTo>
                    <a:pt x="1172" y="566"/>
                  </a:lnTo>
                  <a:lnTo>
                    <a:pt x="1172" y="566"/>
                  </a:lnTo>
                  <a:lnTo>
                    <a:pt x="1169" y="566"/>
                  </a:lnTo>
                  <a:lnTo>
                    <a:pt x="1169" y="566"/>
                  </a:lnTo>
                  <a:lnTo>
                    <a:pt x="1169" y="566"/>
                  </a:lnTo>
                  <a:lnTo>
                    <a:pt x="1172" y="568"/>
                  </a:lnTo>
                  <a:lnTo>
                    <a:pt x="1172" y="568"/>
                  </a:lnTo>
                  <a:lnTo>
                    <a:pt x="1169" y="568"/>
                  </a:lnTo>
                  <a:lnTo>
                    <a:pt x="1169" y="568"/>
                  </a:lnTo>
                  <a:lnTo>
                    <a:pt x="1169" y="568"/>
                  </a:lnTo>
                  <a:lnTo>
                    <a:pt x="1169" y="568"/>
                  </a:lnTo>
                  <a:lnTo>
                    <a:pt x="1169" y="568"/>
                  </a:lnTo>
                  <a:lnTo>
                    <a:pt x="1169" y="568"/>
                  </a:lnTo>
                  <a:lnTo>
                    <a:pt x="1172" y="568"/>
                  </a:lnTo>
                  <a:lnTo>
                    <a:pt x="1172" y="568"/>
                  </a:lnTo>
                  <a:lnTo>
                    <a:pt x="1172" y="568"/>
                  </a:lnTo>
                  <a:lnTo>
                    <a:pt x="1172" y="570"/>
                  </a:lnTo>
                  <a:lnTo>
                    <a:pt x="1172" y="570"/>
                  </a:lnTo>
                  <a:close/>
                  <a:moveTo>
                    <a:pt x="1167" y="580"/>
                  </a:moveTo>
                  <a:lnTo>
                    <a:pt x="1167" y="580"/>
                  </a:lnTo>
                  <a:lnTo>
                    <a:pt x="1165" y="582"/>
                  </a:lnTo>
                  <a:lnTo>
                    <a:pt x="1165" y="582"/>
                  </a:lnTo>
                  <a:lnTo>
                    <a:pt x="1165" y="584"/>
                  </a:lnTo>
                  <a:lnTo>
                    <a:pt x="1163" y="584"/>
                  </a:lnTo>
                  <a:lnTo>
                    <a:pt x="1163" y="586"/>
                  </a:lnTo>
                  <a:lnTo>
                    <a:pt x="1165" y="586"/>
                  </a:lnTo>
                  <a:lnTo>
                    <a:pt x="1165" y="586"/>
                  </a:lnTo>
                  <a:lnTo>
                    <a:pt x="1167" y="584"/>
                  </a:lnTo>
                  <a:lnTo>
                    <a:pt x="1165" y="584"/>
                  </a:lnTo>
                  <a:lnTo>
                    <a:pt x="1165" y="584"/>
                  </a:lnTo>
                  <a:lnTo>
                    <a:pt x="1165" y="582"/>
                  </a:lnTo>
                  <a:lnTo>
                    <a:pt x="1167" y="582"/>
                  </a:lnTo>
                  <a:lnTo>
                    <a:pt x="1167" y="582"/>
                  </a:lnTo>
                  <a:lnTo>
                    <a:pt x="1169" y="582"/>
                  </a:lnTo>
                  <a:lnTo>
                    <a:pt x="1169" y="580"/>
                  </a:lnTo>
                  <a:lnTo>
                    <a:pt x="1169" y="580"/>
                  </a:lnTo>
                  <a:lnTo>
                    <a:pt x="1169" y="580"/>
                  </a:lnTo>
                  <a:lnTo>
                    <a:pt x="1169" y="580"/>
                  </a:lnTo>
                  <a:lnTo>
                    <a:pt x="1169" y="580"/>
                  </a:lnTo>
                  <a:lnTo>
                    <a:pt x="1169" y="580"/>
                  </a:lnTo>
                  <a:lnTo>
                    <a:pt x="1167" y="578"/>
                  </a:lnTo>
                  <a:lnTo>
                    <a:pt x="1167" y="578"/>
                  </a:lnTo>
                  <a:lnTo>
                    <a:pt x="1167" y="578"/>
                  </a:lnTo>
                  <a:lnTo>
                    <a:pt x="1167" y="578"/>
                  </a:lnTo>
                  <a:lnTo>
                    <a:pt x="1167" y="580"/>
                  </a:lnTo>
                  <a:lnTo>
                    <a:pt x="1167" y="580"/>
                  </a:lnTo>
                  <a:close/>
                  <a:moveTo>
                    <a:pt x="1163" y="584"/>
                  </a:moveTo>
                  <a:lnTo>
                    <a:pt x="1163" y="582"/>
                  </a:lnTo>
                  <a:lnTo>
                    <a:pt x="1163" y="582"/>
                  </a:lnTo>
                  <a:lnTo>
                    <a:pt x="1165" y="582"/>
                  </a:lnTo>
                  <a:lnTo>
                    <a:pt x="1165" y="582"/>
                  </a:lnTo>
                  <a:lnTo>
                    <a:pt x="1165" y="582"/>
                  </a:lnTo>
                  <a:lnTo>
                    <a:pt x="1165" y="580"/>
                  </a:lnTo>
                  <a:lnTo>
                    <a:pt x="1165" y="580"/>
                  </a:lnTo>
                  <a:lnTo>
                    <a:pt x="1165" y="578"/>
                  </a:lnTo>
                  <a:lnTo>
                    <a:pt x="1165" y="576"/>
                  </a:lnTo>
                  <a:lnTo>
                    <a:pt x="1165" y="576"/>
                  </a:lnTo>
                  <a:lnTo>
                    <a:pt x="1165" y="576"/>
                  </a:lnTo>
                  <a:lnTo>
                    <a:pt x="1165" y="576"/>
                  </a:lnTo>
                  <a:lnTo>
                    <a:pt x="1165" y="578"/>
                  </a:lnTo>
                  <a:lnTo>
                    <a:pt x="1165" y="578"/>
                  </a:lnTo>
                  <a:lnTo>
                    <a:pt x="1165" y="580"/>
                  </a:lnTo>
                  <a:lnTo>
                    <a:pt x="1163" y="580"/>
                  </a:lnTo>
                  <a:lnTo>
                    <a:pt x="1163" y="578"/>
                  </a:lnTo>
                  <a:lnTo>
                    <a:pt x="1163" y="578"/>
                  </a:lnTo>
                  <a:lnTo>
                    <a:pt x="1161" y="582"/>
                  </a:lnTo>
                  <a:lnTo>
                    <a:pt x="1159" y="582"/>
                  </a:lnTo>
                  <a:lnTo>
                    <a:pt x="1161" y="582"/>
                  </a:lnTo>
                  <a:lnTo>
                    <a:pt x="1163" y="582"/>
                  </a:lnTo>
                  <a:lnTo>
                    <a:pt x="1161" y="582"/>
                  </a:lnTo>
                  <a:lnTo>
                    <a:pt x="1161" y="584"/>
                  </a:lnTo>
                  <a:lnTo>
                    <a:pt x="1159" y="584"/>
                  </a:lnTo>
                  <a:lnTo>
                    <a:pt x="1159" y="584"/>
                  </a:lnTo>
                  <a:lnTo>
                    <a:pt x="1161" y="584"/>
                  </a:lnTo>
                  <a:lnTo>
                    <a:pt x="1163" y="584"/>
                  </a:lnTo>
                  <a:lnTo>
                    <a:pt x="1161" y="584"/>
                  </a:lnTo>
                  <a:lnTo>
                    <a:pt x="1159" y="584"/>
                  </a:lnTo>
                  <a:lnTo>
                    <a:pt x="1159" y="584"/>
                  </a:lnTo>
                  <a:lnTo>
                    <a:pt x="1161" y="586"/>
                  </a:lnTo>
                  <a:lnTo>
                    <a:pt x="1161" y="586"/>
                  </a:lnTo>
                  <a:lnTo>
                    <a:pt x="1163" y="584"/>
                  </a:lnTo>
                  <a:lnTo>
                    <a:pt x="1163" y="584"/>
                  </a:lnTo>
                  <a:close/>
                  <a:moveTo>
                    <a:pt x="1163" y="545"/>
                  </a:moveTo>
                  <a:lnTo>
                    <a:pt x="1165" y="543"/>
                  </a:lnTo>
                  <a:lnTo>
                    <a:pt x="1165" y="543"/>
                  </a:lnTo>
                  <a:lnTo>
                    <a:pt x="1165" y="543"/>
                  </a:lnTo>
                  <a:lnTo>
                    <a:pt x="1165" y="543"/>
                  </a:lnTo>
                  <a:lnTo>
                    <a:pt x="1165" y="543"/>
                  </a:lnTo>
                  <a:lnTo>
                    <a:pt x="1165" y="543"/>
                  </a:lnTo>
                  <a:lnTo>
                    <a:pt x="1165" y="543"/>
                  </a:lnTo>
                  <a:lnTo>
                    <a:pt x="1165" y="541"/>
                  </a:lnTo>
                  <a:lnTo>
                    <a:pt x="1165" y="539"/>
                  </a:lnTo>
                  <a:lnTo>
                    <a:pt x="1165" y="539"/>
                  </a:lnTo>
                  <a:lnTo>
                    <a:pt x="1163" y="537"/>
                  </a:lnTo>
                  <a:lnTo>
                    <a:pt x="1161" y="539"/>
                  </a:lnTo>
                  <a:lnTo>
                    <a:pt x="1161" y="539"/>
                  </a:lnTo>
                  <a:lnTo>
                    <a:pt x="1161" y="539"/>
                  </a:lnTo>
                  <a:lnTo>
                    <a:pt x="1161" y="539"/>
                  </a:lnTo>
                  <a:lnTo>
                    <a:pt x="1161" y="539"/>
                  </a:lnTo>
                  <a:lnTo>
                    <a:pt x="1161" y="541"/>
                  </a:lnTo>
                  <a:lnTo>
                    <a:pt x="1161" y="541"/>
                  </a:lnTo>
                  <a:lnTo>
                    <a:pt x="1161" y="543"/>
                  </a:lnTo>
                  <a:lnTo>
                    <a:pt x="1161" y="543"/>
                  </a:lnTo>
                  <a:lnTo>
                    <a:pt x="1161" y="543"/>
                  </a:lnTo>
                  <a:lnTo>
                    <a:pt x="1161" y="543"/>
                  </a:lnTo>
                  <a:lnTo>
                    <a:pt x="1161" y="545"/>
                  </a:lnTo>
                  <a:lnTo>
                    <a:pt x="1161" y="545"/>
                  </a:lnTo>
                  <a:lnTo>
                    <a:pt x="1161" y="545"/>
                  </a:lnTo>
                  <a:lnTo>
                    <a:pt x="1163" y="545"/>
                  </a:lnTo>
                  <a:lnTo>
                    <a:pt x="1163" y="545"/>
                  </a:lnTo>
                  <a:close/>
                  <a:moveTo>
                    <a:pt x="1159" y="549"/>
                  </a:moveTo>
                  <a:lnTo>
                    <a:pt x="1159" y="551"/>
                  </a:lnTo>
                  <a:lnTo>
                    <a:pt x="1161" y="551"/>
                  </a:lnTo>
                  <a:lnTo>
                    <a:pt x="1161" y="553"/>
                  </a:lnTo>
                  <a:lnTo>
                    <a:pt x="1161" y="553"/>
                  </a:lnTo>
                  <a:lnTo>
                    <a:pt x="1161" y="553"/>
                  </a:lnTo>
                  <a:lnTo>
                    <a:pt x="1161" y="551"/>
                  </a:lnTo>
                  <a:lnTo>
                    <a:pt x="1161" y="551"/>
                  </a:lnTo>
                  <a:lnTo>
                    <a:pt x="1161" y="549"/>
                  </a:lnTo>
                  <a:lnTo>
                    <a:pt x="1161" y="549"/>
                  </a:lnTo>
                  <a:lnTo>
                    <a:pt x="1161" y="549"/>
                  </a:lnTo>
                  <a:lnTo>
                    <a:pt x="1161" y="549"/>
                  </a:lnTo>
                  <a:lnTo>
                    <a:pt x="1161" y="549"/>
                  </a:lnTo>
                  <a:lnTo>
                    <a:pt x="1161" y="547"/>
                  </a:lnTo>
                  <a:lnTo>
                    <a:pt x="1161" y="547"/>
                  </a:lnTo>
                  <a:lnTo>
                    <a:pt x="1161" y="547"/>
                  </a:lnTo>
                  <a:lnTo>
                    <a:pt x="1159" y="547"/>
                  </a:lnTo>
                  <a:lnTo>
                    <a:pt x="1159" y="547"/>
                  </a:lnTo>
                  <a:lnTo>
                    <a:pt x="1159" y="547"/>
                  </a:lnTo>
                  <a:lnTo>
                    <a:pt x="1159" y="547"/>
                  </a:lnTo>
                  <a:lnTo>
                    <a:pt x="1159" y="549"/>
                  </a:lnTo>
                  <a:lnTo>
                    <a:pt x="1159" y="549"/>
                  </a:lnTo>
                  <a:close/>
                  <a:moveTo>
                    <a:pt x="1012" y="773"/>
                  </a:moveTo>
                  <a:lnTo>
                    <a:pt x="1012" y="775"/>
                  </a:lnTo>
                  <a:lnTo>
                    <a:pt x="1010" y="773"/>
                  </a:lnTo>
                  <a:lnTo>
                    <a:pt x="1010" y="775"/>
                  </a:lnTo>
                  <a:lnTo>
                    <a:pt x="1010" y="775"/>
                  </a:lnTo>
                  <a:lnTo>
                    <a:pt x="1008" y="775"/>
                  </a:lnTo>
                  <a:lnTo>
                    <a:pt x="1010" y="775"/>
                  </a:lnTo>
                  <a:lnTo>
                    <a:pt x="1010" y="775"/>
                  </a:lnTo>
                  <a:lnTo>
                    <a:pt x="1010" y="775"/>
                  </a:lnTo>
                  <a:lnTo>
                    <a:pt x="1012" y="775"/>
                  </a:lnTo>
                  <a:lnTo>
                    <a:pt x="1012" y="775"/>
                  </a:lnTo>
                  <a:lnTo>
                    <a:pt x="1012" y="775"/>
                  </a:lnTo>
                  <a:lnTo>
                    <a:pt x="1014" y="775"/>
                  </a:lnTo>
                  <a:lnTo>
                    <a:pt x="1014" y="775"/>
                  </a:lnTo>
                  <a:lnTo>
                    <a:pt x="1016" y="775"/>
                  </a:lnTo>
                  <a:lnTo>
                    <a:pt x="1016" y="773"/>
                  </a:lnTo>
                  <a:lnTo>
                    <a:pt x="1016" y="773"/>
                  </a:lnTo>
                  <a:lnTo>
                    <a:pt x="1012" y="773"/>
                  </a:lnTo>
                  <a:lnTo>
                    <a:pt x="1012" y="773"/>
                  </a:lnTo>
                  <a:close/>
                  <a:moveTo>
                    <a:pt x="1053" y="701"/>
                  </a:moveTo>
                  <a:lnTo>
                    <a:pt x="1055" y="701"/>
                  </a:lnTo>
                  <a:lnTo>
                    <a:pt x="1057" y="703"/>
                  </a:lnTo>
                  <a:lnTo>
                    <a:pt x="1057" y="703"/>
                  </a:lnTo>
                  <a:lnTo>
                    <a:pt x="1057" y="703"/>
                  </a:lnTo>
                  <a:lnTo>
                    <a:pt x="1057" y="703"/>
                  </a:lnTo>
                  <a:lnTo>
                    <a:pt x="1057" y="703"/>
                  </a:lnTo>
                  <a:lnTo>
                    <a:pt x="1059" y="701"/>
                  </a:lnTo>
                  <a:lnTo>
                    <a:pt x="1059" y="701"/>
                  </a:lnTo>
                  <a:lnTo>
                    <a:pt x="1059" y="701"/>
                  </a:lnTo>
                  <a:lnTo>
                    <a:pt x="1059" y="701"/>
                  </a:lnTo>
                  <a:lnTo>
                    <a:pt x="1057" y="701"/>
                  </a:lnTo>
                  <a:lnTo>
                    <a:pt x="1057" y="701"/>
                  </a:lnTo>
                  <a:lnTo>
                    <a:pt x="1057" y="701"/>
                  </a:lnTo>
                  <a:lnTo>
                    <a:pt x="1057" y="701"/>
                  </a:lnTo>
                  <a:lnTo>
                    <a:pt x="1057" y="701"/>
                  </a:lnTo>
                  <a:lnTo>
                    <a:pt x="1057" y="701"/>
                  </a:lnTo>
                  <a:lnTo>
                    <a:pt x="1057" y="701"/>
                  </a:lnTo>
                  <a:lnTo>
                    <a:pt x="1055" y="699"/>
                  </a:lnTo>
                  <a:lnTo>
                    <a:pt x="1057" y="699"/>
                  </a:lnTo>
                  <a:lnTo>
                    <a:pt x="1055" y="699"/>
                  </a:lnTo>
                  <a:lnTo>
                    <a:pt x="1055" y="699"/>
                  </a:lnTo>
                  <a:lnTo>
                    <a:pt x="1055" y="699"/>
                  </a:lnTo>
                  <a:lnTo>
                    <a:pt x="1055" y="699"/>
                  </a:lnTo>
                  <a:lnTo>
                    <a:pt x="1055" y="699"/>
                  </a:lnTo>
                  <a:lnTo>
                    <a:pt x="1055" y="699"/>
                  </a:lnTo>
                  <a:lnTo>
                    <a:pt x="1055" y="699"/>
                  </a:lnTo>
                  <a:lnTo>
                    <a:pt x="1055" y="699"/>
                  </a:lnTo>
                  <a:lnTo>
                    <a:pt x="1055" y="699"/>
                  </a:lnTo>
                  <a:lnTo>
                    <a:pt x="1055" y="699"/>
                  </a:lnTo>
                  <a:lnTo>
                    <a:pt x="1055" y="699"/>
                  </a:lnTo>
                  <a:lnTo>
                    <a:pt x="1055" y="701"/>
                  </a:lnTo>
                  <a:lnTo>
                    <a:pt x="1053" y="701"/>
                  </a:lnTo>
                  <a:close/>
                  <a:moveTo>
                    <a:pt x="1002" y="771"/>
                  </a:moveTo>
                  <a:lnTo>
                    <a:pt x="999" y="771"/>
                  </a:lnTo>
                  <a:lnTo>
                    <a:pt x="999" y="771"/>
                  </a:lnTo>
                  <a:lnTo>
                    <a:pt x="999" y="771"/>
                  </a:lnTo>
                  <a:lnTo>
                    <a:pt x="997" y="771"/>
                  </a:lnTo>
                  <a:lnTo>
                    <a:pt x="997" y="771"/>
                  </a:lnTo>
                  <a:lnTo>
                    <a:pt x="991" y="775"/>
                  </a:lnTo>
                  <a:lnTo>
                    <a:pt x="991" y="775"/>
                  </a:lnTo>
                  <a:lnTo>
                    <a:pt x="989" y="777"/>
                  </a:lnTo>
                  <a:lnTo>
                    <a:pt x="989" y="779"/>
                  </a:lnTo>
                  <a:lnTo>
                    <a:pt x="991" y="781"/>
                  </a:lnTo>
                  <a:lnTo>
                    <a:pt x="991" y="781"/>
                  </a:lnTo>
                  <a:lnTo>
                    <a:pt x="991" y="781"/>
                  </a:lnTo>
                  <a:lnTo>
                    <a:pt x="991" y="779"/>
                  </a:lnTo>
                  <a:lnTo>
                    <a:pt x="993" y="779"/>
                  </a:lnTo>
                  <a:lnTo>
                    <a:pt x="995" y="777"/>
                  </a:lnTo>
                  <a:lnTo>
                    <a:pt x="995" y="775"/>
                  </a:lnTo>
                  <a:lnTo>
                    <a:pt x="997" y="775"/>
                  </a:lnTo>
                  <a:lnTo>
                    <a:pt x="997" y="775"/>
                  </a:lnTo>
                  <a:lnTo>
                    <a:pt x="997" y="775"/>
                  </a:lnTo>
                  <a:lnTo>
                    <a:pt x="997" y="775"/>
                  </a:lnTo>
                  <a:lnTo>
                    <a:pt x="997" y="773"/>
                  </a:lnTo>
                  <a:lnTo>
                    <a:pt x="997" y="771"/>
                  </a:lnTo>
                  <a:lnTo>
                    <a:pt x="999" y="771"/>
                  </a:lnTo>
                  <a:lnTo>
                    <a:pt x="999" y="771"/>
                  </a:lnTo>
                  <a:lnTo>
                    <a:pt x="999" y="773"/>
                  </a:lnTo>
                  <a:lnTo>
                    <a:pt x="999" y="773"/>
                  </a:lnTo>
                  <a:lnTo>
                    <a:pt x="999" y="773"/>
                  </a:lnTo>
                  <a:lnTo>
                    <a:pt x="999" y="773"/>
                  </a:lnTo>
                  <a:lnTo>
                    <a:pt x="999" y="773"/>
                  </a:lnTo>
                  <a:lnTo>
                    <a:pt x="999" y="773"/>
                  </a:lnTo>
                  <a:lnTo>
                    <a:pt x="999" y="773"/>
                  </a:lnTo>
                  <a:lnTo>
                    <a:pt x="999" y="773"/>
                  </a:lnTo>
                  <a:lnTo>
                    <a:pt x="999" y="773"/>
                  </a:lnTo>
                  <a:lnTo>
                    <a:pt x="999" y="773"/>
                  </a:lnTo>
                  <a:lnTo>
                    <a:pt x="1002" y="773"/>
                  </a:lnTo>
                  <a:lnTo>
                    <a:pt x="1002" y="773"/>
                  </a:lnTo>
                  <a:lnTo>
                    <a:pt x="1002" y="773"/>
                  </a:lnTo>
                  <a:lnTo>
                    <a:pt x="1002" y="771"/>
                  </a:lnTo>
                  <a:close/>
                  <a:moveTo>
                    <a:pt x="1010" y="773"/>
                  </a:moveTo>
                  <a:lnTo>
                    <a:pt x="1010" y="773"/>
                  </a:lnTo>
                  <a:lnTo>
                    <a:pt x="1010" y="773"/>
                  </a:lnTo>
                  <a:lnTo>
                    <a:pt x="1010" y="773"/>
                  </a:lnTo>
                  <a:lnTo>
                    <a:pt x="1010" y="771"/>
                  </a:lnTo>
                  <a:lnTo>
                    <a:pt x="1010" y="773"/>
                  </a:lnTo>
                  <a:lnTo>
                    <a:pt x="1012" y="773"/>
                  </a:lnTo>
                  <a:lnTo>
                    <a:pt x="1010" y="773"/>
                  </a:lnTo>
                  <a:lnTo>
                    <a:pt x="1010" y="771"/>
                  </a:lnTo>
                  <a:lnTo>
                    <a:pt x="1010" y="771"/>
                  </a:lnTo>
                  <a:lnTo>
                    <a:pt x="1010" y="771"/>
                  </a:lnTo>
                  <a:lnTo>
                    <a:pt x="1010" y="771"/>
                  </a:lnTo>
                  <a:lnTo>
                    <a:pt x="1010" y="771"/>
                  </a:lnTo>
                  <a:lnTo>
                    <a:pt x="1008" y="771"/>
                  </a:lnTo>
                  <a:lnTo>
                    <a:pt x="1006" y="771"/>
                  </a:lnTo>
                  <a:lnTo>
                    <a:pt x="1006" y="771"/>
                  </a:lnTo>
                  <a:lnTo>
                    <a:pt x="1004" y="771"/>
                  </a:lnTo>
                  <a:lnTo>
                    <a:pt x="1004" y="771"/>
                  </a:lnTo>
                  <a:lnTo>
                    <a:pt x="1004" y="773"/>
                  </a:lnTo>
                  <a:lnTo>
                    <a:pt x="1002" y="773"/>
                  </a:lnTo>
                  <a:lnTo>
                    <a:pt x="1004" y="775"/>
                  </a:lnTo>
                  <a:lnTo>
                    <a:pt x="1004" y="775"/>
                  </a:lnTo>
                  <a:lnTo>
                    <a:pt x="1004" y="775"/>
                  </a:lnTo>
                  <a:lnTo>
                    <a:pt x="1004" y="775"/>
                  </a:lnTo>
                  <a:lnTo>
                    <a:pt x="1006" y="775"/>
                  </a:lnTo>
                  <a:lnTo>
                    <a:pt x="1008" y="775"/>
                  </a:lnTo>
                  <a:lnTo>
                    <a:pt x="1008" y="775"/>
                  </a:lnTo>
                  <a:lnTo>
                    <a:pt x="1008" y="775"/>
                  </a:lnTo>
                  <a:lnTo>
                    <a:pt x="1008" y="775"/>
                  </a:lnTo>
                  <a:lnTo>
                    <a:pt x="1010" y="773"/>
                  </a:lnTo>
                  <a:lnTo>
                    <a:pt x="1010" y="773"/>
                  </a:lnTo>
                  <a:close/>
                  <a:moveTo>
                    <a:pt x="1010" y="764"/>
                  </a:moveTo>
                  <a:lnTo>
                    <a:pt x="1010" y="766"/>
                  </a:lnTo>
                  <a:lnTo>
                    <a:pt x="1012" y="766"/>
                  </a:lnTo>
                  <a:lnTo>
                    <a:pt x="1012" y="766"/>
                  </a:lnTo>
                  <a:lnTo>
                    <a:pt x="1012" y="764"/>
                  </a:lnTo>
                  <a:lnTo>
                    <a:pt x="1012" y="764"/>
                  </a:lnTo>
                  <a:lnTo>
                    <a:pt x="1012" y="764"/>
                  </a:lnTo>
                  <a:lnTo>
                    <a:pt x="1012" y="764"/>
                  </a:lnTo>
                  <a:lnTo>
                    <a:pt x="1012" y="764"/>
                  </a:lnTo>
                  <a:lnTo>
                    <a:pt x="1010" y="764"/>
                  </a:lnTo>
                  <a:lnTo>
                    <a:pt x="1010" y="764"/>
                  </a:lnTo>
                  <a:lnTo>
                    <a:pt x="1010" y="764"/>
                  </a:lnTo>
                  <a:lnTo>
                    <a:pt x="1010" y="764"/>
                  </a:lnTo>
                  <a:lnTo>
                    <a:pt x="1008" y="764"/>
                  </a:lnTo>
                  <a:lnTo>
                    <a:pt x="1010" y="764"/>
                  </a:lnTo>
                  <a:lnTo>
                    <a:pt x="1010" y="764"/>
                  </a:lnTo>
                  <a:lnTo>
                    <a:pt x="1010" y="764"/>
                  </a:lnTo>
                  <a:lnTo>
                    <a:pt x="1010" y="764"/>
                  </a:lnTo>
                  <a:lnTo>
                    <a:pt x="1010" y="764"/>
                  </a:lnTo>
                  <a:close/>
                  <a:moveTo>
                    <a:pt x="932" y="789"/>
                  </a:moveTo>
                  <a:lnTo>
                    <a:pt x="932" y="789"/>
                  </a:lnTo>
                  <a:lnTo>
                    <a:pt x="932" y="789"/>
                  </a:lnTo>
                  <a:lnTo>
                    <a:pt x="932" y="789"/>
                  </a:lnTo>
                  <a:lnTo>
                    <a:pt x="932" y="789"/>
                  </a:lnTo>
                  <a:lnTo>
                    <a:pt x="932" y="789"/>
                  </a:lnTo>
                  <a:lnTo>
                    <a:pt x="932" y="789"/>
                  </a:lnTo>
                  <a:lnTo>
                    <a:pt x="932" y="789"/>
                  </a:lnTo>
                  <a:lnTo>
                    <a:pt x="932" y="789"/>
                  </a:lnTo>
                  <a:lnTo>
                    <a:pt x="932" y="789"/>
                  </a:lnTo>
                  <a:lnTo>
                    <a:pt x="932" y="791"/>
                  </a:lnTo>
                  <a:lnTo>
                    <a:pt x="932" y="791"/>
                  </a:lnTo>
                  <a:lnTo>
                    <a:pt x="932" y="791"/>
                  </a:lnTo>
                  <a:lnTo>
                    <a:pt x="932" y="791"/>
                  </a:lnTo>
                  <a:lnTo>
                    <a:pt x="932" y="791"/>
                  </a:lnTo>
                  <a:lnTo>
                    <a:pt x="932" y="791"/>
                  </a:lnTo>
                  <a:lnTo>
                    <a:pt x="932" y="791"/>
                  </a:lnTo>
                  <a:lnTo>
                    <a:pt x="932" y="791"/>
                  </a:lnTo>
                  <a:lnTo>
                    <a:pt x="932" y="789"/>
                  </a:lnTo>
                  <a:close/>
                  <a:moveTo>
                    <a:pt x="934" y="797"/>
                  </a:moveTo>
                  <a:lnTo>
                    <a:pt x="934" y="797"/>
                  </a:lnTo>
                  <a:lnTo>
                    <a:pt x="934" y="797"/>
                  </a:lnTo>
                  <a:lnTo>
                    <a:pt x="934" y="797"/>
                  </a:lnTo>
                  <a:lnTo>
                    <a:pt x="934" y="797"/>
                  </a:lnTo>
                  <a:lnTo>
                    <a:pt x="934" y="797"/>
                  </a:lnTo>
                  <a:lnTo>
                    <a:pt x="934" y="797"/>
                  </a:lnTo>
                  <a:lnTo>
                    <a:pt x="934" y="797"/>
                  </a:lnTo>
                  <a:lnTo>
                    <a:pt x="934" y="797"/>
                  </a:lnTo>
                  <a:lnTo>
                    <a:pt x="932" y="797"/>
                  </a:lnTo>
                  <a:lnTo>
                    <a:pt x="932" y="799"/>
                  </a:lnTo>
                  <a:lnTo>
                    <a:pt x="934" y="799"/>
                  </a:lnTo>
                  <a:lnTo>
                    <a:pt x="934" y="799"/>
                  </a:lnTo>
                  <a:lnTo>
                    <a:pt x="934" y="799"/>
                  </a:lnTo>
                  <a:lnTo>
                    <a:pt x="934" y="799"/>
                  </a:lnTo>
                  <a:lnTo>
                    <a:pt x="934" y="799"/>
                  </a:lnTo>
                  <a:lnTo>
                    <a:pt x="934" y="799"/>
                  </a:lnTo>
                  <a:lnTo>
                    <a:pt x="934" y="799"/>
                  </a:lnTo>
                  <a:lnTo>
                    <a:pt x="934" y="799"/>
                  </a:lnTo>
                  <a:lnTo>
                    <a:pt x="934" y="799"/>
                  </a:lnTo>
                  <a:lnTo>
                    <a:pt x="934" y="799"/>
                  </a:lnTo>
                  <a:lnTo>
                    <a:pt x="934" y="799"/>
                  </a:lnTo>
                  <a:lnTo>
                    <a:pt x="934" y="797"/>
                  </a:lnTo>
                  <a:lnTo>
                    <a:pt x="934" y="797"/>
                  </a:lnTo>
                  <a:lnTo>
                    <a:pt x="934" y="797"/>
                  </a:lnTo>
                  <a:close/>
                  <a:moveTo>
                    <a:pt x="948" y="730"/>
                  </a:moveTo>
                  <a:lnTo>
                    <a:pt x="948" y="730"/>
                  </a:lnTo>
                  <a:lnTo>
                    <a:pt x="948" y="730"/>
                  </a:lnTo>
                  <a:lnTo>
                    <a:pt x="948" y="730"/>
                  </a:lnTo>
                  <a:lnTo>
                    <a:pt x="948" y="730"/>
                  </a:lnTo>
                  <a:lnTo>
                    <a:pt x="948" y="730"/>
                  </a:lnTo>
                  <a:lnTo>
                    <a:pt x="948" y="730"/>
                  </a:lnTo>
                  <a:lnTo>
                    <a:pt x="948" y="730"/>
                  </a:lnTo>
                  <a:lnTo>
                    <a:pt x="948" y="730"/>
                  </a:lnTo>
                  <a:lnTo>
                    <a:pt x="948" y="730"/>
                  </a:lnTo>
                  <a:close/>
                  <a:moveTo>
                    <a:pt x="965" y="805"/>
                  </a:moveTo>
                  <a:lnTo>
                    <a:pt x="965" y="805"/>
                  </a:lnTo>
                  <a:lnTo>
                    <a:pt x="965" y="807"/>
                  </a:lnTo>
                  <a:lnTo>
                    <a:pt x="963" y="807"/>
                  </a:lnTo>
                  <a:lnTo>
                    <a:pt x="963" y="809"/>
                  </a:lnTo>
                  <a:lnTo>
                    <a:pt x="961" y="809"/>
                  </a:lnTo>
                  <a:lnTo>
                    <a:pt x="963" y="809"/>
                  </a:lnTo>
                  <a:lnTo>
                    <a:pt x="963" y="809"/>
                  </a:lnTo>
                  <a:lnTo>
                    <a:pt x="963" y="812"/>
                  </a:lnTo>
                  <a:lnTo>
                    <a:pt x="963" y="812"/>
                  </a:lnTo>
                  <a:lnTo>
                    <a:pt x="963" y="812"/>
                  </a:lnTo>
                  <a:lnTo>
                    <a:pt x="963" y="812"/>
                  </a:lnTo>
                  <a:lnTo>
                    <a:pt x="965" y="812"/>
                  </a:lnTo>
                  <a:lnTo>
                    <a:pt x="965" y="814"/>
                  </a:lnTo>
                  <a:lnTo>
                    <a:pt x="967" y="814"/>
                  </a:lnTo>
                  <a:lnTo>
                    <a:pt x="967" y="812"/>
                  </a:lnTo>
                  <a:lnTo>
                    <a:pt x="967" y="812"/>
                  </a:lnTo>
                  <a:lnTo>
                    <a:pt x="967" y="812"/>
                  </a:lnTo>
                  <a:lnTo>
                    <a:pt x="967" y="809"/>
                  </a:lnTo>
                  <a:lnTo>
                    <a:pt x="967" y="807"/>
                  </a:lnTo>
                  <a:lnTo>
                    <a:pt x="967" y="807"/>
                  </a:lnTo>
                  <a:lnTo>
                    <a:pt x="967" y="805"/>
                  </a:lnTo>
                  <a:lnTo>
                    <a:pt x="967" y="805"/>
                  </a:lnTo>
                  <a:lnTo>
                    <a:pt x="965" y="805"/>
                  </a:lnTo>
                  <a:close/>
                  <a:moveTo>
                    <a:pt x="1030" y="695"/>
                  </a:moveTo>
                  <a:lnTo>
                    <a:pt x="1030" y="695"/>
                  </a:lnTo>
                  <a:lnTo>
                    <a:pt x="1032" y="695"/>
                  </a:lnTo>
                  <a:lnTo>
                    <a:pt x="1032" y="695"/>
                  </a:lnTo>
                  <a:lnTo>
                    <a:pt x="1032" y="693"/>
                  </a:lnTo>
                  <a:lnTo>
                    <a:pt x="1032" y="693"/>
                  </a:lnTo>
                  <a:lnTo>
                    <a:pt x="1032" y="693"/>
                  </a:lnTo>
                  <a:lnTo>
                    <a:pt x="1034" y="695"/>
                  </a:lnTo>
                  <a:lnTo>
                    <a:pt x="1034" y="697"/>
                  </a:lnTo>
                  <a:lnTo>
                    <a:pt x="1034" y="695"/>
                  </a:lnTo>
                  <a:lnTo>
                    <a:pt x="1036" y="697"/>
                  </a:lnTo>
                  <a:lnTo>
                    <a:pt x="1038" y="697"/>
                  </a:lnTo>
                  <a:lnTo>
                    <a:pt x="1038" y="699"/>
                  </a:lnTo>
                  <a:lnTo>
                    <a:pt x="1040" y="699"/>
                  </a:lnTo>
                  <a:lnTo>
                    <a:pt x="1040" y="699"/>
                  </a:lnTo>
                  <a:lnTo>
                    <a:pt x="1040" y="697"/>
                  </a:lnTo>
                  <a:lnTo>
                    <a:pt x="1043" y="697"/>
                  </a:lnTo>
                  <a:lnTo>
                    <a:pt x="1043" y="697"/>
                  </a:lnTo>
                  <a:lnTo>
                    <a:pt x="1043" y="697"/>
                  </a:lnTo>
                  <a:lnTo>
                    <a:pt x="1043" y="697"/>
                  </a:lnTo>
                  <a:lnTo>
                    <a:pt x="1040" y="695"/>
                  </a:lnTo>
                  <a:lnTo>
                    <a:pt x="1038" y="695"/>
                  </a:lnTo>
                  <a:lnTo>
                    <a:pt x="1038" y="695"/>
                  </a:lnTo>
                  <a:lnTo>
                    <a:pt x="1038" y="695"/>
                  </a:lnTo>
                  <a:lnTo>
                    <a:pt x="1038" y="693"/>
                  </a:lnTo>
                  <a:lnTo>
                    <a:pt x="1038" y="693"/>
                  </a:lnTo>
                  <a:lnTo>
                    <a:pt x="1036" y="693"/>
                  </a:lnTo>
                  <a:lnTo>
                    <a:pt x="1036" y="693"/>
                  </a:lnTo>
                  <a:lnTo>
                    <a:pt x="1036" y="693"/>
                  </a:lnTo>
                  <a:lnTo>
                    <a:pt x="1034" y="693"/>
                  </a:lnTo>
                  <a:lnTo>
                    <a:pt x="1034" y="693"/>
                  </a:lnTo>
                  <a:lnTo>
                    <a:pt x="1034" y="691"/>
                  </a:lnTo>
                  <a:lnTo>
                    <a:pt x="1032" y="691"/>
                  </a:lnTo>
                  <a:lnTo>
                    <a:pt x="1032" y="691"/>
                  </a:lnTo>
                  <a:lnTo>
                    <a:pt x="1032" y="691"/>
                  </a:lnTo>
                  <a:lnTo>
                    <a:pt x="1030" y="691"/>
                  </a:lnTo>
                  <a:lnTo>
                    <a:pt x="1030" y="691"/>
                  </a:lnTo>
                  <a:lnTo>
                    <a:pt x="1030" y="691"/>
                  </a:lnTo>
                  <a:lnTo>
                    <a:pt x="1028" y="695"/>
                  </a:lnTo>
                  <a:lnTo>
                    <a:pt x="1030" y="695"/>
                  </a:lnTo>
                  <a:close/>
                  <a:moveTo>
                    <a:pt x="1028" y="699"/>
                  </a:moveTo>
                  <a:lnTo>
                    <a:pt x="1026" y="699"/>
                  </a:lnTo>
                  <a:lnTo>
                    <a:pt x="1026" y="699"/>
                  </a:lnTo>
                  <a:lnTo>
                    <a:pt x="1026" y="699"/>
                  </a:lnTo>
                  <a:lnTo>
                    <a:pt x="1024" y="701"/>
                  </a:lnTo>
                  <a:lnTo>
                    <a:pt x="1026" y="701"/>
                  </a:lnTo>
                  <a:lnTo>
                    <a:pt x="1028" y="705"/>
                  </a:lnTo>
                  <a:lnTo>
                    <a:pt x="1030" y="705"/>
                  </a:lnTo>
                  <a:lnTo>
                    <a:pt x="1030" y="705"/>
                  </a:lnTo>
                  <a:lnTo>
                    <a:pt x="1030" y="705"/>
                  </a:lnTo>
                  <a:lnTo>
                    <a:pt x="1032" y="705"/>
                  </a:lnTo>
                  <a:lnTo>
                    <a:pt x="1030" y="705"/>
                  </a:lnTo>
                  <a:lnTo>
                    <a:pt x="1030" y="705"/>
                  </a:lnTo>
                  <a:lnTo>
                    <a:pt x="1030" y="705"/>
                  </a:lnTo>
                  <a:lnTo>
                    <a:pt x="1030" y="705"/>
                  </a:lnTo>
                  <a:lnTo>
                    <a:pt x="1030" y="705"/>
                  </a:lnTo>
                  <a:lnTo>
                    <a:pt x="1030" y="705"/>
                  </a:lnTo>
                  <a:lnTo>
                    <a:pt x="1032" y="707"/>
                  </a:lnTo>
                  <a:lnTo>
                    <a:pt x="1032" y="707"/>
                  </a:lnTo>
                  <a:lnTo>
                    <a:pt x="1032" y="707"/>
                  </a:lnTo>
                  <a:lnTo>
                    <a:pt x="1032" y="707"/>
                  </a:lnTo>
                  <a:lnTo>
                    <a:pt x="1032" y="707"/>
                  </a:lnTo>
                  <a:lnTo>
                    <a:pt x="1034" y="707"/>
                  </a:lnTo>
                  <a:lnTo>
                    <a:pt x="1034" y="707"/>
                  </a:lnTo>
                  <a:lnTo>
                    <a:pt x="1034" y="707"/>
                  </a:lnTo>
                  <a:lnTo>
                    <a:pt x="1034" y="705"/>
                  </a:lnTo>
                  <a:lnTo>
                    <a:pt x="1032" y="703"/>
                  </a:lnTo>
                  <a:lnTo>
                    <a:pt x="1032" y="703"/>
                  </a:lnTo>
                  <a:lnTo>
                    <a:pt x="1030" y="701"/>
                  </a:lnTo>
                  <a:lnTo>
                    <a:pt x="1028" y="699"/>
                  </a:lnTo>
                  <a:lnTo>
                    <a:pt x="1028" y="699"/>
                  </a:lnTo>
                  <a:close/>
                  <a:moveTo>
                    <a:pt x="1047" y="699"/>
                  </a:moveTo>
                  <a:lnTo>
                    <a:pt x="1047" y="699"/>
                  </a:lnTo>
                  <a:lnTo>
                    <a:pt x="1047" y="699"/>
                  </a:lnTo>
                  <a:lnTo>
                    <a:pt x="1047" y="699"/>
                  </a:lnTo>
                  <a:lnTo>
                    <a:pt x="1045" y="699"/>
                  </a:lnTo>
                  <a:lnTo>
                    <a:pt x="1045" y="699"/>
                  </a:lnTo>
                  <a:lnTo>
                    <a:pt x="1045" y="699"/>
                  </a:lnTo>
                  <a:lnTo>
                    <a:pt x="1045" y="701"/>
                  </a:lnTo>
                  <a:lnTo>
                    <a:pt x="1045" y="701"/>
                  </a:lnTo>
                  <a:lnTo>
                    <a:pt x="1045" y="701"/>
                  </a:lnTo>
                  <a:lnTo>
                    <a:pt x="1047" y="701"/>
                  </a:lnTo>
                  <a:lnTo>
                    <a:pt x="1047" y="701"/>
                  </a:lnTo>
                  <a:lnTo>
                    <a:pt x="1047" y="701"/>
                  </a:lnTo>
                  <a:lnTo>
                    <a:pt x="1047" y="699"/>
                  </a:lnTo>
                  <a:lnTo>
                    <a:pt x="1047" y="699"/>
                  </a:lnTo>
                  <a:lnTo>
                    <a:pt x="1047" y="699"/>
                  </a:lnTo>
                  <a:lnTo>
                    <a:pt x="1047" y="699"/>
                  </a:lnTo>
                  <a:close/>
                  <a:moveTo>
                    <a:pt x="1163" y="568"/>
                  </a:moveTo>
                  <a:lnTo>
                    <a:pt x="1163" y="570"/>
                  </a:lnTo>
                  <a:lnTo>
                    <a:pt x="1163" y="570"/>
                  </a:lnTo>
                  <a:lnTo>
                    <a:pt x="1163" y="570"/>
                  </a:lnTo>
                  <a:lnTo>
                    <a:pt x="1163" y="572"/>
                  </a:lnTo>
                  <a:lnTo>
                    <a:pt x="1165" y="572"/>
                  </a:lnTo>
                  <a:lnTo>
                    <a:pt x="1165" y="572"/>
                  </a:lnTo>
                  <a:lnTo>
                    <a:pt x="1165" y="570"/>
                  </a:lnTo>
                  <a:lnTo>
                    <a:pt x="1165" y="570"/>
                  </a:lnTo>
                  <a:lnTo>
                    <a:pt x="1165" y="568"/>
                  </a:lnTo>
                  <a:lnTo>
                    <a:pt x="1165" y="568"/>
                  </a:lnTo>
                  <a:lnTo>
                    <a:pt x="1167" y="568"/>
                  </a:lnTo>
                  <a:lnTo>
                    <a:pt x="1167" y="566"/>
                  </a:lnTo>
                  <a:lnTo>
                    <a:pt x="1165" y="566"/>
                  </a:lnTo>
                  <a:lnTo>
                    <a:pt x="1163" y="568"/>
                  </a:lnTo>
                  <a:close/>
                  <a:moveTo>
                    <a:pt x="1043" y="740"/>
                  </a:moveTo>
                  <a:lnTo>
                    <a:pt x="1043" y="740"/>
                  </a:lnTo>
                  <a:lnTo>
                    <a:pt x="1043" y="742"/>
                  </a:lnTo>
                  <a:lnTo>
                    <a:pt x="1043" y="742"/>
                  </a:lnTo>
                  <a:lnTo>
                    <a:pt x="1043" y="740"/>
                  </a:lnTo>
                  <a:lnTo>
                    <a:pt x="1040" y="740"/>
                  </a:lnTo>
                  <a:lnTo>
                    <a:pt x="1038" y="740"/>
                  </a:lnTo>
                  <a:lnTo>
                    <a:pt x="1038" y="740"/>
                  </a:lnTo>
                  <a:lnTo>
                    <a:pt x="1038" y="740"/>
                  </a:lnTo>
                  <a:lnTo>
                    <a:pt x="1038" y="740"/>
                  </a:lnTo>
                  <a:lnTo>
                    <a:pt x="1038" y="740"/>
                  </a:lnTo>
                  <a:lnTo>
                    <a:pt x="1036" y="740"/>
                  </a:lnTo>
                  <a:lnTo>
                    <a:pt x="1036" y="742"/>
                  </a:lnTo>
                  <a:lnTo>
                    <a:pt x="1034" y="742"/>
                  </a:lnTo>
                  <a:lnTo>
                    <a:pt x="1036" y="740"/>
                  </a:lnTo>
                  <a:lnTo>
                    <a:pt x="1034" y="740"/>
                  </a:lnTo>
                  <a:lnTo>
                    <a:pt x="1034" y="740"/>
                  </a:lnTo>
                  <a:lnTo>
                    <a:pt x="1034" y="740"/>
                  </a:lnTo>
                  <a:lnTo>
                    <a:pt x="1034" y="738"/>
                  </a:lnTo>
                  <a:lnTo>
                    <a:pt x="1034" y="738"/>
                  </a:lnTo>
                  <a:lnTo>
                    <a:pt x="1032" y="738"/>
                  </a:lnTo>
                  <a:lnTo>
                    <a:pt x="1032" y="740"/>
                  </a:lnTo>
                  <a:lnTo>
                    <a:pt x="1032" y="740"/>
                  </a:lnTo>
                  <a:lnTo>
                    <a:pt x="1032" y="740"/>
                  </a:lnTo>
                  <a:lnTo>
                    <a:pt x="1032" y="740"/>
                  </a:lnTo>
                  <a:lnTo>
                    <a:pt x="1030" y="742"/>
                  </a:lnTo>
                  <a:lnTo>
                    <a:pt x="1030" y="744"/>
                  </a:lnTo>
                  <a:lnTo>
                    <a:pt x="1030" y="744"/>
                  </a:lnTo>
                  <a:lnTo>
                    <a:pt x="1030" y="744"/>
                  </a:lnTo>
                  <a:lnTo>
                    <a:pt x="1030" y="744"/>
                  </a:lnTo>
                  <a:lnTo>
                    <a:pt x="1030" y="744"/>
                  </a:lnTo>
                  <a:lnTo>
                    <a:pt x="1030" y="744"/>
                  </a:lnTo>
                  <a:lnTo>
                    <a:pt x="1030" y="744"/>
                  </a:lnTo>
                  <a:lnTo>
                    <a:pt x="1030" y="744"/>
                  </a:lnTo>
                  <a:lnTo>
                    <a:pt x="1030" y="744"/>
                  </a:lnTo>
                  <a:lnTo>
                    <a:pt x="1030" y="746"/>
                  </a:lnTo>
                  <a:lnTo>
                    <a:pt x="1028" y="746"/>
                  </a:lnTo>
                  <a:lnTo>
                    <a:pt x="1030" y="746"/>
                  </a:lnTo>
                  <a:lnTo>
                    <a:pt x="1030" y="746"/>
                  </a:lnTo>
                  <a:lnTo>
                    <a:pt x="1032" y="746"/>
                  </a:lnTo>
                  <a:lnTo>
                    <a:pt x="1032" y="746"/>
                  </a:lnTo>
                  <a:lnTo>
                    <a:pt x="1032" y="746"/>
                  </a:lnTo>
                  <a:lnTo>
                    <a:pt x="1032" y="746"/>
                  </a:lnTo>
                  <a:lnTo>
                    <a:pt x="1030" y="746"/>
                  </a:lnTo>
                  <a:lnTo>
                    <a:pt x="1030" y="748"/>
                  </a:lnTo>
                  <a:lnTo>
                    <a:pt x="1032" y="748"/>
                  </a:lnTo>
                  <a:lnTo>
                    <a:pt x="1032" y="748"/>
                  </a:lnTo>
                  <a:lnTo>
                    <a:pt x="1032" y="748"/>
                  </a:lnTo>
                  <a:lnTo>
                    <a:pt x="1032" y="748"/>
                  </a:lnTo>
                  <a:lnTo>
                    <a:pt x="1030" y="750"/>
                  </a:lnTo>
                  <a:lnTo>
                    <a:pt x="1032" y="750"/>
                  </a:lnTo>
                  <a:lnTo>
                    <a:pt x="1032" y="750"/>
                  </a:lnTo>
                  <a:lnTo>
                    <a:pt x="1034" y="748"/>
                  </a:lnTo>
                  <a:lnTo>
                    <a:pt x="1034" y="748"/>
                  </a:lnTo>
                  <a:lnTo>
                    <a:pt x="1034" y="746"/>
                  </a:lnTo>
                  <a:lnTo>
                    <a:pt x="1034" y="746"/>
                  </a:lnTo>
                  <a:lnTo>
                    <a:pt x="1034" y="746"/>
                  </a:lnTo>
                  <a:lnTo>
                    <a:pt x="1034" y="746"/>
                  </a:lnTo>
                  <a:lnTo>
                    <a:pt x="1036" y="744"/>
                  </a:lnTo>
                  <a:lnTo>
                    <a:pt x="1036" y="744"/>
                  </a:lnTo>
                  <a:lnTo>
                    <a:pt x="1038" y="744"/>
                  </a:lnTo>
                  <a:lnTo>
                    <a:pt x="1038" y="744"/>
                  </a:lnTo>
                  <a:lnTo>
                    <a:pt x="1038" y="744"/>
                  </a:lnTo>
                  <a:lnTo>
                    <a:pt x="1040" y="742"/>
                  </a:lnTo>
                  <a:lnTo>
                    <a:pt x="1040" y="742"/>
                  </a:lnTo>
                  <a:lnTo>
                    <a:pt x="1040" y="744"/>
                  </a:lnTo>
                  <a:lnTo>
                    <a:pt x="1040" y="744"/>
                  </a:lnTo>
                  <a:lnTo>
                    <a:pt x="1040" y="744"/>
                  </a:lnTo>
                  <a:lnTo>
                    <a:pt x="1043" y="742"/>
                  </a:lnTo>
                  <a:lnTo>
                    <a:pt x="1043" y="742"/>
                  </a:lnTo>
                  <a:lnTo>
                    <a:pt x="1045" y="742"/>
                  </a:lnTo>
                  <a:lnTo>
                    <a:pt x="1045" y="742"/>
                  </a:lnTo>
                  <a:lnTo>
                    <a:pt x="1043" y="740"/>
                  </a:lnTo>
                  <a:close/>
                  <a:moveTo>
                    <a:pt x="1018" y="721"/>
                  </a:moveTo>
                  <a:lnTo>
                    <a:pt x="1016" y="721"/>
                  </a:lnTo>
                  <a:lnTo>
                    <a:pt x="1016" y="721"/>
                  </a:lnTo>
                  <a:lnTo>
                    <a:pt x="1016" y="721"/>
                  </a:lnTo>
                  <a:lnTo>
                    <a:pt x="1016" y="723"/>
                  </a:lnTo>
                  <a:lnTo>
                    <a:pt x="1016" y="723"/>
                  </a:lnTo>
                  <a:lnTo>
                    <a:pt x="1016" y="723"/>
                  </a:lnTo>
                  <a:lnTo>
                    <a:pt x="1016" y="723"/>
                  </a:lnTo>
                  <a:lnTo>
                    <a:pt x="1016" y="725"/>
                  </a:lnTo>
                  <a:lnTo>
                    <a:pt x="1016" y="725"/>
                  </a:lnTo>
                  <a:lnTo>
                    <a:pt x="1016" y="728"/>
                  </a:lnTo>
                  <a:lnTo>
                    <a:pt x="1018" y="725"/>
                  </a:lnTo>
                  <a:lnTo>
                    <a:pt x="1018" y="723"/>
                  </a:lnTo>
                  <a:lnTo>
                    <a:pt x="1018" y="723"/>
                  </a:lnTo>
                  <a:lnTo>
                    <a:pt x="1018" y="723"/>
                  </a:lnTo>
                  <a:lnTo>
                    <a:pt x="1018" y="721"/>
                  </a:lnTo>
                  <a:close/>
                  <a:moveTo>
                    <a:pt x="1059" y="715"/>
                  </a:moveTo>
                  <a:lnTo>
                    <a:pt x="1057" y="717"/>
                  </a:lnTo>
                  <a:lnTo>
                    <a:pt x="1057" y="717"/>
                  </a:lnTo>
                  <a:lnTo>
                    <a:pt x="1057" y="715"/>
                  </a:lnTo>
                  <a:lnTo>
                    <a:pt x="1057" y="715"/>
                  </a:lnTo>
                  <a:lnTo>
                    <a:pt x="1057" y="713"/>
                  </a:lnTo>
                  <a:lnTo>
                    <a:pt x="1057" y="713"/>
                  </a:lnTo>
                  <a:lnTo>
                    <a:pt x="1057" y="713"/>
                  </a:lnTo>
                  <a:lnTo>
                    <a:pt x="1055" y="715"/>
                  </a:lnTo>
                  <a:lnTo>
                    <a:pt x="1055" y="715"/>
                  </a:lnTo>
                  <a:lnTo>
                    <a:pt x="1055" y="715"/>
                  </a:lnTo>
                  <a:lnTo>
                    <a:pt x="1055" y="713"/>
                  </a:lnTo>
                  <a:lnTo>
                    <a:pt x="1055" y="713"/>
                  </a:lnTo>
                  <a:lnTo>
                    <a:pt x="1055" y="713"/>
                  </a:lnTo>
                  <a:lnTo>
                    <a:pt x="1055" y="711"/>
                  </a:lnTo>
                  <a:lnTo>
                    <a:pt x="1055" y="711"/>
                  </a:lnTo>
                  <a:lnTo>
                    <a:pt x="1055" y="711"/>
                  </a:lnTo>
                  <a:lnTo>
                    <a:pt x="1055" y="711"/>
                  </a:lnTo>
                  <a:lnTo>
                    <a:pt x="1053" y="713"/>
                  </a:lnTo>
                  <a:lnTo>
                    <a:pt x="1053" y="713"/>
                  </a:lnTo>
                  <a:lnTo>
                    <a:pt x="1053" y="713"/>
                  </a:lnTo>
                  <a:lnTo>
                    <a:pt x="1053" y="711"/>
                  </a:lnTo>
                  <a:lnTo>
                    <a:pt x="1055" y="711"/>
                  </a:lnTo>
                  <a:lnTo>
                    <a:pt x="1055" y="709"/>
                  </a:lnTo>
                  <a:lnTo>
                    <a:pt x="1057" y="707"/>
                  </a:lnTo>
                  <a:lnTo>
                    <a:pt x="1059" y="705"/>
                  </a:lnTo>
                  <a:lnTo>
                    <a:pt x="1059" y="705"/>
                  </a:lnTo>
                  <a:lnTo>
                    <a:pt x="1059" y="705"/>
                  </a:lnTo>
                  <a:lnTo>
                    <a:pt x="1057" y="705"/>
                  </a:lnTo>
                  <a:lnTo>
                    <a:pt x="1057" y="705"/>
                  </a:lnTo>
                  <a:lnTo>
                    <a:pt x="1057" y="705"/>
                  </a:lnTo>
                  <a:lnTo>
                    <a:pt x="1057" y="707"/>
                  </a:lnTo>
                  <a:lnTo>
                    <a:pt x="1057" y="707"/>
                  </a:lnTo>
                  <a:lnTo>
                    <a:pt x="1055" y="705"/>
                  </a:lnTo>
                  <a:lnTo>
                    <a:pt x="1057" y="705"/>
                  </a:lnTo>
                  <a:lnTo>
                    <a:pt x="1057" y="705"/>
                  </a:lnTo>
                  <a:lnTo>
                    <a:pt x="1055" y="703"/>
                  </a:lnTo>
                  <a:lnTo>
                    <a:pt x="1055" y="703"/>
                  </a:lnTo>
                  <a:lnTo>
                    <a:pt x="1055" y="703"/>
                  </a:lnTo>
                  <a:lnTo>
                    <a:pt x="1055" y="703"/>
                  </a:lnTo>
                  <a:lnTo>
                    <a:pt x="1055" y="701"/>
                  </a:lnTo>
                  <a:lnTo>
                    <a:pt x="1053" y="701"/>
                  </a:lnTo>
                  <a:lnTo>
                    <a:pt x="1053" y="701"/>
                  </a:lnTo>
                  <a:lnTo>
                    <a:pt x="1053" y="701"/>
                  </a:lnTo>
                  <a:lnTo>
                    <a:pt x="1053" y="703"/>
                  </a:lnTo>
                  <a:lnTo>
                    <a:pt x="1053" y="703"/>
                  </a:lnTo>
                  <a:lnTo>
                    <a:pt x="1053" y="701"/>
                  </a:lnTo>
                  <a:lnTo>
                    <a:pt x="1053" y="701"/>
                  </a:lnTo>
                  <a:lnTo>
                    <a:pt x="1051" y="701"/>
                  </a:lnTo>
                  <a:lnTo>
                    <a:pt x="1051" y="701"/>
                  </a:lnTo>
                  <a:lnTo>
                    <a:pt x="1051" y="701"/>
                  </a:lnTo>
                  <a:lnTo>
                    <a:pt x="1051" y="701"/>
                  </a:lnTo>
                  <a:lnTo>
                    <a:pt x="1051" y="701"/>
                  </a:lnTo>
                  <a:lnTo>
                    <a:pt x="1051" y="703"/>
                  </a:lnTo>
                  <a:lnTo>
                    <a:pt x="1051" y="703"/>
                  </a:lnTo>
                  <a:lnTo>
                    <a:pt x="1051" y="703"/>
                  </a:lnTo>
                  <a:lnTo>
                    <a:pt x="1051" y="705"/>
                  </a:lnTo>
                  <a:lnTo>
                    <a:pt x="1051" y="703"/>
                  </a:lnTo>
                  <a:lnTo>
                    <a:pt x="1049" y="703"/>
                  </a:lnTo>
                  <a:lnTo>
                    <a:pt x="1049" y="703"/>
                  </a:lnTo>
                  <a:lnTo>
                    <a:pt x="1049" y="703"/>
                  </a:lnTo>
                  <a:lnTo>
                    <a:pt x="1049" y="705"/>
                  </a:lnTo>
                  <a:lnTo>
                    <a:pt x="1047" y="705"/>
                  </a:lnTo>
                  <a:lnTo>
                    <a:pt x="1047" y="707"/>
                  </a:lnTo>
                  <a:lnTo>
                    <a:pt x="1047" y="705"/>
                  </a:lnTo>
                  <a:lnTo>
                    <a:pt x="1047" y="705"/>
                  </a:lnTo>
                  <a:lnTo>
                    <a:pt x="1047" y="705"/>
                  </a:lnTo>
                  <a:lnTo>
                    <a:pt x="1045" y="705"/>
                  </a:lnTo>
                  <a:lnTo>
                    <a:pt x="1045" y="705"/>
                  </a:lnTo>
                  <a:lnTo>
                    <a:pt x="1045" y="707"/>
                  </a:lnTo>
                  <a:lnTo>
                    <a:pt x="1045" y="709"/>
                  </a:lnTo>
                  <a:lnTo>
                    <a:pt x="1045" y="709"/>
                  </a:lnTo>
                  <a:lnTo>
                    <a:pt x="1045" y="711"/>
                  </a:lnTo>
                  <a:lnTo>
                    <a:pt x="1045" y="711"/>
                  </a:lnTo>
                  <a:lnTo>
                    <a:pt x="1045" y="711"/>
                  </a:lnTo>
                  <a:lnTo>
                    <a:pt x="1045" y="711"/>
                  </a:lnTo>
                  <a:lnTo>
                    <a:pt x="1043" y="711"/>
                  </a:lnTo>
                  <a:lnTo>
                    <a:pt x="1043" y="711"/>
                  </a:lnTo>
                  <a:lnTo>
                    <a:pt x="1043" y="711"/>
                  </a:lnTo>
                  <a:lnTo>
                    <a:pt x="1043" y="709"/>
                  </a:lnTo>
                  <a:lnTo>
                    <a:pt x="1043" y="709"/>
                  </a:lnTo>
                  <a:lnTo>
                    <a:pt x="1043" y="707"/>
                  </a:lnTo>
                  <a:lnTo>
                    <a:pt x="1043" y="705"/>
                  </a:lnTo>
                  <a:lnTo>
                    <a:pt x="1043" y="705"/>
                  </a:lnTo>
                  <a:lnTo>
                    <a:pt x="1045" y="703"/>
                  </a:lnTo>
                  <a:lnTo>
                    <a:pt x="1045" y="703"/>
                  </a:lnTo>
                  <a:lnTo>
                    <a:pt x="1045" y="703"/>
                  </a:lnTo>
                  <a:lnTo>
                    <a:pt x="1043" y="703"/>
                  </a:lnTo>
                  <a:lnTo>
                    <a:pt x="1043" y="703"/>
                  </a:lnTo>
                  <a:lnTo>
                    <a:pt x="1045" y="703"/>
                  </a:lnTo>
                  <a:lnTo>
                    <a:pt x="1045" y="703"/>
                  </a:lnTo>
                  <a:lnTo>
                    <a:pt x="1045" y="701"/>
                  </a:lnTo>
                  <a:lnTo>
                    <a:pt x="1045" y="701"/>
                  </a:lnTo>
                  <a:lnTo>
                    <a:pt x="1040" y="699"/>
                  </a:lnTo>
                  <a:lnTo>
                    <a:pt x="1040" y="701"/>
                  </a:lnTo>
                  <a:lnTo>
                    <a:pt x="1040" y="701"/>
                  </a:lnTo>
                  <a:lnTo>
                    <a:pt x="1040" y="701"/>
                  </a:lnTo>
                  <a:lnTo>
                    <a:pt x="1038" y="701"/>
                  </a:lnTo>
                  <a:lnTo>
                    <a:pt x="1038" y="701"/>
                  </a:lnTo>
                  <a:lnTo>
                    <a:pt x="1036" y="699"/>
                  </a:lnTo>
                  <a:lnTo>
                    <a:pt x="1036" y="699"/>
                  </a:lnTo>
                  <a:lnTo>
                    <a:pt x="1034" y="697"/>
                  </a:lnTo>
                  <a:lnTo>
                    <a:pt x="1032" y="697"/>
                  </a:lnTo>
                  <a:lnTo>
                    <a:pt x="1032" y="697"/>
                  </a:lnTo>
                  <a:lnTo>
                    <a:pt x="1032" y="697"/>
                  </a:lnTo>
                  <a:lnTo>
                    <a:pt x="1032" y="697"/>
                  </a:lnTo>
                  <a:lnTo>
                    <a:pt x="1032" y="697"/>
                  </a:lnTo>
                  <a:lnTo>
                    <a:pt x="1032" y="697"/>
                  </a:lnTo>
                  <a:lnTo>
                    <a:pt x="1032" y="699"/>
                  </a:lnTo>
                  <a:lnTo>
                    <a:pt x="1032" y="699"/>
                  </a:lnTo>
                  <a:lnTo>
                    <a:pt x="1034" y="699"/>
                  </a:lnTo>
                  <a:lnTo>
                    <a:pt x="1034" y="701"/>
                  </a:lnTo>
                  <a:lnTo>
                    <a:pt x="1036" y="703"/>
                  </a:lnTo>
                  <a:lnTo>
                    <a:pt x="1036" y="703"/>
                  </a:lnTo>
                  <a:lnTo>
                    <a:pt x="1036" y="703"/>
                  </a:lnTo>
                  <a:lnTo>
                    <a:pt x="1036" y="705"/>
                  </a:lnTo>
                  <a:lnTo>
                    <a:pt x="1036" y="705"/>
                  </a:lnTo>
                  <a:lnTo>
                    <a:pt x="1038" y="705"/>
                  </a:lnTo>
                  <a:lnTo>
                    <a:pt x="1038" y="705"/>
                  </a:lnTo>
                  <a:lnTo>
                    <a:pt x="1038" y="705"/>
                  </a:lnTo>
                  <a:lnTo>
                    <a:pt x="1038" y="707"/>
                  </a:lnTo>
                  <a:lnTo>
                    <a:pt x="1038" y="705"/>
                  </a:lnTo>
                  <a:lnTo>
                    <a:pt x="1036" y="705"/>
                  </a:lnTo>
                  <a:lnTo>
                    <a:pt x="1034" y="703"/>
                  </a:lnTo>
                  <a:lnTo>
                    <a:pt x="1034" y="703"/>
                  </a:lnTo>
                  <a:lnTo>
                    <a:pt x="1034" y="703"/>
                  </a:lnTo>
                  <a:lnTo>
                    <a:pt x="1034" y="703"/>
                  </a:lnTo>
                  <a:lnTo>
                    <a:pt x="1034" y="705"/>
                  </a:lnTo>
                  <a:lnTo>
                    <a:pt x="1034" y="705"/>
                  </a:lnTo>
                  <a:lnTo>
                    <a:pt x="1034" y="707"/>
                  </a:lnTo>
                  <a:lnTo>
                    <a:pt x="1034" y="711"/>
                  </a:lnTo>
                  <a:lnTo>
                    <a:pt x="1034" y="711"/>
                  </a:lnTo>
                  <a:lnTo>
                    <a:pt x="1034" y="713"/>
                  </a:lnTo>
                  <a:lnTo>
                    <a:pt x="1034" y="713"/>
                  </a:lnTo>
                  <a:lnTo>
                    <a:pt x="1034" y="713"/>
                  </a:lnTo>
                  <a:lnTo>
                    <a:pt x="1034" y="711"/>
                  </a:lnTo>
                  <a:lnTo>
                    <a:pt x="1034" y="711"/>
                  </a:lnTo>
                  <a:lnTo>
                    <a:pt x="1034" y="711"/>
                  </a:lnTo>
                  <a:lnTo>
                    <a:pt x="1034" y="709"/>
                  </a:lnTo>
                  <a:lnTo>
                    <a:pt x="1034" y="709"/>
                  </a:lnTo>
                  <a:lnTo>
                    <a:pt x="1034" y="709"/>
                  </a:lnTo>
                  <a:lnTo>
                    <a:pt x="1032" y="707"/>
                  </a:lnTo>
                  <a:lnTo>
                    <a:pt x="1030" y="707"/>
                  </a:lnTo>
                  <a:lnTo>
                    <a:pt x="1028" y="705"/>
                  </a:lnTo>
                  <a:lnTo>
                    <a:pt x="1028" y="705"/>
                  </a:lnTo>
                  <a:lnTo>
                    <a:pt x="1026" y="705"/>
                  </a:lnTo>
                  <a:lnTo>
                    <a:pt x="1026" y="707"/>
                  </a:lnTo>
                  <a:lnTo>
                    <a:pt x="1028" y="707"/>
                  </a:lnTo>
                  <a:lnTo>
                    <a:pt x="1028" y="709"/>
                  </a:lnTo>
                  <a:lnTo>
                    <a:pt x="1028" y="709"/>
                  </a:lnTo>
                  <a:lnTo>
                    <a:pt x="1028" y="709"/>
                  </a:lnTo>
                  <a:lnTo>
                    <a:pt x="1028" y="709"/>
                  </a:lnTo>
                  <a:lnTo>
                    <a:pt x="1030" y="709"/>
                  </a:lnTo>
                  <a:lnTo>
                    <a:pt x="1030" y="709"/>
                  </a:lnTo>
                  <a:lnTo>
                    <a:pt x="1030" y="709"/>
                  </a:lnTo>
                  <a:lnTo>
                    <a:pt x="1030" y="709"/>
                  </a:lnTo>
                  <a:lnTo>
                    <a:pt x="1030" y="711"/>
                  </a:lnTo>
                  <a:lnTo>
                    <a:pt x="1030" y="711"/>
                  </a:lnTo>
                  <a:lnTo>
                    <a:pt x="1030" y="713"/>
                  </a:lnTo>
                  <a:lnTo>
                    <a:pt x="1030" y="713"/>
                  </a:lnTo>
                  <a:lnTo>
                    <a:pt x="1030" y="711"/>
                  </a:lnTo>
                  <a:lnTo>
                    <a:pt x="1028" y="711"/>
                  </a:lnTo>
                  <a:lnTo>
                    <a:pt x="1028" y="711"/>
                  </a:lnTo>
                  <a:lnTo>
                    <a:pt x="1028" y="709"/>
                  </a:lnTo>
                  <a:lnTo>
                    <a:pt x="1028" y="709"/>
                  </a:lnTo>
                  <a:lnTo>
                    <a:pt x="1026" y="709"/>
                  </a:lnTo>
                  <a:lnTo>
                    <a:pt x="1026" y="709"/>
                  </a:lnTo>
                  <a:lnTo>
                    <a:pt x="1026" y="711"/>
                  </a:lnTo>
                  <a:lnTo>
                    <a:pt x="1026" y="711"/>
                  </a:lnTo>
                  <a:lnTo>
                    <a:pt x="1028" y="713"/>
                  </a:lnTo>
                  <a:lnTo>
                    <a:pt x="1028" y="713"/>
                  </a:lnTo>
                  <a:lnTo>
                    <a:pt x="1028" y="713"/>
                  </a:lnTo>
                  <a:lnTo>
                    <a:pt x="1026" y="713"/>
                  </a:lnTo>
                  <a:lnTo>
                    <a:pt x="1026" y="711"/>
                  </a:lnTo>
                  <a:lnTo>
                    <a:pt x="1026" y="713"/>
                  </a:lnTo>
                  <a:lnTo>
                    <a:pt x="1026" y="715"/>
                  </a:lnTo>
                  <a:lnTo>
                    <a:pt x="1026" y="717"/>
                  </a:lnTo>
                  <a:lnTo>
                    <a:pt x="1026" y="715"/>
                  </a:lnTo>
                  <a:lnTo>
                    <a:pt x="1024" y="713"/>
                  </a:lnTo>
                  <a:lnTo>
                    <a:pt x="1024" y="711"/>
                  </a:lnTo>
                  <a:lnTo>
                    <a:pt x="1024" y="709"/>
                  </a:lnTo>
                  <a:lnTo>
                    <a:pt x="1024" y="707"/>
                  </a:lnTo>
                  <a:lnTo>
                    <a:pt x="1024" y="707"/>
                  </a:lnTo>
                  <a:lnTo>
                    <a:pt x="1024" y="705"/>
                  </a:lnTo>
                  <a:lnTo>
                    <a:pt x="1024" y="705"/>
                  </a:lnTo>
                  <a:lnTo>
                    <a:pt x="1022" y="705"/>
                  </a:lnTo>
                  <a:lnTo>
                    <a:pt x="1022" y="705"/>
                  </a:lnTo>
                  <a:lnTo>
                    <a:pt x="1022" y="703"/>
                  </a:lnTo>
                  <a:lnTo>
                    <a:pt x="1022" y="703"/>
                  </a:lnTo>
                  <a:lnTo>
                    <a:pt x="1022" y="703"/>
                  </a:lnTo>
                  <a:lnTo>
                    <a:pt x="1022" y="703"/>
                  </a:lnTo>
                  <a:lnTo>
                    <a:pt x="1020" y="703"/>
                  </a:lnTo>
                  <a:lnTo>
                    <a:pt x="1020" y="703"/>
                  </a:lnTo>
                  <a:lnTo>
                    <a:pt x="1020" y="703"/>
                  </a:lnTo>
                  <a:lnTo>
                    <a:pt x="1020" y="703"/>
                  </a:lnTo>
                  <a:lnTo>
                    <a:pt x="1018" y="703"/>
                  </a:lnTo>
                  <a:lnTo>
                    <a:pt x="1018" y="703"/>
                  </a:lnTo>
                  <a:lnTo>
                    <a:pt x="1018" y="705"/>
                  </a:lnTo>
                  <a:lnTo>
                    <a:pt x="1018" y="705"/>
                  </a:lnTo>
                  <a:lnTo>
                    <a:pt x="1018" y="703"/>
                  </a:lnTo>
                  <a:lnTo>
                    <a:pt x="1018" y="705"/>
                  </a:lnTo>
                  <a:lnTo>
                    <a:pt x="1016" y="705"/>
                  </a:lnTo>
                  <a:lnTo>
                    <a:pt x="1016" y="705"/>
                  </a:lnTo>
                  <a:lnTo>
                    <a:pt x="1014" y="707"/>
                  </a:lnTo>
                  <a:lnTo>
                    <a:pt x="1014" y="709"/>
                  </a:lnTo>
                  <a:lnTo>
                    <a:pt x="1014" y="711"/>
                  </a:lnTo>
                  <a:lnTo>
                    <a:pt x="1016" y="713"/>
                  </a:lnTo>
                  <a:lnTo>
                    <a:pt x="1016" y="713"/>
                  </a:lnTo>
                  <a:lnTo>
                    <a:pt x="1020" y="713"/>
                  </a:lnTo>
                  <a:lnTo>
                    <a:pt x="1020" y="713"/>
                  </a:lnTo>
                  <a:lnTo>
                    <a:pt x="1022" y="715"/>
                  </a:lnTo>
                  <a:lnTo>
                    <a:pt x="1024" y="717"/>
                  </a:lnTo>
                  <a:lnTo>
                    <a:pt x="1024" y="717"/>
                  </a:lnTo>
                  <a:lnTo>
                    <a:pt x="1024" y="717"/>
                  </a:lnTo>
                  <a:lnTo>
                    <a:pt x="1024" y="717"/>
                  </a:lnTo>
                  <a:lnTo>
                    <a:pt x="1024" y="717"/>
                  </a:lnTo>
                  <a:lnTo>
                    <a:pt x="1024" y="717"/>
                  </a:lnTo>
                  <a:lnTo>
                    <a:pt x="1022" y="719"/>
                  </a:lnTo>
                  <a:lnTo>
                    <a:pt x="1022" y="717"/>
                  </a:lnTo>
                  <a:lnTo>
                    <a:pt x="1022" y="715"/>
                  </a:lnTo>
                  <a:lnTo>
                    <a:pt x="1018" y="715"/>
                  </a:lnTo>
                  <a:lnTo>
                    <a:pt x="1016" y="715"/>
                  </a:lnTo>
                  <a:lnTo>
                    <a:pt x="1016" y="715"/>
                  </a:lnTo>
                  <a:lnTo>
                    <a:pt x="1016" y="717"/>
                  </a:lnTo>
                  <a:lnTo>
                    <a:pt x="1020" y="719"/>
                  </a:lnTo>
                  <a:lnTo>
                    <a:pt x="1020" y="721"/>
                  </a:lnTo>
                  <a:lnTo>
                    <a:pt x="1020" y="721"/>
                  </a:lnTo>
                  <a:lnTo>
                    <a:pt x="1022" y="721"/>
                  </a:lnTo>
                  <a:lnTo>
                    <a:pt x="1022" y="721"/>
                  </a:lnTo>
                  <a:lnTo>
                    <a:pt x="1020" y="721"/>
                  </a:lnTo>
                  <a:lnTo>
                    <a:pt x="1020" y="721"/>
                  </a:lnTo>
                  <a:lnTo>
                    <a:pt x="1018" y="721"/>
                  </a:lnTo>
                  <a:lnTo>
                    <a:pt x="1018" y="719"/>
                  </a:lnTo>
                  <a:lnTo>
                    <a:pt x="1018" y="719"/>
                  </a:lnTo>
                  <a:lnTo>
                    <a:pt x="1016" y="719"/>
                  </a:lnTo>
                  <a:lnTo>
                    <a:pt x="1016" y="719"/>
                  </a:lnTo>
                  <a:lnTo>
                    <a:pt x="1016" y="721"/>
                  </a:lnTo>
                  <a:lnTo>
                    <a:pt x="1016" y="721"/>
                  </a:lnTo>
                  <a:lnTo>
                    <a:pt x="1018" y="723"/>
                  </a:lnTo>
                  <a:lnTo>
                    <a:pt x="1018" y="723"/>
                  </a:lnTo>
                  <a:lnTo>
                    <a:pt x="1018" y="723"/>
                  </a:lnTo>
                  <a:lnTo>
                    <a:pt x="1018" y="728"/>
                  </a:lnTo>
                  <a:lnTo>
                    <a:pt x="1018" y="730"/>
                  </a:lnTo>
                  <a:lnTo>
                    <a:pt x="1018" y="730"/>
                  </a:lnTo>
                  <a:lnTo>
                    <a:pt x="1018" y="730"/>
                  </a:lnTo>
                  <a:lnTo>
                    <a:pt x="1020" y="732"/>
                  </a:lnTo>
                  <a:lnTo>
                    <a:pt x="1020" y="732"/>
                  </a:lnTo>
                  <a:lnTo>
                    <a:pt x="1020" y="734"/>
                  </a:lnTo>
                  <a:lnTo>
                    <a:pt x="1020" y="734"/>
                  </a:lnTo>
                  <a:lnTo>
                    <a:pt x="1022" y="734"/>
                  </a:lnTo>
                  <a:lnTo>
                    <a:pt x="1022" y="736"/>
                  </a:lnTo>
                  <a:lnTo>
                    <a:pt x="1022" y="736"/>
                  </a:lnTo>
                  <a:lnTo>
                    <a:pt x="1020" y="734"/>
                  </a:lnTo>
                  <a:lnTo>
                    <a:pt x="1018" y="734"/>
                  </a:lnTo>
                  <a:lnTo>
                    <a:pt x="1018" y="730"/>
                  </a:lnTo>
                  <a:lnTo>
                    <a:pt x="1016" y="730"/>
                  </a:lnTo>
                  <a:lnTo>
                    <a:pt x="1016" y="730"/>
                  </a:lnTo>
                  <a:lnTo>
                    <a:pt x="1016" y="728"/>
                  </a:lnTo>
                  <a:lnTo>
                    <a:pt x="1016" y="728"/>
                  </a:lnTo>
                  <a:lnTo>
                    <a:pt x="1014" y="723"/>
                  </a:lnTo>
                  <a:lnTo>
                    <a:pt x="1014" y="721"/>
                  </a:lnTo>
                  <a:lnTo>
                    <a:pt x="1014" y="721"/>
                  </a:lnTo>
                  <a:lnTo>
                    <a:pt x="1010" y="721"/>
                  </a:lnTo>
                  <a:lnTo>
                    <a:pt x="1010" y="721"/>
                  </a:lnTo>
                  <a:lnTo>
                    <a:pt x="1012" y="721"/>
                  </a:lnTo>
                  <a:lnTo>
                    <a:pt x="1014" y="719"/>
                  </a:lnTo>
                  <a:lnTo>
                    <a:pt x="1012" y="717"/>
                  </a:lnTo>
                  <a:lnTo>
                    <a:pt x="1012" y="715"/>
                  </a:lnTo>
                  <a:lnTo>
                    <a:pt x="1012" y="715"/>
                  </a:lnTo>
                  <a:lnTo>
                    <a:pt x="1008" y="715"/>
                  </a:lnTo>
                  <a:lnTo>
                    <a:pt x="1008" y="715"/>
                  </a:lnTo>
                  <a:lnTo>
                    <a:pt x="1008" y="715"/>
                  </a:lnTo>
                  <a:lnTo>
                    <a:pt x="1006" y="715"/>
                  </a:lnTo>
                  <a:lnTo>
                    <a:pt x="1006" y="715"/>
                  </a:lnTo>
                  <a:lnTo>
                    <a:pt x="1006" y="715"/>
                  </a:lnTo>
                  <a:lnTo>
                    <a:pt x="1006" y="715"/>
                  </a:lnTo>
                  <a:lnTo>
                    <a:pt x="1004" y="715"/>
                  </a:lnTo>
                  <a:lnTo>
                    <a:pt x="1004" y="715"/>
                  </a:lnTo>
                  <a:lnTo>
                    <a:pt x="1004" y="715"/>
                  </a:lnTo>
                  <a:lnTo>
                    <a:pt x="1002" y="715"/>
                  </a:lnTo>
                  <a:lnTo>
                    <a:pt x="1002" y="715"/>
                  </a:lnTo>
                  <a:lnTo>
                    <a:pt x="1002" y="717"/>
                  </a:lnTo>
                  <a:lnTo>
                    <a:pt x="1002" y="717"/>
                  </a:lnTo>
                  <a:lnTo>
                    <a:pt x="1002" y="717"/>
                  </a:lnTo>
                  <a:lnTo>
                    <a:pt x="999" y="719"/>
                  </a:lnTo>
                  <a:lnTo>
                    <a:pt x="1002" y="719"/>
                  </a:lnTo>
                  <a:lnTo>
                    <a:pt x="1002" y="719"/>
                  </a:lnTo>
                  <a:lnTo>
                    <a:pt x="999" y="719"/>
                  </a:lnTo>
                  <a:lnTo>
                    <a:pt x="997" y="719"/>
                  </a:lnTo>
                  <a:lnTo>
                    <a:pt x="997" y="719"/>
                  </a:lnTo>
                  <a:lnTo>
                    <a:pt x="997" y="721"/>
                  </a:lnTo>
                  <a:lnTo>
                    <a:pt x="997" y="723"/>
                  </a:lnTo>
                  <a:lnTo>
                    <a:pt x="997" y="721"/>
                  </a:lnTo>
                  <a:lnTo>
                    <a:pt x="997" y="721"/>
                  </a:lnTo>
                  <a:lnTo>
                    <a:pt x="997" y="721"/>
                  </a:lnTo>
                  <a:lnTo>
                    <a:pt x="995" y="721"/>
                  </a:lnTo>
                  <a:lnTo>
                    <a:pt x="995" y="721"/>
                  </a:lnTo>
                  <a:lnTo>
                    <a:pt x="995" y="723"/>
                  </a:lnTo>
                  <a:lnTo>
                    <a:pt x="993" y="723"/>
                  </a:lnTo>
                  <a:lnTo>
                    <a:pt x="993" y="725"/>
                  </a:lnTo>
                  <a:lnTo>
                    <a:pt x="995" y="725"/>
                  </a:lnTo>
                  <a:lnTo>
                    <a:pt x="993" y="725"/>
                  </a:lnTo>
                  <a:lnTo>
                    <a:pt x="993" y="725"/>
                  </a:lnTo>
                  <a:lnTo>
                    <a:pt x="991" y="728"/>
                  </a:lnTo>
                  <a:lnTo>
                    <a:pt x="993" y="728"/>
                  </a:lnTo>
                  <a:lnTo>
                    <a:pt x="993" y="730"/>
                  </a:lnTo>
                  <a:lnTo>
                    <a:pt x="993" y="730"/>
                  </a:lnTo>
                  <a:lnTo>
                    <a:pt x="991" y="730"/>
                  </a:lnTo>
                  <a:lnTo>
                    <a:pt x="991" y="732"/>
                  </a:lnTo>
                  <a:lnTo>
                    <a:pt x="991" y="732"/>
                  </a:lnTo>
                  <a:lnTo>
                    <a:pt x="991" y="732"/>
                  </a:lnTo>
                  <a:lnTo>
                    <a:pt x="993" y="732"/>
                  </a:lnTo>
                  <a:lnTo>
                    <a:pt x="993" y="732"/>
                  </a:lnTo>
                  <a:lnTo>
                    <a:pt x="991" y="732"/>
                  </a:lnTo>
                  <a:lnTo>
                    <a:pt x="991" y="732"/>
                  </a:lnTo>
                  <a:lnTo>
                    <a:pt x="991" y="732"/>
                  </a:lnTo>
                  <a:lnTo>
                    <a:pt x="989" y="732"/>
                  </a:lnTo>
                  <a:lnTo>
                    <a:pt x="989" y="732"/>
                  </a:lnTo>
                  <a:lnTo>
                    <a:pt x="991" y="732"/>
                  </a:lnTo>
                  <a:lnTo>
                    <a:pt x="991" y="734"/>
                  </a:lnTo>
                  <a:lnTo>
                    <a:pt x="991" y="734"/>
                  </a:lnTo>
                  <a:lnTo>
                    <a:pt x="991" y="734"/>
                  </a:lnTo>
                  <a:lnTo>
                    <a:pt x="991" y="734"/>
                  </a:lnTo>
                  <a:lnTo>
                    <a:pt x="989" y="734"/>
                  </a:lnTo>
                  <a:lnTo>
                    <a:pt x="991" y="736"/>
                  </a:lnTo>
                  <a:lnTo>
                    <a:pt x="991" y="736"/>
                  </a:lnTo>
                  <a:lnTo>
                    <a:pt x="991" y="736"/>
                  </a:lnTo>
                  <a:lnTo>
                    <a:pt x="993" y="734"/>
                  </a:lnTo>
                  <a:lnTo>
                    <a:pt x="993" y="736"/>
                  </a:lnTo>
                  <a:lnTo>
                    <a:pt x="993" y="736"/>
                  </a:lnTo>
                  <a:lnTo>
                    <a:pt x="993" y="736"/>
                  </a:lnTo>
                  <a:lnTo>
                    <a:pt x="993" y="736"/>
                  </a:lnTo>
                  <a:lnTo>
                    <a:pt x="995" y="736"/>
                  </a:lnTo>
                  <a:lnTo>
                    <a:pt x="995" y="736"/>
                  </a:lnTo>
                  <a:lnTo>
                    <a:pt x="995" y="736"/>
                  </a:lnTo>
                  <a:lnTo>
                    <a:pt x="995" y="736"/>
                  </a:lnTo>
                  <a:lnTo>
                    <a:pt x="995" y="738"/>
                  </a:lnTo>
                  <a:lnTo>
                    <a:pt x="997" y="740"/>
                  </a:lnTo>
                  <a:lnTo>
                    <a:pt x="997" y="740"/>
                  </a:lnTo>
                  <a:lnTo>
                    <a:pt x="997" y="742"/>
                  </a:lnTo>
                  <a:lnTo>
                    <a:pt x="997" y="744"/>
                  </a:lnTo>
                  <a:lnTo>
                    <a:pt x="997" y="746"/>
                  </a:lnTo>
                  <a:lnTo>
                    <a:pt x="997" y="746"/>
                  </a:lnTo>
                  <a:lnTo>
                    <a:pt x="997" y="748"/>
                  </a:lnTo>
                  <a:lnTo>
                    <a:pt x="997" y="750"/>
                  </a:lnTo>
                  <a:lnTo>
                    <a:pt x="997" y="750"/>
                  </a:lnTo>
                  <a:lnTo>
                    <a:pt x="997" y="750"/>
                  </a:lnTo>
                  <a:lnTo>
                    <a:pt x="997" y="750"/>
                  </a:lnTo>
                  <a:lnTo>
                    <a:pt x="999" y="750"/>
                  </a:lnTo>
                  <a:lnTo>
                    <a:pt x="999" y="750"/>
                  </a:lnTo>
                  <a:lnTo>
                    <a:pt x="999" y="750"/>
                  </a:lnTo>
                  <a:lnTo>
                    <a:pt x="1002" y="750"/>
                  </a:lnTo>
                  <a:lnTo>
                    <a:pt x="1002" y="752"/>
                  </a:lnTo>
                  <a:lnTo>
                    <a:pt x="1004" y="754"/>
                  </a:lnTo>
                  <a:lnTo>
                    <a:pt x="1004" y="754"/>
                  </a:lnTo>
                  <a:lnTo>
                    <a:pt x="1004" y="754"/>
                  </a:lnTo>
                  <a:lnTo>
                    <a:pt x="1004" y="756"/>
                  </a:lnTo>
                  <a:lnTo>
                    <a:pt x="1004" y="756"/>
                  </a:lnTo>
                  <a:lnTo>
                    <a:pt x="1004" y="756"/>
                  </a:lnTo>
                  <a:lnTo>
                    <a:pt x="1004" y="756"/>
                  </a:lnTo>
                  <a:lnTo>
                    <a:pt x="1006" y="756"/>
                  </a:lnTo>
                  <a:lnTo>
                    <a:pt x="1006" y="756"/>
                  </a:lnTo>
                  <a:lnTo>
                    <a:pt x="1006" y="756"/>
                  </a:lnTo>
                  <a:lnTo>
                    <a:pt x="1006" y="756"/>
                  </a:lnTo>
                  <a:lnTo>
                    <a:pt x="1004" y="756"/>
                  </a:lnTo>
                  <a:lnTo>
                    <a:pt x="1004" y="756"/>
                  </a:lnTo>
                  <a:lnTo>
                    <a:pt x="1004" y="756"/>
                  </a:lnTo>
                  <a:lnTo>
                    <a:pt x="1004" y="754"/>
                  </a:lnTo>
                  <a:lnTo>
                    <a:pt x="1004" y="754"/>
                  </a:lnTo>
                  <a:lnTo>
                    <a:pt x="1004" y="754"/>
                  </a:lnTo>
                  <a:lnTo>
                    <a:pt x="1004" y="754"/>
                  </a:lnTo>
                  <a:lnTo>
                    <a:pt x="1004" y="756"/>
                  </a:lnTo>
                  <a:lnTo>
                    <a:pt x="1006" y="754"/>
                  </a:lnTo>
                  <a:lnTo>
                    <a:pt x="1006" y="754"/>
                  </a:lnTo>
                  <a:lnTo>
                    <a:pt x="1006" y="754"/>
                  </a:lnTo>
                  <a:lnTo>
                    <a:pt x="1006" y="754"/>
                  </a:lnTo>
                  <a:lnTo>
                    <a:pt x="1006" y="754"/>
                  </a:lnTo>
                  <a:lnTo>
                    <a:pt x="1006" y="754"/>
                  </a:lnTo>
                  <a:lnTo>
                    <a:pt x="1006" y="754"/>
                  </a:lnTo>
                  <a:lnTo>
                    <a:pt x="1006" y="752"/>
                  </a:lnTo>
                  <a:lnTo>
                    <a:pt x="1006" y="752"/>
                  </a:lnTo>
                  <a:lnTo>
                    <a:pt x="1008" y="752"/>
                  </a:lnTo>
                  <a:lnTo>
                    <a:pt x="1008" y="752"/>
                  </a:lnTo>
                  <a:lnTo>
                    <a:pt x="1008" y="752"/>
                  </a:lnTo>
                  <a:lnTo>
                    <a:pt x="1008" y="750"/>
                  </a:lnTo>
                  <a:lnTo>
                    <a:pt x="1008" y="750"/>
                  </a:lnTo>
                  <a:lnTo>
                    <a:pt x="1008" y="750"/>
                  </a:lnTo>
                  <a:lnTo>
                    <a:pt x="1008" y="748"/>
                  </a:lnTo>
                  <a:lnTo>
                    <a:pt x="1008" y="748"/>
                  </a:lnTo>
                  <a:lnTo>
                    <a:pt x="1010" y="746"/>
                  </a:lnTo>
                  <a:lnTo>
                    <a:pt x="1010" y="744"/>
                  </a:lnTo>
                  <a:lnTo>
                    <a:pt x="1010" y="744"/>
                  </a:lnTo>
                  <a:lnTo>
                    <a:pt x="1010" y="744"/>
                  </a:lnTo>
                  <a:lnTo>
                    <a:pt x="1006" y="744"/>
                  </a:lnTo>
                  <a:lnTo>
                    <a:pt x="1004" y="744"/>
                  </a:lnTo>
                  <a:lnTo>
                    <a:pt x="1004" y="744"/>
                  </a:lnTo>
                  <a:lnTo>
                    <a:pt x="1004" y="746"/>
                  </a:lnTo>
                  <a:lnTo>
                    <a:pt x="1002" y="746"/>
                  </a:lnTo>
                  <a:lnTo>
                    <a:pt x="1002" y="746"/>
                  </a:lnTo>
                  <a:lnTo>
                    <a:pt x="1002" y="746"/>
                  </a:lnTo>
                  <a:lnTo>
                    <a:pt x="999" y="746"/>
                  </a:lnTo>
                  <a:lnTo>
                    <a:pt x="999" y="746"/>
                  </a:lnTo>
                  <a:lnTo>
                    <a:pt x="999" y="744"/>
                  </a:lnTo>
                  <a:lnTo>
                    <a:pt x="997" y="744"/>
                  </a:lnTo>
                  <a:lnTo>
                    <a:pt x="999" y="744"/>
                  </a:lnTo>
                  <a:lnTo>
                    <a:pt x="1002" y="744"/>
                  </a:lnTo>
                  <a:lnTo>
                    <a:pt x="1002" y="742"/>
                  </a:lnTo>
                  <a:lnTo>
                    <a:pt x="1002" y="742"/>
                  </a:lnTo>
                  <a:lnTo>
                    <a:pt x="1002" y="742"/>
                  </a:lnTo>
                  <a:lnTo>
                    <a:pt x="1004" y="742"/>
                  </a:lnTo>
                  <a:lnTo>
                    <a:pt x="1006" y="742"/>
                  </a:lnTo>
                  <a:lnTo>
                    <a:pt x="1008" y="742"/>
                  </a:lnTo>
                  <a:lnTo>
                    <a:pt x="1010" y="742"/>
                  </a:lnTo>
                  <a:lnTo>
                    <a:pt x="1010" y="742"/>
                  </a:lnTo>
                  <a:lnTo>
                    <a:pt x="1010" y="742"/>
                  </a:lnTo>
                  <a:lnTo>
                    <a:pt x="1010" y="744"/>
                  </a:lnTo>
                  <a:lnTo>
                    <a:pt x="1014" y="744"/>
                  </a:lnTo>
                  <a:lnTo>
                    <a:pt x="1010" y="746"/>
                  </a:lnTo>
                  <a:lnTo>
                    <a:pt x="1010" y="748"/>
                  </a:lnTo>
                  <a:lnTo>
                    <a:pt x="1010" y="748"/>
                  </a:lnTo>
                  <a:lnTo>
                    <a:pt x="1010" y="748"/>
                  </a:lnTo>
                  <a:lnTo>
                    <a:pt x="1008" y="750"/>
                  </a:lnTo>
                  <a:lnTo>
                    <a:pt x="1008" y="750"/>
                  </a:lnTo>
                  <a:lnTo>
                    <a:pt x="1008" y="750"/>
                  </a:lnTo>
                  <a:lnTo>
                    <a:pt x="1010" y="750"/>
                  </a:lnTo>
                  <a:lnTo>
                    <a:pt x="1010" y="752"/>
                  </a:lnTo>
                  <a:lnTo>
                    <a:pt x="1010" y="750"/>
                  </a:lnTo>
                  <a:lnTo>
                    <a:pt x="1012" y="750"/>
                  </a:lnTo>
                  <a:lnTo>
                    <a:pt x="1012" y="748"/>
                  </a:lnTo>
                  <a:lnTo>
                    <a:pt x="1014" y="746"/>
                  </a:lnTo>
                  <a:lnTo>
                    <a:pt x="1016" y="744"/>
                  </a:lnTo>
                  <a:lnTo>
                    <a:pt x="1018" y="744"/>
                  </a:lnTo>
                  <a:lnTo>
                    <a:pt x="1018" y="742"/>
                  </a:lnTo>
                  <a:lnTo>
                    <a:pt x="1018" y="742"/>
                  </a:lnTo>
                  <a:lnTo>
                    <a:pt x="1018" y="742"/>
                  </a:lnTo>
                  <a:lnTo>
                    <a:pt x="1018" y="742"/>
                  </a:lnTo>
                  <a:lnTo>
                    <a:pt x="1020" y="742"/>
                  </a:lnTo>
                  <a:lnTo>
                    <a:pt x="1020" y="744"/>
                  </a:lnTo>
                  <a:lnTo>
                    <a:pt x="1020" y="744"/>
                  </a:lnTo>
                  <a:lnTo>
                    <a:pt x="1018" y="744"/>
                  </a:lnTo>
                  <a:lnTo>
                    <a:pt x="1018" y="744"/>
                  </a:lnTo>
                  <a:lnTo>
                    <a:pt x="1018" y="744"/>
                  </a:lnTo>
                  <a:lnTo>
                    <a:pt x="1018" y="744"/>
                  </a:lnTo>
                  <a:lnTo>
                    <a:pt x="1018" y="744"/>
                  </a:lnTo>
                  <a:lnTo>
                    <a:pt x="1018" y="744"/>
                  </a:lnTo>
                  <a:lnTo>
                    <a:pt x="1016" y="746"/>
                  </a:lnTo>
                  <a:lnTo>
                    <a:pt x="1016" y="746"/>
                  </a:lnTo>
                  <a:lnTo>
                    <a:pt x="1016" y="746"/>
                  </a:lnTo>
                  <a:lnTo>
                    <a:pt x="1014" y="748"/>
                  </a:lnTo>
                  <a:lnTo>
                    <a:pt x="1014" y="750"/>
                  </a:lnTo>
                  <a:lnTo>
                    <a:pt x="1014" y="750"/>
                  </a:lnTo>
                  <a:lnTo>
                    <a:pt x="1014" y="750"/>
                  </a:lnTo>
                  <a:lnTo>
                    <a:pt x="1014" y="752"/>
                  </a:lnTo>
                  <a:lnTo>
                    <a:pt x="1014" y="752"/>
                  </a:lnTo>
                  <a:lnTo>
                    <a:pt x="1016" y="752"/>
                  </a:lnTo>
                  <a:lnTo>
                    <a:pt x="1016" y="750"/>
                  </a:lnTo>
                  <a:lnTo>
                    <a:pt x="1016" y="750"/>
                  </a:lnTo>
                  <a:lnTo>
                    <a:pt x="1016" y="748"/>
                  </a:lnTo>
                  <a:lnTo>
                    <a:pt x="1016" y="748"/>
                  </a:lnTo>
                  <a:lnTo>
                    <a:pt x="1018" y="748"/>
                  </a:lnTo>
                  <a:lnTo>
                    <a:pt x="1018" y="750"/>
                  </a:lnTo>
                  <a:lnTo>
                    <a:pt x="1016" y="750"/>
                  </a:lnTo>
                  <a:lnTo>
                    <a:pt x="1016" y="752"/>
                  </a:lnTo>
                  <a:lnTo>
                    <a:pt x="1018" y="750"/>
                  </a:lnTo>
                  <a:lnTo>
                    <a:pt x="1018" y="750"/>
                  </a:lnTo>
                  <a:lnTo>
                    <a:pt x="1018" y="750"/>
                  </a:lnTo>
                  <a:lnTo>
                    <a:pt x="1018" y="752"/>
                  </a:lnTo>
                  <a:lnTo>
                    <a:pt x="1016" y="754"/>
                  </a:lnTo>
                  <a:lnTo>
                    <a:pt x="1014" y="754"/>
                  </a:lnTo>
                  <a:lnTo>
                    <a:pt x="1014" y="754"/>
                  </a:lnTo>
                  <a:lnTo>
                    <a:pt x="1014" y="754"/>
                  </a:lnTo>
                  <a:lnTo>
                    <a:pt x="1014" y="756"/>
                  </a:lnTo>
                  <a:lnTo>
                    <a:pt x="1012" y="756"/>
                  </a:lnTo>
                  <a:lnTo>
                    <a:pt x="1010" y="758"/>
                  </a:lnTo>
                  <a:lnTo>
                    <a:pt x="1008" y="760"/>
                  </a:lnTo>
                  <a:lnTo>
                    <a:pt x="1008" y="762"/>
                  </a:lnTo>
                  <a:lnTo>
                    <a:pt x="1008" y="762"/>
                  </a:lnTo>
                  <a:lnTo>
                    <a:pt x="1008" y="762"/>
                  </a:lnTo>
                  <a:lnTo>
                    <a:pt x="1008" y="762"/>
                  </a:lnTo>
                  <a:lnTo>
                    <a:pt x="1008" y="762"/>
                  </a:lnTo>
                  <a:lnTo>
                    <a:pt x="1010" y="762"/>
                  </a:lnTo>
                  <a:lnTo>
                    <a:pt x="1010" y="762"/>
                  </a:lnTo>
                  <a:lnTo>
                    <a:pt x="1010" y="762"/>
                  </a:lnTo>
                  <a:lnTo>
                    <a:pt x="1012" y="762"/>
                  </a:lnTo>
                  <a:lnTo>
                    <a:pt x="1012" y="762"/>
                  </a:lnTo>
                  <a:lnTo>
                    <a:pt x="1012" y="762"/>
                  </a:lnTo>
                  <a:lnTo>
                    <a:pt x="1012" y="762"/>
                  </a:lnTo>
                  <a:lnTo>
                    <a:pt x="1014" y="762"/>
                  </a:lnTo>
                  <a:lnTo>
                    <a:pt x="1014" y="762"/>
                  </a:lnTo>
                  <a:lnTo>
                    <a:pt x="1016" y="760"/>
                  </a:lnTo>
                  <a:lnTo>
                    <a:pt x="1016" y="760"/>
                  </a:lnTo>
                  <a:lnTo>
                    <a:pt x="1016" y="758"/>
                  </a:lnTo>
                  <a:lnTo>
                    <a:pt x="1016" y="758"/>
                  </a:lnTo>
                  <a:lnTo>
                    <a:pt x="1018" y="758"/>
                  </a:lnTo>
                  <a:lnTo>
                    <a:pt x="1018" y="758"/>
                  </a:lnTo>
                  <a:lnTo>
                    <a:pt x="1018" y="758"/>
                  </a:lnTo>
                  <a:lnTo>
                    <a:pt x="1018" y="758"/>
                  </a:lnTo>
                  <a:lnTo>
                    <a:pt x="1018" y="758"/>
                  </a:lnTo>
                  <a:lnTo>
                    <a:pt x="1018" y="758"/>
                  </a:lnTo>
                  <a:lnTo>
                    <a:pt x="1018" y="758"/>
                  </a:lnTo>
                  <a:lnTo>
                    <a:pt x="1020" y="758"/>
                  </a:lnTo>
                  <a:lnTo>
                    <a:pt x="1020" y="756"/>
                  </a:lnTo>
                  <a:lnTo>
                    <a:pt x="1020" y="756"/>
                  </a:lnTo>
                  <a:lnTo>
                    <a:pt x="1022" y="756"/>
                  </a:lnTo>
                  <a:lnTo>
                    <a:pt x="1022" y="756"/>
                  </a:lnTo>
                  <a:lnTo>
                    <a:pt x="1020" y="756"/>
                  </a:lnTo>
                  <a:lnTo>
                    <a:pt x="1020" y="756"/>
                  </a:lnTo>
                  <a:lnTo>
                    <a:pt x="1018" y="756"/>
                  </a:lnTo>
                  <a:lnTo>
                    <a:pt x="1020" y="754"/>
                  </a:lnTo>
                  <a:lnTo>
                    <a:pt x="1020" y="756"/>
                  </a:lnTo>
                  <a:lnTo>
                    <a:pt x="1020" y="754"/>
                  </a:lnTo>
                  <a:lnTo>
                    <a:pt x="1022" y="750"/>
                  </a:lnTo>
                  <a:lnTo>
                    <a:pt x="1022" y="752"/>
                  </a:lnTo>
                  <a:lnTo>
                    <a:pt x="1022" y="752"/>
                  </a:lnTo>
                  <a:lnTo>
                    <a:pt x="1022" y="752"/>
                  </a:lnTo>
                  <a:lnTo>
                    <a:pt x="1022" y="752"/>
                  </a:lnTo>
                  <a:lnTo>
                    <a:pt x="1022" y="752"/>
                  </a:lnTo>
                  <a:lnTo>
                    <a:pt x="1024" y="752"/>
                  </a:lnTo>
                  <a:lnTo>
                    <a:pt x="1024" y="752"/>
                  </a:lnTo>
                  <a:lnTo>
                    <a:pt x="1024" y="752"/>
                  </a:lnTo>
                  <a:lnTo>
                    <a:pt x="1024" y="752"/>
                  </a:lnTo>
                  <a:lnTo>
                    <a:pt x="1024" y="752"/>
                  </a:lnTo>
                  <a:lnTo>
                    <a:pt x="1024" y="752"/>
                  </a:lnTo>
                  <a:lnTo>
                    <a:pt x="1024" y="752"/>
                  </a:lnTo>
                  <a:lnTo>
                    <a:pt x="1024" y="752"/>
                  </a:lnTo>
                  <a:lnTo>
                    <a:pt x="1024" y="750"/>
                  </a:lnTo>
                  <a:lnTo>
                    <a:pt x="1024" y="750"/>
                  </a:lnTo>
                  <a:lnTo>
                    <a:pt x="1024" y="750"/>
                  </a:lnTo>
                  <a:lnTo>
                    <a:pt x="1022" y="750"/>
                  </a:lnTo>
                  <a:lnTo>
                    <a:pt x="1022" y="748"/>
                  </a:lnTo>
                  <a:lnTo>
                    <a:pt x="1022" y="748"/>
                  </a:lnTo>
                  <a:lnTo>
                    <a:pt x="1022" y="748"/>
                  </a:lnTo>
                  <a:lnTo>
                    <a:pt x="1024" y="748"/>
                  </a:lnTo>
                  <a:lnTo>
                    <a:pt x="1024" y="748"/>
                  </a:lnTo>
                  <a:lnTo>
                    <a:pt x="1024" y="748"/>
                  </a:lnTo>
                  <a:lnTo>
                    <a:pt x="1024" y="748"/>
                  </a:lnTo>
                  <a:lnTo>
                    <a:pt x="1024" y="746"/>
                  </a:lnTo>
                  <a:lnTo>
                    <a:pt x="1020" y="748"/>
                  </a:lnTo>
                  <a:lnTo>
                    <a:pt x="1020" y="746"/>
                  </a:lnTo>
                  <a:lnTo>
                    <a:pt x="1020" y="746"/>
                  </a:lnTo>
                  <a:lnTo>
                    <a:pt x="1024" y="746"/>
                  </a:lnTo>
                  <a:lnTo>
                    <a:pt x="1026" y="746"/>
                  </a:lnTo>
                  <a:lnTo>
                    <a:pt x="1026" y="746"/>
                  </a:lnTo>
                  <a:lnTo>
                    <a:pt x="1026" y="744"/>
                  </a:lnTo>
                  <a:lnTo>
                    <a:pt x="1026" y="744"/>
                  </a:lnTo>
                  <a:lnTo>
                    <a:pt x="1026" y="744"/>
                  </a:lnTo>
                  <a:lnTo>
                    <a:pt x="1026" y="744"/>
                  </a:lnTo>
                  <a:lnTo>
                    <a:pt x="1026" y="742"/>
                  </a:lnTo>
                  <a:lnTo>
                    <a:pt x="1026" y="740"/>
                  </a:lnTo>
                  <a:lnTo>
                    <a:pt x="1026" y="740"/>
                  </a:lnTo>
                  <a:lnTo>
                    <a:pt x="1026" y="742"/>
                  </a:lnTo>
                  <a:lnTo>
                    <a:pt x="1026" y="740"/>
                  </a:lnTo>
                  <a:lnTo>
                    <a:pt x="1026" y="740"/>
                  </a:lnTo>
                  <a:lnTo>
                    <a:pt x="1026" y="740"/>
                  </a:lnTo>
                  <a:lnTo>
                    <a:pt x="1026" y="740"/>
                  </a:lnTo>
                  <a:lnTo>
                    <a:pt x="1026" y="740"/>
                  </a:lnTo>
                  <a:lnTo>
                    <a:pt x="1026" y="742"/>
                  </a:lnTo>
                  <a:lnTo>
                    <a:pt x="1026" y="742"/>
                  </a:lnTo>
                  <a:lnTo>
                    <a:pt x="1028" y="744"/>
                  </a:lnTo>
                  <a:lnTo>
                    <a:pt x="1028" y="744"/>
                  </a:lnTo>
                  <a:lnTo>
                    <a:pt x="1028" y="744"/>
                  </a:lnTo>
                  <a:lnTo>
                    <a:pt x="1028" y="742"/>
                  </a:lnTo>
                  <a:lnTo>
                    <a:pt x="1028" y="742"/>
                  </a:lnTo>
                  <a:lnTo>
                    <a:pt x="1030" y="740"/>
                  </a:lnTo>
                  <a:lnTo>
                    <a:pt x="1030" y="740"/>
                  </a:lnTo>
                  <a:lnTo>
                    <a:pt x="1030" y="740"/>
                  </a:lnTo>
                  <a:lnTo>
                    <a:pt x="1030" y="738"/>
                  </a:lnTo>
                  <a:lnTo>
                    <a:pt x="1030" y="740"/>
                  </a:lnTo>
                  <a:lnTo>
                    <a:pt x="1030" y="740"/>
                  </a:lnTo>
                  <a:lnTo>
                    <a:pt x="1030" y="740"/>
                  </a:lnTo>
                  <a:lnTo>
                    <a:pt x="1032" y="740"/>
                  </a:lnTo>
                  <a:lnTo>
                    <a:pt x="1032" y="738"/>
                  </a:lnTo>
                  <a:lnTo>
                    <a:pt x="1032" y="738"/>
                  </a:lnTo>
                  <a:lnTo>
                    <a:pt x="1032" y="738"/>
                  </a:lnTo>
                  <a:lnTo>
                    <a:pt x="1032" y="738"/>
                  </a:lnTo>
                  <a:lnTo>
                    <a:pt x="1034" y="738"/>
                  </a:lnTo>
                  <a:lnTo>
                    <a:pt x="1034" y="738"/>
                  </a:lnTo>
                  <a:lnTo>
                    <a:pt x="1034" y="738"/>
                  </a:lnTo>
                  <a:lnTo>
                    <a:pt x="1034" y="738"/>
                  </a:lnTo>
                  <a:lnTo>
                    <a:pt x="1034" y="738"/>
                  </a:lnTo>
                  <a:lnTo>
                    <a:pt x="1034" y="738"/>
                  </a:lnTo>
                  <a:lnTo>
                    <a:pt x="1038" y="738"/>
                  </a:lnTo>
                  <a:lnTo>
                    <a:pt x="1038" y="738"/>
                  </a:lnTo>
                  <a:lnTo>
                    <a:pt x="1043" y="736"/>
                  </a:lnTo>
                  <a:lnTo>
                    <a:pt x="1040" y="736"/>
                  </a:lnTo>
                  <a:lnTo>
                    <a:pt x="1040" y="734"/>
                  </a:lnTo>
                  <a:lnTo>
                    <a:pt x="1040" y="734"/>
                  </a:lnTo>
                  <a:lnTo>
                    <a:pt x="1038" y="734"/>
                  </a:lnTo>
                  <a:lnTo>
                    <a:pt x="1038" y="734"/>
                  </a:lnTo>
                  <a:lnTo>
                    <a:pt x="1036" y="734"/>
                  </a:lnTo>
                  <a:lnTo>
                    <a:pt x="1034" y="734"/>
                  </a:lnTo>
                  <a:lnTo>
                    <a:pt x="1036" y="734"/>
                  </a:lnTo>
                  <a:lnTo>
                    <a:pt x="1036" y="732"/>
                  </a:lnTo>
                  <a:lnTo>
                    <a:pt x="1036" y="732"/>
                  </a:lnTo>
                  <a:lnTo>
                    <a:pt x="1036" y="732"/>
                  </a:lnTo>
                  <a:lnTo>
                    <a:pt x="1036" y="732"/>
                  </a:lnTo>
                  <a:lnTo>
                    <a:pt x="1036" y="732"/>
                  </a:lnTo>
                  <a:lnTo>
                    <a:pt x="1036" y="732"/>
                  </a:lnTo>
                  <a:lnTo>
                    <a:pt x="1036" y="734"/>
                  </a:lnTo>
                  <a:lnTo>
                    <a:pt x="1036" y="734"/>
                  </a:lnTo>
                  <a:lnTo>
                    <a:pt x="1038" y="734"/>
                  </a:lnTo>
                  <a:lnTo>
                    <a:pt x="1038" y="732"/>
                  </a:lnTo>
                  <a:lnTo>
                    <a:pt x="1040" y="732"/>
                  </a:lnTo>
                  <a:lnTo>
                    <a:pt x="1040" y="732"/>
                  </a:lnTo>
                  <a:lnTo>
                    <a:pt x="1040" y="732"/>
                  </a:lnTo>
                  <a:lnTo>
                    <a:pt x="1043" y="732"/>
                  </a:lnTo>
                  <a:lnTo>
                    <a:pt x="1043" y="732"/>
                  </a:lnTo>
                  <a:lnTo>
                    <a:pt x="1045" y="732"/>
                  </a:lnTo>
                  <a:lnTo>
                    <a:pt x="1045" y="732"/>
                  </a:lnTo>
                  <a:lnTo>
                    <a:pt x="1045" y="732"/>
                  </a:lnTo>
                  <a:lnTo>
                    <a:pt x="1043" y="734"/>
                  </a:lnTo>
                  <a:lnTo>
                    <a:pt x="1043" y="734"/>
                  </a:lnTo>
                  <a:lnTo>
                    <a:pt x="1045" y="734"/>
                  </a:lnTo>
                  <a:lnTo>
                    <a:pt x="1045" y="734"/>
                  </a:lnTo>
                  <a:lnTo>
                    <a:pt x="1045" y="736"/>
                  </a:lnTo>
                  <a:lnTo>
                    <a:pt x="1045" y="736"/>
                  </a:lnTo>
                  <a:lnTo>
                    <a:pt x="1047" y="736"/>
                  </a:lnTo>
                  <a:lnTo>
                    <a:pt x="1047" y="734"/>
                  </a:lnTo>
                  <a:lnTo>
                    <a:pt x="1049" y="734"/>
                  </a:lnTo>
                  <a:lnTo>
                    <a:pt x="1049" y="734"/>
                  </a:lnTo>
                  <a:lnTo>
                    <a:pt x="1049" y="736"/>
                  </a:lnTo>
                  <a:lnTo>
                    <a:pt x="1049" y="734"/>
                  </a:lnTo>
                  <a:lnTo>
                    <a:pt x="1051" y="734"/>
                  </a:lnTo>
                  <a:lnTo>
                    <a:pt x="1051" y="732"/>
                  </a:lnTo>
                  <a:lnTo>
                    <a:pt x="1051" y="732"/>
                  </a:lnTo>
                  <a:lnTo>
                    <a:pt x="1051" y="732"/>
                  </a:lnTo>
                  <a:lnTo>
                    <a:pt x="1051" y="730"/>
                  </a:lnTo>
                  <a:lnTo>
                    <a:pt x="1053" y="730"/>
                  </a:lnTo>
                  <a:lnTo>
                    <a:pt x="1051" y="730"/>
                  </a:lnTo>
                  <a:lnTo>
                    <a:pt x="1051" y="730"/>
                  </a:lnTo>
                  <a:lnTo>
                    <a:pt x="1051" y="730"/>
                  </a:lnTo>
                  <a:lnTo>
                    <a:pt x="1051" y="730"/>
                  </a:lnTo>
                  <a:lnTo>
                    <a:pt x="1051" y="728"/>
                  </a:lnTo>
                  <a:lnTo>
                    <a:pt x="1049" y="728"/>
                  </a:lnTo>
                  <a:lnTo>
                    <a:pt x="1047" y="725"/>
                  </a:lnTo>
                  <a:lnTo>
                    <a:pt x="1045" y="725"/>
                  </a:lnTo>
                  <a:lnTo>
                    <a:pt x="1040" y="725"/>
                  </a:lnTo>
                  <a:lnTo>
                    <a:pt x="1040" y="725"/>
                  </a:lnTo>
                  <a:lnTo>
                    <a:pt x="1040" y="728"/>
                  </a:lnTo>
                  <a:lnTo>
                    <a:pt x="1038" y="728"/>
                  </a:lnTo>
                  <a:lnTo>
                    <a:pt x="1038" y="728"/>
                  </a:lnTo>
                  <a:lnTo>
                    <a:pt x="1038" y="725"/>
                  </a:lnTo>
                  <a:lnTo>
                    <a:pt x="1040" y="725"/>
                  </a:lnTo>
                  <a:lnTo>
                    <a:pt x="1040" y="725"/>
                  </a:lnTo>
                  <a:lnTo>
                    <a:pt x="1040" y="725"/>
                  </a:lnTo>
                  <a:lnTo>
                    <a:pt x="1040" y="725"/>
                  </a:lnTo>
                  <a:lnTo>
                    <a:pt x="1040" y="725"/>
                  </a:lnTo>
                  <a:lnTo>
                    <a:pt x="1043" y="723"/>
                  </a:lnTo>
                  <a:lnTo>
                    <a:pt x="1043" y="723"/>
                  </a:lnTo>
                  <a:lnTo>
                    <a:pt x="1043" y="723"/>
                  </a:lnTo>
                  <a:lnTo>
                    <a:pt x="1040" y="723"/>
                  </a:lnTo>
                  <a:lnTo>
                    <a:pt x="1040" y="721"/>
                  </a:lnTo>
                  <a:lnTo>
                    <a:pt x="1043" y="721"/>
                  </a:lnTo>
                  <a:lnTo>
                    <a:pt x="1043" y="721"/>
                  </a:lnTo>
                  <a:lnTo>
                    <a:pt x="1043" y="723"/>
                  </a:lnTo>
                  <a:lnTo>
                    <a:pt x="1043" y="723"/>
                  </a:lnTo>
                  <a:lnTo>
                    <a:pt x="1045" y="721"/>
                  </a:lnTo>
                  <a:lnTo>
                    <a:pt x="1045" y="721"/>
                  </a:lnTo>
                  <a:lnTo>
                    <a:pt x="1045" y="723"/>
                  </a:lnTo>
                  <a:lnTo>
                    <a:pt x="1045" y="723"/>
                  </a:lnTo>
                  <a:lnTo>
                    <a:pt x="1047" y="723"/>
                  </a:lnTo>
                  <a:lnTo>
                    <a:pt x="1047" y="723"/>
                  </a:lnTo>
                  <a:lnTo>
                    <a:pt x="1047" y="723"/>
                  </a:lnTo>
                  <a:lnTo>
                    <a:pt x="1049" y="723"/>
                  </a:lnTo>
                  <a:lnTo>
                    <a:pt x="1049" y="723"/>
                  </a:lnTo>
                  <a:lnTo>
                    <a:pt x="1049" y="723"/>
                  </a:lnTo>
                  <a:lnTo>
                    <a:pt x="1049" y="723"/>
                  </a:lnTo>
                  <a:lnTo>
                    <a:pt x="1049" y="725"/>
                  </a:lnTo>
                  <a:lnTo>
                    <a:pt x="1049" y="725"/>
                  </a:lnTo>
                  <a:lnTo>
                    <a:pt x="1049" y="725"/>
                  </a:lnTo>
                  <a:lnTo>
                    <a:pt x="1051" y="725"/>
                  </a:lnTo>
                  <a:lnTo>
                    <a:pt x="1051" y="725"/>
                  </a:lnTo>
                  <a:lnTo>
                    <a:pt x="1051" y="723"/>
                  </a:lnTo>
                  <a:lnTo>
                    <a:pt x="1051" y="723"/>
                  </a:lnTo>
                  <a:lnTo>
                    <a:pt x="1051" y="723"/>
                  </a:lnTo>
                  <a:lnTo>
                    <a:pt x="1051" y="725"/>
                  </a:lnTo>
                  <a:lnTo>
                    <a:pt x="1051" y="725"/>
                  </a:lnTo>
                  <a:lnTo>
                    <a:pt x="1051" y="725"/>
                  </a:lnTo>
                  <a:lnTo>
                    <a:pt x="1051" y="725"/>
                  </a:lnTo>
                  <a:lnTo>
                    <a:pt x="1051" y="725"/>
                  </a:lnTo>
                  <a:lnTo>
                    <a:pt x="1053" y="725"/>
                  </a:lnTo>
                  <a:lnTo>
                    <a:pt x="1053" y="725"/>
                  </a:lnTo>
                  <a:lnTo>
                    <a:pt x="1053" y="725"/>
                  </a:lnTo>
                  <a:lnTo>
                    <a:pt x="1053" y="725"/>
                  </a:lnTo>
                  <a:lnTo>
                    <a:pt x="1053" y="725"/>
                  </a:lnTo>
                  <a:lnTo>
                    <a:pt x="1053" y="725"/>
                  </a:lnTo>
                  <a:lnTo>
                    <a:pt x="1053" y="725"/>
                  </a:lnTo>
                  <a:lnTo>
                    <a:pt x="1053" y="725"/>
                  </a:lnTo>
                  <a:lnTo>
                    <a:pt x="1053" y="725"/>
                  </a:lnTo>
                  <a:lnTo>
                    <a:pt x="1053" y="725"/>
                  </a:lnTo>
                  <a:lnTo>
                    <a:pt x="1055" y="725"/>
                  </a:lnTo>
                  <a:lnTo>
                    <a:pt x="1055" y="725"/>
                  </a:lnTo>
                  <a:lnTo>
                    <a:pt x="1055" y="725"/>
                  </a:lnTo>
                  <a:lnTo>
                    <a:pt x="1055" y="725"/>
                  </a:lnTo>
                  <a:lnTo>
                    <a:pt x="1055" y="725"/>
                  </a:lnTo>
                  <a:lnTo>
                    <a:pt x="1055" y="725"/>
                  </a:lnTo>
                  <a:lnTo>
                    <a:pt x="1055" y="725"/>
                  </a:lnTo>
                  <a:lnTo>
                    <a:pt x="1055" y="725"/>
                  </a:lnTo>
                  <a:lnTo>
                    <a:pt x="1055" y="725"/>
                  </a:lnTo>
                  <a:lnTo>
                    <a:pt x="1055" y="728"/>
                  </a:lnTo>
                  <a:lnTo>
                    <a:pt x="1055" y="728"/>
                  </a:lnTo>
                  <a:lnTo>
                    <a:pt x="1055" y="728"/>
                  </a:lnTo>
                  <a:lnTo>
                    <a:pt x="1055" y="728"/>
                  </a:lnTo>
                  <a:lnTo>
                    <a:pt x="1055" y="725"/>
                  </a:lnTo>
                  <a:lnTo>
                    <a:pt x="1055" y="725"/>
                  </a:lnTo>
                  <a:lnTo>
                    <a:pt x="1057" y="725"/>
                  </a:lnTo>
                  <a:lnTo>
                    <a:pt x="1057" y="725"/>
                  </a:lnTo>
                  <a:lnTo>
                    <a:pt x="1057" y="725"/>
                  </a:lnTo>
                  <a:lnTo>
                    <a:pt x="1057" y="725"/>
                  </a:lnTo>
                  <a:lnTo>
                    <a:pt x="1059" y="728"/>
                  </a:lnTo>
                  <a:lnTo>
                    <a:pt x="1059" y="725"/>
                  </a:lnTo>
                  <a:lnTo>
                    <a:pt x="1059" y="725"/>
                  </a:lnTo>
                  <a:lnTo>
                    <a:pt x="1059" y="725"/>
                  </a:lnTo>
                  <a:lnTo>
                    <a:pt x="1059" y="723"/>
                  </a:lnTo>
                  <a:lnTo>
                    <a:pt x="1059" y="723"/>
                  </a:lnTo>
                  <a:lnTo>
                    <a:pt x="1061" y="721"/>
                  </a:lnTo>
                  <a:lnTo>
                    <a:pt x="1061" y="721"/>
                  </a:lnTo>
                  <a:lnTo>
                    <a:pt x="1061" y="721"/>
                  </a:lnTo>
                  <a:lnTo>
                    <a:pt x="1063" y="717"/>
                  </a:lnTo>
                  <a:lnTo>
                    <a:pt x="1063" y="717"/>
                  </a:lnTo>
                  <a:lnTo>
                    <a:pt x="1063" y="717"/>
                  </a:lnTo>
                  <a:lnTo>
                    <a:pt x="1063" y="715"/>
                  </a:lnTo>
                  <a:lnTo>
                    <a:pt x="1059" y="715"/>
                  </a:lnTo>
                  <a:close/>
                  <a:moveTo>
                    <a:pt x="1100" y="621"/>
                  </a:moveTo>
                  <a:lnTo>
                    <a:pt x="1100" y="621"/>
                  </a:lnTo>
                  <a:lnTo>
                    <a:pt x="1100" y="623"/>
                  </a:lnTo>
                  <a:lnTo>
                    <a:pt x="1100" y="623"/>
                  </a:lnTo>
                  <a:lnTo>
                    <a:pt x="1100" y="623"/>
                  </a:lnTo>
                  <a:lnTo>
                    <a:pt x="1098" y="625"/>
                  </a:lnTo>
                  <a:lnTo>
                    <a:pt x="1098" y="625"/>
                  </a:lnTo>
                  <a:lnTo>
                    <a:pt x="1098" y="627"/>
                  </a:lnTo>
                  <a:lnTo>
                    <a:pt x="1100" y="627"/>
                  </a:lnTo>
                  <a:lnTo>
                    <a:pt x="1100" y="627"/>
                  </a:lnTo>
                  <a:lnTo>
                    <a:pt x="1100" y="627"/>
                  </a:lnTo>
                  <a:lnTo>
                    <a:pt x="1102" y="625"/>
                  </a:lnTo>
                  <a:lnTo>
                    <a:pt x="1102" y="623"/>
                  </a:lnTo>
                  <a:lnTo>
                    <a:pt x="1102" y="623"/>
                  </a:lnTo>
                  <a:lnTo>
                    <a:pt x="1100" y="621"/>
                  </a:lnTo>
                  <a:close/>
                  <a:moveTo>
                    <a:pt x="1491" y="635"/>
                  </a:moveTo>
                  <a:lnTo>
                    <a:pt x="1491" y="633"/>
                  </a:lnTo>
                  <a:lnTo>
                    <a:pt x="1491" y="633"/>
                  </a:lnTo>
                  <a:lnTo>
                    <a:pt x="1493" y="633"/>
                  </a:lnTo>
                  <a:lnTo>
                    <a:pt x="1493" y="633"/>
                  </a:lnTo>
                  <a:lnTo>
                    <a:pt x="1491" y="631"/>
                  </a:lnTo>
                  <a:lnTo>
                    <a:pt x="1489" y="631"/>
                  </a:lnTo>
                  <a:lnTo>
                    <a:pt x="1489" y="629"/>
                  </a:lnTo>
                  <a:lnTo>
                    <a:pt x="1487" y="629"/>
                  </a:lnTo>
                  <a:lnTo>
                    <a:pt x="1487" y="629"/>
                  </a:lnTo>
                  <a:lnTo>
                    <a:pt x="1487" y="629"/>
                  </a:lnTo>
                  <a:lnTo>
                    <a:pt x="1487" y="631"/>
                  </a:lnTo>
                  <a:lnTo>
                    <a:pt x="1487" y="631"/>
                  </a:lnTo>
                  <a:lnTo>
                    <a:pt x="1487" y="633"/>
                  </a:lnTo>
                  <a:lnTo>
                    <a:pt x="1487" y="633"/>
                  </a:lnTo>
                  <a:lnTo>
                    <a:pt x="1487" y="633"/>
                  </a:lnTo>
                  <a:lnTo>
                    <a:pt x="1487" y="633"/>
                  </a:lnTo>
                  <a:lnTo>
                    <a:pt x="1487" y="633"/>
                  </a:lnTo>
                  <a:lnTo>
                    <a:pt x="1487" y="633"/>
                  </a:lnTo>
                  <a:lnTo>
                    <a:pt x="1489" y="633"/>
                  </a:lnTo>
                  <a:lnTo>
                    <a:pt x="1487" y="635"/>
                  </a:lnTo>
                  <a:lnTo>
                    <a:pt x="1487" y="635"/>
                  </a:lnTo>
                  <a:lnTo>
                    <a:pt x="1487" y="637"/>
                  </a:lnTo>
                  <a:lnTo>
                    <a:pt x="1489" y="637"/>
                  </a:lnTo>
                  <a:lnTo>
                    <a:pt x="1489" y="637"/>
                  </a:lnTo>
                  <a:lnTo>
                    <a:pt x="1487" y="637"/>
                  </a:lnTo>
                  <a:lnTo>
                    <a:pt x="1489" y="639"/>
                  </a:lnTo>
                  <a:lnTo>
                    <a:pt x="1489" y="639"/>
                  </a:lnTo>
                  <a:lnTo>
                    <a:pt x="1489" y="637"/>
                  </a:lnTo>
                  <a:lnTo>
                    <a:pt x="1489" y="637"/>
                  </a:lnTo>
                  <a:lnTo>
                    <a:pt x="1489" y="637"/>
                  </a:lnTo>
                  <a:lnTo>
                    <a:pt x="1489" y="637"/>
                  </a:lnTo>
                  <a:lnTo>
                    <a:pt x="1489" y="637"/>
                  </a:lnTo>
                  <a:lnTo>
                    <a:pt x="1489" y="637"/>
                  </a:lnTo>
                  <a:lnTo>
                    <a:pt x="1489" y="639"/>
                  </a:lnTo>
                  <a:lnTo>
                    <a:pt x="1489" y="639"/>
                  </a:lnTo>
                  <a:lnTo>
                    <a:pt x="1489" y="639"/>
                  </a:lnTo>
                  <a:lnTo>
                    <a:pt x="1489" y="639"/>
                  </a:lnTo>
                  <a:lnTo>
                    <a:pt x="1491" y="639"/>
                  </a:lnTo>
                  <a:lnTo>
                    <a:pt x="1491" y="639"/>
                  </a:lnTo>
                  <a:lnTo>
                    <a:pt x="1491" y="639"/>
                  </a:lnTo>
                  <a:lnTo>
                    <a:pt x="1491" y="639"/>
                  </a:lnTo>
                  <a:lnTo>
                    <a:pt x="1491" y="641"/>
                  </a:lnTo>
                  <a:lnTo>
                    <a:pt x="1491" y="641"/>
                  </a:lnTo>
                  <a:lnTo>
                    <a:pt x="1491" y="641"/>
                  </a:lnTo>
                  <a:lnTo>
                    <a:pt x="1493" y="641"/>
                  </a:lnTo>
                  <a:lnTo>
                    <a:pt x="1493" y="639"/>
                  </a:lnTo>
                  <a:lnTo>
                    <a:pt x="1493" y="637"/>
                  </a:lnTo>
                  <a:lnTo>
                    <a:pt x="1491" y="635"/>
                  </a:lnTo>
                  <a:close/>
                  <a:moveTo>
                    <a:pt x="1262" y="576"/>
                  </a:moveTo>
                  <a:lnTo>
                    <a:pt x="1262" y="576"/>
                  </a:lnTo>
                  <a:lnTo>
                    <a:pt x="1262" y="576"/>
                  </a:lnTo>
                  <a:lnTo>
                    <a:pt x="1262" y="576"/>
                  </a:lnTo>
                  <a:lnTo>
                    <a:pt x="1262" y="576"/>
                  </a:lnTo>
                  <a:lnTo>
                    <a:pt x="1262" y="574"/>
                  </a:lnTo>
                  <a:lnTo>
                    <a:pt x="1262" y="574"/>
                  </a:lnTo>
                  <a:lnTo>
                    <a:pt x="1262" y="574"/>
                  </a:lnTo>
                  <a:lnTo>
                    <a:pt x="1262" y="572"/>
                  </a:lnTo>
                  <a:lnTo>
                    <a:pt x="1262" y="572"/>
                  </a:lnTo>
                  <a:lnTo>
                    <a:pt x="1260" y="572"/>
                  </a:lnTo>
                  <a:lnTo>
                    <a:pt x="1260" y="572"/>
                  </a:lnTo>
                  <a:lnTo>
                    <a:pt x="1260" y="572"/>
                  </a:lnTo>
                  <a:lnTo>
                    <a:pt x="1260" y="574"/>
                  </a:lnTo>
                  <a:lnTo>
                    <a:pt x="1262" y="574"/>
                  </a:lnTo>
                  <a:lnTo>
                    <a:pt x="1262" y="574"/>
                  </a:lnTo>
                  <a:lnTo>
                    <a:pt x="1262" y="574"/>
                  </a:lnTo>
                  <a:lnTo>
                    <a:pt x="1262" y="576"/>
                  </a:lnTo>
                  <a:lnTo>
                    <a:pt x="1262" y="576"/>
                  </a:lnTo>
                  <a:close/>
                  <a:moveTo>
                    <a:pt x="1520" y="660"/>
                  </a:moveTo>
                  <a:lnTo>
                    <a:pt x="1520" y="660"/>
                  </a:lnTo>
                  <a:lnTo>
                    <a:pt x="1520" y="660"/>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8"/>
                  </a:lnTo>
                  <a:lnTo>
                    <a:pt x="1520" y="656"/>
                  </a:lnTo>
                  <a:lnTo>
                    <a:pt x="1520" y="656"/>
                  </a:lnTo>
                  <a:lnTo>
                    <a:pt x="1520" y="656"/>
                  </a:lnTo>
                  <a:lnTo>
                    <a:pt x="1522" y="656"/>
                  </a:lnTo>
                  <a:lnTo>
                    <a:pt x="1522" y="654"/>
                  </a:lnTo>
                  <a:lnTo>
                    <a:pt x="1522" y="654"/>
                  </a:lnTo>
                  <a:lnTo>
                    <a:pt x="1520" y="652"/>
                  </a:lnTo>
                  <a:lnTo>
                    <a:pt x="1520" y="652"/>
                  </a:lnTo>
                  <a:lnTo>
                    <a:pt x="1520" y="652"/>
                  </a:lnTo>
                  <a:lnTo>
                    <a:pt x="1520" y="652"/>
                  </a:lnTo>
                  <a:lnTo>
                    <a:pt x="1520" y="652"/>
                  </a:lnTo>
                  <a:lnTo>
                    <a:pt x="1520" y="652"/>
                  </a:lnTo>
                  <a:lnTo>
                    <a:pt x="1520" y="650"/>
                  </a:lnTo>
                  <a:lnTo>
                    <a:pt x="1520" y="650"/>
                  </a:lnTo>
                  <a:lnTo>
                    <a:pt x="1518" y="650"/>
                  </a:lnTo>
                  <a:lnTo>
                    <a:pt x="1518" y="650"/>
                  </a:lnTo>
                  <a:lnTo>
                    <a:pt x="1518" y="650"/>
                  </a:lnTo>
                  <a:lnTo>
                    <a:pt x="1518" y="650"/>
                  </a:lnTo>
                  <a:lnTo>
                    <a:pt x="1518" y="650"/>
                  </a:lnTo>
                  <a:lnTo>
                    <a:pt x="1520" y="650"/>
                  </a:lnTo>
                  <a:lnTo>
                    <a:pt x="1520" y="650"/>
                  </a:lnTo>
                  <a:lnTo>
                    <a:pt x="1518" y="648"/>
                  </a:lnTo>
                  <a:lnTo>
                    <a:pt x="1518" y="648"/>
                  </a:lnTo>
                  <a:lnTo>
                    <a:pt x="1518" y="648"/>
                  </a:lnTo>
                  <a:lnTo>
                    <a:pt x="1516" y="648"/>
                  </a:lnTo>
                  <a:lnTo>
                    <a:pt x="1514" y="646"/>
                  </a:lnTo>
                  <a:lnTo>
                    <a:pt x="1514" y="646"/>
                  </a:lnTo>
                  <a:lnTo>
                    <a:pt x="1512" y="648"/>
                  </a:lnTo>
                  <a:lnTo>
                    <a:pt x="1512" y="646"/>
                  </a:lnTo>
                  <a:lnTo>
                    <a:pt x="1514" y="646"/>
                  </a:lnTo>
                  <a:lnTo>
                    <a:pt x="1514" y="646"/>
                  </a:lnTo>
                  <a:lnTo>
                    <a:pt x="1514" y="643"/>
                  </a:lnTo>
                  <a:lnTo>
                    <a:pt x="1514" y="643"/>
                  </a:lnTo>
                  <a:lnTo>
                    <a:pt x="1514" y="643"/>
                  </a:lnTo>
                  <a:lnTo>
                    <a:pt x="1514" y="643"/>
                  </a:lnTo>
                  <a:lnTo>
                    <a:pt x="1514" y="641"/>
                  </a:lnTo>
                  <a:lnTo>
                    <a:pt x="1512" y="641"/>
                  </a:lnTo>
                  <a:lnTo>
                    <a:pt x="1512" y="643"/>
                  </a:lnTo>
                  <a:lnTo>
                    <a:pt x="1512" y="643"/>
                  </a:lnTo>
                  <a:lnTo>
                    <a:pt x="1512" y="641"/>
                  </a:lnTo>
                  <a:lnTo>
                    <a:pt x="1512" y="641"/>
                  </a:lnTo>
                  <a:lnTo>
                    <a:pt x="1509" y="641"/>
                  </a:lnTo>
                  <a:lnTo>
                    <a:pt x="1509" y="641"/>
                  </a:lnTo>
                  <a:lnTo>
                    <a:pt x="1512" y="641"/>
                  </a:lnTo>
                  <a:lnTo>
                    <a:pt x="1516" y="643"/>
                  </a:lnTo>
                  <a:lnTo>
                    <a:pt x="1518" y="643"/>
                  </a:lnTo>
                  <a:lnTo>
                    <a:pt x="1518" y="643"/>
                  </a:lnTo>
                  <a:lnTo>
                    <a:pt x="1518" y="643"/>
                  </a:lnTo>
                  <a:lnTo>
                    <a:pt x="1520" y="646"/>
                  </a:lnTo>
                  <a:lnTo>
                    <a:pt x="1522" y="646"/>
                  </a:lnTo>
                  <a:lnTo>
                    <a:pt x="1526" y="646"/>
                  </a:lnTo>
                  <a:lnTo>
                    <a:pt x="1530" y="650"/>
                  </a:lnTo>
                  <a:lnTo>
                    <a:pt x="1534" y="650"/>
                  </a:lnTo>
                  <a:lnTo>
                    <a:pt x="1536" y="650"/>
                  </a:lnTo>
                  <a:lnTo>
                    <a:pt x="1538" y="650"/>
                  </a:lnTo>
                  <a:lnTo>
                    <a:pt x="1540" y="650"/>
                  </a:lnTo>
                  <a:lnTo>
                    <a:pt x="1540" y="648"/>
                  </a:lnTo>
                  <a:lnTo>
                    <a:pt x="1538" y="648"/>
                  </a:lnTo>
                  <a:lnTo>
                    <a:pt x="1540" y="648"/>
                  </a:lnTo>
                  <a:lnTo>
                    <a:pt x="1540" y="648"/>
                  </a:lnTo>
                  <a:lnTo>
                    <a:pt x="1540" y="648"/>
                  </a:lnTo>
                  <a:lnTo>
                    <a:pt x="1540" y="646"/>
                  </a:lnTo>
                  <a:lnTo>
                    <a:pt x="1540" y="646"/>
                  </a:lnTo>
                  <a:lnTo>
                    <a:pt x="1540" y="646"/>
                  </a:lnTo>
                  <a:lnTo>
                    <a:pt x="1540" y="646"/>
                  </a:lnTo>
                  <a:lnTo>
                    <a:pt x="1538" y="643"/>
                  </a:lnTo>
                  <a:lnTo>
                    <a:pt x="1538" y="643"/>
                  </a:lnTo>
                  <a:lnTo>
                    <a:pt x="1538" y="643"/>
                  </a:lnTo>
                  <a:lnTo>
                    <a:pt x="1538" y="641"/>
                  </a:lnTo>
                  <a:lnTo>
                    <a:pt x="1536" y="639"/>
                  </a:lnTo>
                  <a:lnTo>
                    <a:pt x="1536" y="639"/>
                  </a:lnTo>
                  <a:lnTo>
                    <a:pt x="1536" y="637"/>
                  </a:lnTo>
                  <a:lnTo>
                    <a:pt x="1536" y="637"/>
                  </a:lnTo>
                  <a:lnTo>
                    <a:pt x="1534" y="635"/>
                  </a:lnTo>
                  <a:lnTo>
                    <a:pt x="1534" y="635"/>
                  </a:lnTo>
                  <a:lnTo>
                    <a:pt x="1534" y="635"/>
                  </a:lnTo>
                  <a:lnTo>
                    <a:pt x="1532" y="635"/>
                  </a:lnTo>
                  <a:lnTo>
                    <a:pt x="1532" y="635"/>
                  </a:lnTo>
                  <a:lnTo>
                    <a:pt x="1532" y="635"/>
                  </a:lnTo>
                  <a:lnTo>
                    <a:pt x="1532" y="635"/>
                  </a:lnTo>
                  <a:lnTo>
                    <a:pt x="1530" y="635"/>
                  </a:lnTo>
                  <a:lnTo>
                    <a:pt x="1530" y="635"/>
                  </a:lnTo>
                  <a:lnTo>
                    <a:pt x="1530" y="635"/>
                  </a:lnTo>
                  <a:lnTo>
                    <a:pt x="1530" y="635"/>
                  </a:lnTo>
                  <a:lnTo>
                    <a:pt x="1530" y="635"/>
                  </a:lnTo>
                  <a:lnTo>
                    <a:pt x="1530" y="637"/>
                  </a:lnTo>
                  <a:lnTo>
                    <a:pt x="1530" y="637"/>
                  </a:lnTo>
                  <a:lnTo>
                    <a:pt x="1528" y="637"/>
                  </a:lnTo>
                  <a:lnTo>
                    <a:pt x="1528" y="637"/>
                  </a:lnTo>
                  <a:lnTo>
                    <a:pt x="1528" y="639"/>
                  </a:lnTo>
                  <a:lnTo>
                    <a:pt x="1526" y="639"/>
                  </a:lnTo>
                  <a:lnTo>
                    <a:pt x="1526" y="639"/>
                  </a:lnTo>
                  <a:lnTo>
                    <a:pt x="1526" y="639"/>
                  </a:lnTo>
                  <a:lnTo>
                    <a:pt x="1526" y="639"/>
                  </a:lnTo>
                  <a:lnTo>
                    <a:pt x="1526" y="639"/>
                  </a:lnTo>
                  <a:lnTo>
                    <a:pt x="1524" y="639"/>
                  </a:lnTo>
                  <a:lnTo>
                    <a:pt x="1524" y="639"/>
                  </a:lnTo>
                  <a:lnTo>
                    <a:pt x="1522" y="639"/>
                  </a:lnTo>
                  <a:lnTo>
                    <a:pt x="1522" y="639"/>
                  </a:lnTo>
                  <a:lnTo>
                    <a:pt x="1522" y="639"/>
                  </a:lnTo>
                  <a:lnTo>
                    <a:pt x="1522" y="639"/>
                  </a:lnTo>
                  <a:lnTo>
                    <a:pt x="1524" y="637"/>
                  </a:lnTo>
                  <a:lnTo>
                    <a:pt x="1524" y="637"/>
                  </a:lnTo>
                  <a:lnTo>
                    <a:pt x="1522" y="637"/>
                  </a:lnTo>
                  <a:lnTo>
                    <a:pt x="1522" y="635"/>
                  </a:lnTo>
                  <a:lnTo>
                    <a:pt x="1520" y="635"/>
                  </a:lnTo>
                  <a:lnTo>
                    <a:pt x="1520" y="635"/>
                  </a:lnTo>
                  <a:lnTo>
                    <a:pt x="1518" y="635"/>
                  </a:lnTo>
                  <a:lnTo>
                    <a:pt x="1518" y="635"/>
                  </a:lnTo>
                  <a:lnTo>
                    <a:pt x="1518" y="635"/>
                  </a:lnTo>
                  <a:lnTo>
                    <a:pt x="1516" y="633"/>
                  </a:lnTo>
                  <a:lnTo>
                    <a:pt x="1516" y="633"/>
                  </a:lnTo>
                  <a:lnTo>
                    <a:pt x="1516" y="633"/>
                  </a:lnTo>
                  <a:lnTo>
                    <a:pt x="1516" y="633"/>
                  </a:lnTo>
                  <a:lnTo>
                    <a:pt x="1516" y="633"/>
                  </a:lnTo>
                  <a:lnTo>
                    <a:pt x="1514" y="633"/>
                  </a:lnTo>
                  <a:lnTo>
                    <a:pt x="1514" y="633"/>
                  </a:lnTo>
                  <a:lnTo>
                    <a:pt x="1507" y="633"/>
                  </a:lnTo>
                  <a:lnTo>
                    <a:pt x="1507" y="631"/>
                  </a:lnTo>
                  <a:lnTo>
                    <a:pt x="1507" y="631"/>
                  </a:lnTo>
                  <a:lnTo>
                    <a:pt x="1505" y="631"/>
                  </a:lnTo>
                  <a:lnTo>
                    <a:pt x="1505" y="631"/>
                  </a:lnTo>
                  <a:lnTo>
                    <a:pt x="1505" y="629"/>
                  </a:lnTo>
                  <a:lnTo>
                    <a:pt x="1505" y="629"/>
                  </a:lnTo>
                  <a:lnTo>
                    <a:pt x="1505" y="629"/>
                  </a:lnTo>
                  <a:lnTo>
                    <a:pt x="1512" y="631"/>
                  </a:lnTo>
                  <a:lnTo>
                    <a:pt x="1516" y="633"/>
                  </a:lnTo>
                  <a:lnTo>
                    <a:pt x="1518" y="633"/>
                  </a:lnTo>
                  <a:lnTo>
                    <a:pt x="1518" y="633"/>
                  </a:lnTo>
                  <a:lnTo>
                    <a:pt x="1518" y="633"/>
                  </a:lnTo>
                  <a:lnTo>
                    <a:pt x="1520" y="633"/>
                  </a:lnTo>
                  <a:lnTo>
                    <a:pt x="1524" y="635"/>
                  </a:lnTo>
                  <a:lnTo>
                    <a:pt x="1526" y="635"/>
                  </a:lnTo>
                  <a:lnTo>
                    <a:pt x="1530" y="633"/>
                  </a:lnTo>
                  <a:lnTo>
                    <a:pt x="1532" y="633"/>
                  </a:lnTo>
                  <a:lnTo>
                    <a:pt x="1532" y="633"/>
                  </a:lnTo>
                  <a:lnTo>
                    <a:pt x="1532" y="633"/>
                  </a:lnTo>
                  <a:lnTo>
                    <a:pt x="1532" y="633"/>
                  </a:lnTo>
                  <a:lnTo>
                    <a:pt x="1532" y="631"/>
                  </a:lnTo>
                  <a:lnTo>
                    <a:pt x="1532" y="631"/>
                  </a:lnTo>
                  <a:lnTo>
                    <a:pt x="1532" y="631"/>
                  </a:lnTo>
                  <a:lnTo>
                    <a:pt x="1530" y="631"/>
                  </a:lnTo>
                  <a:lnTo>
                    <a:pt x="1530" y="631"/>
                  </a:lnTo>
                  <a:lnTo>
                    <a:pt x="1530" y="631"/>
                  </a:lnTo>
                  <a:lnTo>
                    <a:pt x="1530" y="629"/>
                  </a:lnTo>
                  <a:lnTo>
                    <a:pt x="1528" y="629"/>
                  </a:lnTo>
                  <a:lnTo>
                    <a:pt x="1528" y="629"/>
                  </a:lnTo>
                  <a:lnTo>
                    <a:pt x="1526" y="629"/>
                  </a:lnTo>
                  <a:lnTo>
                    <a:pt x="1526" y="629"/>
                  </a:lnTo>
                  <a:lnTo>
                    <a:pt x="1524" y="629"/>
                  </a:lnTo>
                  <a:lnTo>
                    <a:pt x="1524" y="627"/>
                  </a:lnTo>
                  <a:lnTo>
                    <a:pt x="1524" y="627"/>
                  </a:lnTo>
                  <a:lnTo>
                    <a:pt x="1526" y="627"/>
                  </a:lnTo>
                  <a:lnTo>
                    <a:pt x="1526" y="627"/>
                  </a:lnTo>
                  <a:lnTo>
                    <a:pt x="1526" y="627"/>
                  </a:lnTo>
                  <a:lnTo>
                    <a:pt x="1528" y="629"/>
                  </a:lnTo>
                  <a:lnTo>
                    <a:pt x="1532" y="629"/>
                  </a:lnTo>
                  <a:lnTo>
                    <a:pt x="1532" y="629"/>
                  </a:lnTo>
                  <a:lnTo>
                    <a:pt x="1532" y="629"/>
                  </a:lnTo>
                  <a:lnTo>
                    <a:pt x="1532" y="629"/>
                  </a:lnTo>
                  <a:lnTo>
                    <a:pt x="1530" y="629"/>
                  </a:lnTo>
                  <a:lnTo>
                    <a:pt x="1530" y="627"/>
                  </a:lnTo>
                  <a:lnTo>
                    <a:pt x="1532" y="627"/>
                  </a:lnTo>
                  <a:lnTo>
                    <a:pt x="1532" y="627"/>
                  </a:lnTo>
                  <a:lnTo>
                    <a:pt x="1532" y="625"/>
                  </a:lnTo>
                  <a:lnTo>
                    <a:pt x="1532" y="625"/>
                  </a:lnTo>
                  <a:lnTo>
                    <a:pt x="1530" y="625"/>
                  </a:lnTo>
                  <a:lnTo>
                    <a:pt x="1530" y="625"/>
                  </a:lnTo>
                  <a:lnTo>
                    <a:pt x="1530" y="625"/>
                  </a:lnTo>
                  <a:lnTo>
                    <a:pt x="1530" y="623"/>
                  </a:lnTo>
                  <a:lnTo>
                    <a:pt x="1532" y="623"/>
                  </a:lnTo>
                  <a:lnTo>
                    <a:pt x="1532" y="623"/>
                  </a:lnTo>
                  <a:lnTo>
                    <a:pt x="1530" y="621"/>
                  </a:lnTo>
                  <a:lnTo>
                    <a:pt x="1528" y="621"/>
                  </a:lnTo>
                  <a:lnTo>
                    <a:pt x="1524" y="621"/>
                  </a:lnTo>
                  <a:lnTo>
                    <a:pt x="1524" y="621"/>
                  </a:lnTo>
                  <a:lnTo>
                    <a:pt x="1524" y="619"/>
                  </a:lnTo>
                  <a:lnTo>
                    <a:pt x="1524" y="619"/>
                  </a:lnTo>
                  <a:lnTo>
                    <a:pt x="1524" y="619"/>
                  </a:lnTo>
                  <a:lnTo>
                    <a:pt x="1524" y="619"/>
                  </a:lnTo>
                  <a:lnTo>
                    <a:pt x="1522" y="619"/>
                  </a:lnTo>
                  <a:lnTo>
                    <a:pt x="1522" y="621"/>
                  </a:lnTo>
                  <a:lnTo>
                    <a:pt x="1520" y="619"/>
                  </a:lnTo>
                  <a:lnTo>
                    <a:pt x="1520" y="619"/>
                  </a:lnTo>
                  <a:lnTo>
                    <a:pt x="1520" y="621"/>
                  </a:lnTo>
                  <a:lnTo>
                    <a:pt x="1518" y="621"/>
                  </a:lnTo>
                  <a:lnTo>
                    <a:pt x="1518" y="621"/>
                  </a:lnTo>
                  <a:lnTo>
                    <a:pt x="1518" y="619"/>
                  </a:lnTo>
                  <a:lnTo>
                    <a:pt x="1518" y="619"/>
                  </a:lnTo>
                  <a:lnTo>
                    <a:pt x="1518" y="619"/>
                  </a:lnTo>
                  <a:lnTo>
                    <a:pt x="1516" y="619"/>
                  </a:lnTo>
                  <a:lnTo>
                    <a:pt x="1516" y="619"/>
                  </a:lnTo>
                  <a:lnTo>
                    <a:pt x="1516" y="619"/>
                  </a:lnTo>
                  <a:lnTo>
                    <a:pt x="1516" y="621"/>
                  </a:lnTo>
                  <a:lnTo>
                    <a:pt x="1514" y="621"/>
                  </a:lnTo>
                  <a:lnTo>
                    <a:pt x="1516" y="621"/>
                  </a:lnTo>
                  <a:lnTo>
                    <a:pt x="1516" y="621"/>
                  </a:lnTo>
                  <a:lnTo>
                    <a:pt x="1516" y="621"/>
                  </a:lnTo>
                  <a:lnTo>
                    <a:pt x="1516" y="623"/>
                  </a:lnTo>
                  <a:lnTo>
                    <a:pt x="1514" y="625"/>
                  </a:lnTo>
                  <a:lnTo>
                    <a:pt x="1514" y="627"/>
                  </a:lnTo>
                  <a:lnTo>
                    <a:pt x="1514" y="627"/>
                  </a:lnTo>
                  <a:lnTo>
                    <a:pt x="1514" y="629"/>
                  </a:lnTo>
                  <a:lnTo>
                    <a:pt x="1512" y="629"/>
                  </a:lnTo>
                  <a:lnTo>
                    <a:pt x="1512" y="629"/>
                  </a:lnTo>
                  <a:lnTo>
                    <a:pt x="1512" y="629"/>
                  </a:lnTo>
                  <a:lnTo>
                    <a:pt x="1512" y="629"/>
                  </a:lnTo>
                  <a:lnTo>
                    <a:pt x="1512" y="629"/>
                  </a:lnTo>
                  <a:lnTo>
                    <a:pt x="1512" y="631"/>
                  </a:lnTo>
                  <a:lnTo>
                    <a:pt x="1512" y="631"/>
                  </a:lnTo>
                  <a:lnTo>
                    <a:pt x="1512" y="629"/>
                  </a:lnTo>
                  <a:lnTo>
                    <a:pt x="1509" y="629"/>
                  </a:lnTo>
                  <a:lnTo>
                    <a:pt x="1507" y="629"/>
                  </a:lnTo>
                  <a:lnTo>
                    <a:pt x="1507" y="629"/>
                  </a:lnTo>
                  <a:lnTo>
                    <a:pt x="1509" y="629"/>
                  </a:lnTo>
                  <a:lnTo>
                    <a:pt x="1512" y="629"/>
                  </a:lnTo>
                  <a:lnTo>
                    <a:pt x="1512" y="627"/>
                  </a:lnTo>
                  <a:lnTo>
                    <a:pt x="1512" y="627"/>
                  </a:lnTo>
                  <a:lnTo>
                    <a:pt x="1512" y="627"/>
                  </a:lnTo>
                  <a:lnTo>
                    <a:pt x="1512" y="627"/>
                  </a:lnTo>
                  <a:lnTo>
                    <a:pt x="1509" y="627"/>
                  </a:lnTo>
                  <a:lnTo>
                    <a:pt x="1509" y="627"/>
                  </a:lnTo>
                  <a:lnTo>
                    <a:pt x="1509" y="627"/>
                  </a:lnTo>
                  <a:lnTo>
                    <a:pt x="1509" y="627"/>
                  </a:lnTo>
                  <a:lnTo>
                    <a:pt x="1507" y="627"/>
                  </a:lnTo>
                  <a:lnTo>
                    <a:pt x="1507" y="627"/>
                  </a:lnTo>
                  <a:lnTo>
                    <a:pt x="1507" y="627"/>
                  </a:lnTo>
                  <a:lnTo>
                    <a:pt x="1509" y="625"/>
                  </a:lnTo>
                  <a:lnTo>
                    <a:pt x="1512" y="625"/>
                  </a:lnTo>
                  <a:lnTo>
                    <a:pt x="1512" y="625"/>
                  </a:lnTo>
                  <a:lnTo>
                    <a:pt x="1512" y="623"/>
                  </a:lnTo>
                  <a:lnTo>
                    <a:pt x="1512" y="623"/>
                  </a:lnTo>
                  <a:lnTo>
                    <a:pt x="1512" y="623"/>
                  </a:lnTo>
                  <a:lnTo>
                    <a:pt x="1514" y="623"/>
                  </a:lnTo>
                  <a:lnTo>
                    <a:pt x="1514" y="623"/>
                  </a:lnTo>
                  <a:lnTo>
                    <a:pt x="1514" y="621"/>
                  </a:lnTo>
                  <a:lnTo>
                    <a:pt x="1514" y="621"/>
                  </a:lnTo>
                  <a:lnTo>
                    <a:pt x="1514" y="621"/>
                  </a:lnTo>
                  <a:lnTo>
                    <a:pt x="1514" y="619"/>
                  </a:lnTo>
                  <a:lnTo>
                    <a:pt x="1514" y="619"/>
                  </a:lnTo>
                  <a:lnTo>
                    <a:pt x="1512" y="619"/>
                  </a:lnTo>
                  <a:lnTo>
                    <a:pt x="1512" y="619"/>
                  </a:lnTo>
                  <a:lnTo>
                    <a:pt x="1512" y="617"/>
                  </a:lnTo>
                  <a:lnTo>
                    <a:pt x="1512" y="617"/>
                  </a:lnTo>
                  <a:lnTo>
                    <a:pt x="1512" y="617"/>
                  </a:lnTo>
                  <a:lnTo>
                    <a:pt x="1509" y="617"/>
                  </a:lnTo>
                  <a:lnTo>
                    <a:pt x="1509" y="617"/>
                  </a:lnTo>
                  <a:lnTo>
                    <a:pt x="1507" y="617"/>
                  </a:lnTo>
                  <a:lnTo>
                    <a:pt x="1507" y="617"/>
                  </a:lnTo>
                  <a:lnTo>
                    <a:pt x="1507" y="617"/>
                  </a:lnTo>
                  <a:lnTo>
                    <a:pt x="1507" y="617"/>
                  </a:lnTo>
                  <a:lnTo>
                    <a:pt x="1505" y="617"/>
                  </a:lnTo>
                  <a:lnTo>
                    <a:pt x="1503" y="615"/>
                  </a:lnTo>
                  <a:lnTo>
                    <a:pt x="1503" y="615"/>
                  </a:lnTo>
                  <a:lnTo>
                    <a:pt x="1503" y="615"/>
                  </a:lnTo>
                  <a:lnTo>
                    <a:pt x="1501" y="619"/>
                  </a:lnTo>
                  <a:lnTo>
                    <a:pt x="1499" y="619"/>
                  </a:lnTo>
                  <a:lnTo>
                    <a:pt x="1499" y="621"/>
                  </a:lnTo>
                  <a:lnTo>
                    <a:pt x="1499" y="621"/>
                  </a:lnTo>
                  <a:lnTo>
                    <a:pt x="1501" y="621"/>
                  </a:lnTo>
                  <a:lnTo>
                    <a:pt x="1501" y="623"/>
                  </a:lnTo>
                  <a:lnTo>
                    <a:pt x="1499" y="623"/>
                  </a:lnTo>
                  <a:lnTo>
                    <a:pt x="1497" y="621"/>
                  </a:lnTo>
                  <a:lnTo>
                    <a:pt x="1495" y="621"/>
                  </a:lnTo>
                  <a:lnTo>
                    <a:pt x="1495" y="621"/>
                  </a:lnTo>
                  <a:lnTo>
                    <a:pt x="1495" y="621"/>
                  </a:lnTo>
                  <a:lnTo>
                    <a:pt x="1495" y="621"/>
                  </a:lnTo>
                  <a:lnTo>
                    <a:pt x="1495" y="621"/>
                  </a:lnTo>
                  <a:lnTo>
                    <a:pt x="1495" y="623"/>
                  </a:lnTo>
                  <a:lnTo>
                    <a:pt x="1495" y="623"/>
                  </a:lnTo>
                  <a:lnTo>
                    <a:pt x="1495" y="623"/>
                  </a:lnTo>
                  <a:lnTo>
                    <a:pt x="1495" y="623"/>
                  </a:lnTo>
                  <a:lnTo>
                    <a:pt x="1495" y="625"/>
                  </a:lnTo>
                  <a:lnTo>
                    <a:pt x="1495" y="625"/>
                  </a:lnTo>
                  <a:lnTo>
                    <a:pt x="1495" y="625"/>
                  </a:lnTo>
                  <a:lnTo>
                    <a:pt x="1495" y="625"/>
                  </a:lnTo>
                  <a:lnTo>
                    <a:pt x="1495" y="627"/>
                  </a:lnTo>
                  <a:lnTo>
                    <a:pt x="1497" y="627"/>
                  </a:lnTo>
                  <a:lnTo>
                    <a:pt x="1497" y="627"/>
                  </a:lnTo>
                  <a:lnTo>
                    <a:pt x="1497" y="629"/>
                  </a:lnTo>
                  <a:lnTo>
                    <a:pt x="1497" y="629"/>
                  </a:lnTo>
                  <a:lnTo>
                    <a:pt x="1495" y="627"/>
                  </a:lnTo>
                  <a:lnTo>
                    <a:pt x="1495" y="627"/>
                  </a:lnTo>
                  <a:lnTo>
                    <a:pt x="1495" y="627"/>
                  </a:lnTo>
                  <a:lnTo>
                    <a:pt x="1495" y="625"/>
                  </a:lnTo>
                  <a:lnTo>
                    <a:pt x="1495" y="625"/>
                  </a:lnTo>
                  <a:lnTo>
                    <a:pt x="1493" y="625"/>
                  </a:lnTo>
                  <a:lnTo>
                    <a:pt x="1493" y="625"/>
                  </a:lnTo>
                  <a:lnTo>
                    <a:pt x="1493" y="623"/>
                  </a:lnTo>
                  <a:lnTo>
                    <a:pt x="1493" y="623"/>
                  </a:lnTo>
                  <a:lnTo>
                    <a:pt x="1491" y="623"/>
                  </a:lnTo>
                  <a:lnTo>
                    <a:pt x="1491" y="621"/>
                  </a:lnTo>
                  <a:lnTo>
                    <a:pt x="1491" y="621"/>
                  </a:lnTo>
                  <a:lnTo>
                    <a:pt x="1491" y="621"/>
                  </a:lnTo>
                  <a:lnTo>
                    <a:pt x="1489" y="623"/>
                  </a:lnTo>
                  <a:lnTo>
                    <a:pt x="1489" y="623"/>
                  </a:lnTo>
                  <a:lnTo>
                    <a:pt x="1491" y="625"/>
                  </a:lnTo>
                  <a:lnTo>
                    <a:pt x="1491" y="625"/>
                  </a:lnTo>
                  <a:lnTo>
                    <a:pt x="1491" y="627"/>
                  </a:lnTo>
                  <a:lnTo>
                    <a:pt x="1493" y="627"/>
                  </a:lnTo>
                  <a:lnTo>
                    <a:pt x="1493" y="627"/>
                  </a:lnTo>
                  <a:lnTo>
                    <a:pt x="1493" y="627"/>
                  </a:lnTo>
                  <a:lnTo>
                    <a:pt x="1493" y="627"/>
                  </a:lnTo>
                  <a:lnTo>
                    <a:pt x="1491" y="627"/>
                  </a:lnTo>
                  <a:lnTo>
                    <a:pt x="1491" y="627"/>
                  </a:lnTo>
                  <a:lnTo>
                    <a:pt x="1489" y="627"/>
                  </a:lnTo>
                  <a:lnTo>
                    <a:pt x="1489" y="627"/>
                  </a:lnTo>
                  <a:lnTo>
                    <a:pt x="1489" y="627"/>
                  </a:lnTo>
                  <a:lnTo>
                    <a:pt x="1489" y="629"/>
                  </a:lnTo>
                  <a:lnTo>
                    <a:pt x="1489" y="629"/>
                  </a:lnTo>
                  <a:lnTo>
                    <a:pt x="1493" y="631"/>
                  </a:lnTo>
                  <a:lnTo>
                    <a:pt x="1493" y="633"/>
                  </a:lnTo>
                  <a:lnTo>
                    <a:pt x="1495" y="633"/>
                  </a:lnTo>
                  <a:lnTo>
                    <a:pt x="1495" y="633"/>
                  </a:lnTo>
                  <a:lnTo>
                    <a:pt x="1497" y="633"/>
                  </a:lnTo>
                  <a:lnTo>
                    <a:pt x="1499" y="637"/>
                  </a:lnTo>
                  <a:lnTo>
                    <a:pt x="1501" y="637"/>
                  </a:lnTo>
                  <a:lnTo>
                    <a:pt x="1503" y="639"/>
                  </a:lnTo>
                  <a:lnTo>
                    <a:pt x="1503" y="639"/>
                  </a:lnTo>
                  <a:lnTo>
                    <a:pt x="1501" y="639"/>
                  </a:lnTo>
                  <a:lnTo>
                    <a:pt x="1499" y="637"/>
                  </a:lnTo>
                  <a:lnTo>
                    <a:pt x="1495" y="633"/>
                  </a:lnTo>
                  <a:lnTo>
                    <a:pt x="1493" y="633"/>
                  </a:lnTo>
                  <a:lnTo>
                    <a:pt x="1493" y="633"/>
                  </a:lnTo>
                  <a:lnTo>
                    <a:pt x="1493" y="633"/>
                  </a:lnTo>
                  <a:lnTo>
                    <a:pt x="1493" y="633"/>
                  </a:lnTo>
                  <a:lnTo>
                    <a:pt x="1493" y="635"/>
                  </a:lnTo>
                  <a:lnTo>
                    <a:pt x="1493" y="635"/>
                  </a:lnTo>
                  <a:lnTo>
                    <a:pt x="1493" y="635"/>
                  </a:lnTo>
                  <a:lnTo>
                    <a:pt x="1493" y="637"/>
                  </a:lnTo>
                  <a:lnTo>
                    <a:pt x="1493" y="637"/>
                  </a:lnTo>
                  <a:lnTo>
                    <a:pt x="1493" y="637"/>
                  </a:lnTo>
                  <a:lnTo>
                    <a:pt x="1493" y="639"/>
                  </a:lnTo>
                  <a:lnTo>
                    <a:pt x="1493" y="641"/>
                  </a:lnTo>
                  <a:lnTo>
                    <a:pt x="1493" y="641"/>
                  </a:lnTo>
                  <a:lnTo>
                    <a:pt x="1493" y="643"/>
                  </a:lnTo>
                  <a:lnTo>
                    <a:pt x="1493" y="643"/>
                  </a:lnTo>
                  <a:lnTo>
                    <a:pt x="1493" y="643"/>
                  </a:lnTo>
                  <a:lnTo>
                    <a:pt x="1493" y="641"/>
                  </a:lnTo>
                  <a:lnTo>
                    <a:pt x="1493" y="641"/>
                  </a:lnTo>
                  <a:lnTo>
                    <a:pt x="1495" y="641"/>
                  </a:lnTo>
                  <a:lnTo>
                    <a:pt x="1495" y="641"/>
                  </a:lnTo>
                  <a:lnTo>
                    <a:pt x="1495" y="641"/>
                  </a:lnTo>
                  <a:lnTo>
                    <a:pt x="1495" y="643"/>
                  </a:lnTo>
                  <a:lnTo>
                    <a:pt x="1495" y="643"/>
                  </a:lnTo>
                  <a:lnTo>
                    <a:pt x="1497" y="643"/>
                  </a:lnTo>
                  <a:lnTo>
                    <a:pt x="1497" y="643"/>
                  </a:lnTo>
                  <a:lnTo>
                    <a:pt x="1497" y="643"/>
                  </a:lnTo>
                  <a:lnTo>
                    <a:pt x="1497" y="643"/>
                  </a:lnTo>
                  <a:lnTo>
                    <a:pt x="1499" y="643"/>
                  </a:lnTo>
                  <a:lnTo>
                    <a:pt x="1499" y="643"/>
                  </a:lnTo>
                  <a:lnTo>
                    <a:pt x="1499" y="643"/>
                  </a:lnTo>
                  <a:lnTo>
                    <a:pt x="1499" y="646"/>
                  </a:lnTo>
                  <a:lnTo>
                    <a:pt x="1503" y="648"/>
                  </a:lnTo>
                  <a:lnTo>
                    <a:pt x="1503" y="648"/>
                  </a:lnTo>
                  <a:lnTo>
                    <a:pt x="1503" y="648"/>
                  </a:lnTo>
                  <a:lnTo>
                    <a:pt x="1503" y="648"/>
                  </a:lnTo>
                  <a:lnTo>
                    <a:pt x="1503" y="650"/>
                  </a:lnTo>
                  <a:lnTo>
                    <a:pt x="1503" y="650"/>
                  </a:lnTo>
                  <a:lnTo>
                    <a:pt x="1503" y="650"/>
                  </a:lnTo>
                  <a:lnTo>
                    <a:pt x="1503" y="650"/>
                  </a:lnTo>
                  <a:lnTo>
                    <a:pt x="1505" y="650"/>
                  </a:lnTo>
                  <a:lnTo>
                    <a:pt x="1505" y="650"/>
                  </a:lnTo>
                  <a:lnTo>
                    <a:pt x="1503" y="650"/>
                  </a:lnTo>
                  <a:lnTo>
                    <a:pt x="1505" y="650"/>
                  </a:lnTo>
                  <a:lnTo>
                    <a:pt x="1505" y="650"/>
                  </a:lnTo>
                  <a:lnTo>
                    <a:pt x="1505" y="650"/>
                  </a:lnTo>
                  <a:lnTo>
                    <a:pt x="1505" y="650"/>
                  </a:lnTo>
                  <a:lnTo>
                    <a:pt x="1505" y="650"/>
                  </a:lnTo>
                  <a:lnTo>
                    <a:pt x="1507" y="650"/>
                  </a:lnTo>
                  <a:lnTo>
                    <a:pt x="1507" y="650"/>
                  </a:lnTo>
                  <a:lnTo>
                    <a:pt x="1507" y="650"/>
                  </a:lnTo>
                  <a:lnTo>
                    <a:pt x="1507" y="650"/>
                  </a:lnTo>
                  <a:lnTo>
                    <a:pt x="1507" y="650"/>
                  </a:lnTo>
                  <a:lnTo>
                    <a:pt x="1507" y="650"/>
                  </a:lnTo>
                  <a:lnTo>
                    <a:pt x="1507" y="652"/>
                  </a:lnTo>
                  <a:lnTo>
                    <a:pt x="1507" y="652"/>
                  </a:lnTo>
                  <a:lnTo>
                    <a:pt x="1507" y="652"/>
                  </a:lnTo>
                  <a:lnTo>
                    <a:pt x="1507" y="652"/>
                  </a:lnTo>
                  <a:lnTo>
                    <a:pt x="1507" y="650"/>
                  </a:lnTo>
                  <a:lnTo>
                    <a:pt x="1505" y="650"/>
                  </a:lnTo>
                  <a:lnTo>
                    <a:pt x="1505" y="652"/>
                  </a:lnTo>
                  <a:lnTo>
                    <a:pt x="1505" y="652"/>
                  </a:lnTo>
                  <a:lnTo>
                    <a:pt x="1507" y="652"/>
                  </a:lnTo>
                  <a:lnTo>
                    <a:pt x="1514" y="656"/>
                  </a:lnTo>
                  <a:lnTo>
                    <a:pt x="1514" y="656"/>
                  </a:lnTo>
                  <a:lnTo>
                    <a:pt x="1516" y="658"/>
                  </a:lnTo>
                  <a:lnTo>
                    <a:pt x="1516" y="658"/>
                  </a:lnTo>
                  <a:lnTo>
                    <a:pt x="1514" y="658"/>
                  </a:lnTo>
                  <a:lnTo>
                    <a:pt x="1512" y="656"/>
                  </a:lnTo>
                  <a:lnTo>
                    <a:pt x="1509" y="654"/>
                  </a:lnTo>
                  <a:lnTo>
                    <a:pt x="1509" y="654"/>
                  </a:lnTo>
                  <a:lnTo>
                    <a:pt x="1507" y="656"/>
                  </a:lnTo>
                  <a:lnTo>
                    <a:pt x="1509" y="656"/>
                  </a:lnTo>
                  <a:lnTo>
                    <a:pt x="1509" y="656"/>
                  </a:lnTo>
                  <a:lnTo>
                    <a:pt x="1509" y="658"/>
                  </a:lnTo>
                  <a:lnTo>
                    <a:pt x="1512" y="658"/>
                  </a:lnTo>
                  <a:lnTo>
                    <a:pt x="1512" y="658"/>
                  </a:lnTo>
                  <a:lnTo>
                    <a:pt x="1512" y="658"/>
                  </a:lnTo>
                  <a:lnTo>
                    <a:pt x="1514" y="658"/>
                  </a:lnTo>
                  <a:lnTo>
                    <a:pt x="1514" y="660"/>
                  </a:lnTo>
                  <a:lnTo>
                    <a:pt x="1514" y="660"/>
                  </a:lnTo>
                  <a:lnTo>
                    <a:pt x="1516" y="660"/>
                  </a:lnTo>
                  <a:lnTo>
                    <a:pt x="1518" y="660"/>
                  </a:lnTo>
                  <a:lnTo>
                    <a:pt x="1520" y="660"/>
                  </a:lnTo>
                  <a:close/>
                  <a:moveTo>
                    <a:pt x="1245" y="566"/>
                  </a:moveTo>
                  <a:lnTo>
                    <a:pt x="1245" y="566"/>
                  </a:lnTo>
                  <a:lnTo>
                    <a:pt x="1245" y="566"/>
                  </a:lnTo>
                  <a:lnTo>
                    <a:pt x="1245" y="566"/>
                  </a:lnTo>
                  <a:lnTo>
                    <a:pt x="1243" y="566"/>
                  </a:lnTo>
                  <a:lnTo>
                    <a:pt x="1243" y="566"/>
                  </a:lnTo>
                  <a:lnTo>
                    <a:pt x="1243" y="566"/>
                  </a:lnTo>
                  <a:lnTo>
                    <a:pt x="1243" y="566"/>
                  </a:lnTo>
                  <a:lnTo>
                    <a:pt x="1243" y="566"/>
                  </a:lnTo>
                  <a:lnTo>
                    <a:pt x="1245" y="566"/>
                  </a:lnTo>
                  <a:lnTo>
                    <a:pt x="1245" y="566"/>
                  </a:lnTo>
                  <a:lnTo>
                    <a:pt x="1245" y="566"/>
                  </a:lnTo>
                  <a:lnTo>
                    <a:pt x="1245" y="566"/>
                  </a:lnTo>
                  <a:lnTo>
                    <a:pt x="1245" y="566"/>
                  </a:lnTo>
                  <a:close/>
                  <a:moveTo>
                    <a:pt x="1167" y="584"/>
                  </a:moveTo>
                  <a:lnTo>
                    <a:pt x="1167" y="584"/>
                  </a:lnTo>
                  <a:lnTo>
                    <a:pt x="1167" y="584"/>
                  </a:lnTo>
                  <a:lnTo>
                    <a:pt x="1167" y="584"/>
                  </a:lnTo>
                  <a:lnTo>
                    <a:pt x="1167" y="584"/>
                  </a:lnTo>
                  <a:lnTo>
                    <a:pt x="1167" y="584"/>
                  </a:lnTo>
                  <a:lnTo>
                    <a:pt x="1167" y="584"/>
                  </a:lnTo>
                  <a:lnTo>
                    <a:pt x="1165" y="586"/>
                  </a:lnTo>
                  <a:lnTo>
                    <a:pt x="1165" y="586"/>
                  </a:lnTo>
                  <a:lnTo>
                    <a:pt x="1163" y="588"/>
                  </a:lnTo>
                  <a:lnTo>
                    <a:pt x="1163" y="588"/>
                  </a:lnTo>
                  <a:lnTo>
                    <a:pt x="1163" y="588"/>
                  </a:lnTo>
                  <a:lnTo>
                    <a:pt x="1163" y="586"/>
                  </a:lnTo>
                  <a:lnTo>
                    <a:pt x="1163" y="586"/>
                  </a:lnTo>
                  <a:lnTo>
                    <a:pt x="1161" y="586"/>
                  </a:lnTo>
                  <a:lnTo>
                    <a:pt x="1161" y="588"/>
                  </a:lnTo>
                  <a:lnTo>
                    <a:pt x="1163" y="588"/>
                  </a:lnTo>
                  <a:lnTo>
                    <a:pt x="1163" y="588"/>
                  </a:lnTo>
                  <a:lnTo>
                    <a:pt x="1163" y="588"/>
                  </a:lnTo>
                  <a:lnTo>
                    <a:pt x="1163" y="588"/>
                  </a:lnTo>
                  <a:lnTo>
                    <a:pt x="1163" y="588"/>
                  </a:lnTo>
                  <a:lnTo>
                    <a:pt x="1163" y="588"/>
                  </a:lnTo>
                  <a:lnTo>
                    <a:pt x="1163" y="588"/>
                  </a:lnTo>
                  <a:lnTo>
                    <a:pt x="1163" y="588"/>
                  </a:lnTo>
                  <a:lnTo>
                    <a:pt x="1163" y="588"/>
                  </a:lnTo>
                  <a:lnTo>
                    <a:pt x="1163" y="588"/>
                  </a:lnTo>
                  <a:lnTo>
                    <a:pt x="1163" y="588"/>
                  </a:lnTo>
                  <a:lnTo>
                    <a:pt x="1163" y="588"/>
                  </a:lnTo>
                  <a:lnTo>
                    <a:pt x="1161" y="588"/>
                  </a:lnTo>
                  <a:lnTo>
                    <a:pt x="1161" y="590"/>
                  </a:lnTo>
                  <a:lnTo>
                    <a:pt x="1163" y="590"/>
                  </a:lnTo>
                  <a:lnTo>
                    <a:pt x="1165" y="588"/>
                  </a:lnTo>
                  <a:lnTo>
                    <a:pt x="1165" y="588"/>
                  </a:lnTo>
                  <a:lnTo>
                    <a:pt x="1165" y="588"/>
                  </a:lnTo>
                  <a:lnTo>
                    <a:pt x="1167" y="584"/>
                  </a:lnTo>
                  <a:lnTo>
                    <a:pt x="1167" y="584"/>
                  </a:lnTo>
                  <a:close/>
                  <a:moveTo>
                    <a:pt x="1532" y="609"/>
                  </a:moveTo>
                  <a:lnTo>
                    <a:pt x="1530" y="607"/>
                  </a:lnTo>
                  <a:lnTo>
                    <a:pt x="1530" y="607"/>
                  </a:lnTo>
                  <a:lnTo>
                    <a:pt x="1530" y="607"/>
                  </a:lnTo>
                  <a:lnTo>
                    <a:pt x="1530" y="607"/>
                  </a:lnTo>
                  <a:lnTo>
                    <a:pt x="1528" y="607"/>
                  </a:lnTo>
                  <a:lnTo>
                    <a:pt x="1528" y="605"/>
                  </a:lnTo>
                  <a:lnTo>
                    <a:pt x="1528" y="605"/>
                  </a:lnTo>
                  <a:lnTo>
                    <a:pt x="1526" y="605"/>
                  </a:lnTo>
                  <a:lnTo>
                    <a:pt x="1526" y="605"/>
                  </a:lnTo>
                  <a:lnTo>
                    <a:pt x="1526" y="605"/>
                  </a:lnTo>
                  <a:lnTo>
                    <a:pt x="1526" y="605"/>
                  </a:lnTo>
                  <a:lnTo>
                    <a:pt x="1524" y="605"/>
                  </a:lnTo>
                  <a:lnTo>
                    <a:pt x="1524" y="603"/>
                  </a:lnTo>
                  <a:lnTo>
                    <a:pt x="1524" y="603"/>
                  </a:lnTo>
                  <a:lnTo>
                    <a:pt x="1524" y="603"/>
                  </a:lnTo>
                  <a:lnTo>
                    <a:pt x="1524" y="603"/>
                  </a:lnTo>
                  <a:lnTo>
                    <a:pt x="1524" y="603"/>
                  </a:lnTo>
                  <a:lnTo>
                    <a:pt x="1524" y="605"/>
                  </a:lnTo>
                  <a:lnTo>
                    <a:pt x="1524" y="605"/>
                  </a:lnTo>
                  <a:lnTo>
                    <a:pt x="1526" y="609"/>
                  </a:lnTo>
                  <a:lnTo>
                    <a:pt x="1526" y="609"/>
                  </a:lnTo>
                  <a:lnTo>
                    <a:pt x="1526" y="609"/>
                  </a:lnTo>
                  <a:lnTo>
                    <a:pt x="1526" y="609"/>
                  </a:lnTo>
                  <a:lnTo>
                    <a:pt x="1528" y="609"/>
                  </a:lnTo>
                  <a:lnTo>
                    <a:pt x="1528" y="611"/>
                  </a:lnTo>
                  <a:lnTo>
                    <a:pt x="1528" y="611"/>
                  </a:lnTo>
                  <a:lnTo>
                    <a:pt x="1528" y="613"/>
                  </a:lnTo>
                  <a:lnTo>
                    <a:pt x="1528" y="613"/>
                  </a:lnTo>
                  <a:lnTo>
                    <a:pt x="1528" y="613"/>
                  </a:lnTo>
                  <a:lnTo>
                    <a:pt x="1528" y="613"/>
                  </a:lnTo>
                  <a:lnTo>
                    <a:pt x="1530" y="613"/>
                  </a:lnTo>
                  <a:lnTo>
                    <a:pt x="1530" y="613"/>
                  </a:lnTo>
                  <a:lnTo>
                    <a:pt x="1530" y="615"/>
                  </a:lnTo>
                  <a:lnTo>
                    <a:pt x="1532" y="617"/>
                  </a:lnTo>
                  <a:lnTo>
                    <a:pt x="1532" y="617"/>
                  </a:lnTo>
                  <a:lnTo>
                    <a:pt x="1532" y="615"/>
                  </a:lnTo>
                  <a:lnTo>
                    <a:pt x="1532" y="615"/>
                  </a:lnTo>
                  <a:lnTo>
                    <a:pt x="1532" y="613"/>
                  </a:lnTo>
                  <a:lnTo>
                    <a:pt x="1532" y="613"/>
                  </a:lnTo>
                  <a:lnTo>
                    <a:pt x="1532" y="613"/>
                  </a:lnTo>
                  <a:lnTo>
                    <a:pt x="1532" y="613"/>
                  </a:lnTo>
                  <a:lnTo>
                    <a:pt x="1532" y="611"/>
                  </a:lnTo>
                  <a:lnTo>
                    <a:pt x="1532" y="613"/>
                  </a:lnTo>
                  <a:lnTo>
                    <a:pt x="1532" y="613"/>
                  </a:lnTo>
                  <a:lnTo>
                    <a:pt x="1532" y="613"/>
                  </a:lnTo>
                  <a:lnTo>
                    <a:pt x="1532" y="613"/>
                  </a:lnTo>
                  <a:lnTo>
                    <a:pt x="1532" y="615"/>
                  </a:lnTo>
                  <a:lnTo>
                    <a:pt x="1532" y="615"/>
                  </a:lnTo>
                  <a:lnTo>
                    <a:pt x="1532" y="615"/>
                  </a:lnTo>
                  <a:lnTo>
                    <a:pt x="1532" y="615"/>
                  </a:lnTo>
                  <a:lnTo>
                    <a:pt x="1534" y="615"/>
                  </a:lnTo>
                  <a:lnTo>
                    <a:pt x="1534" y="617"/>
                  </a:lnTo>
                  <a:lnTo>
                    <a:pt x="1532" y="619"/>
                  </a:lnTo>
                  <a:lnTo>
                    <a:pt x="1532" y="619"/>
                  </a:lnTo>
                  <a:lnTo>
                    <a:pt x="1532" y="619"/>
                  </a:lnTo>
                  <a:lnTo>
                    <a:pt x="1534" y="621"/>
                  </a:lnTo>
                  <a:lnTo>
                    <a:pt x="1534" y="621"/>
                  </a:lnTo>
                  <a:lnTo>
                    <a:pt x="1534" y="621"/>
                  </a:lnTo>
                  <a:lnTo>
                    <a:pt x="1534" y="623"/>
                  </a:lnTo>
                  <a:lnTo>
                    <a:pt x="1534" y="623"/>
                  </a:lnTo>
                  <a:lnTo>
                    <a:pt x="1536" y="623"/>
                  </a:lnTo>
                  <a:lnTo>
                    <a:pt x="1536" y="627"/>
                  </a:lnTo>
                  <a:lnTo>
                    <a:pt x="1538" y="627"/>
                  </a:lnTo>
                  <a:lnTo>
                    <a:pt x="1538" y="629"/>
                  </a:lnTo>
                  <a:lnTo>
                    <a:pt x="1540" y="631"/>
                  </a:lnTo>
                  <a:lnTo>
                    <a:pt x="1540" y="633"/>
                  </a:lnTo>
                  <a:lnTo>
                    <a:pt x="1540" y="633"/>
                  </a:lnTo>
                  <a:lnTo>
                    <a:pt x="1540" y="633"/>
                  </a:lnTo>
                  <a:lnTo>
                    <a:pt x="1540" y="633"/>
                  </a:lnTo>
                  <a:lnTo>
                    <a:pt x="1540" y="635"/>
                  </a:lnTo>
                  <a:lnTo>
                    <a:pt x="1540" y="635"/>
                  </a:lnTo>
                  <a:lnTo>
                    <a:pt x="1542" y="637"/>
                  </a:lnTo>
                  <a:lnTo>
                    <a:pt x="1542" y="637"/>
                  </a:lnTo>
                  <a:lnTo>
                    <a:pt x="1542" y="639"/>
                  </a:lnTo>
                  <a:lnTo>
                    <a:pt x="1542" y="639"/>
                  </a:lnTo>
                  <a:lnTo>
                    <a:pt x="1544" y="641"/>
                  </a:lnTo>
                  <a:lnTo>
                    <a:pt x="1544" y="641"/>
                  </a:lnTo>
                  <a:lnTo>
                    <a:pt x="1544" y="641"/>
                  </a:lnTo>
                  <a:lnTo>
                    <a:pt x="1544" y="641"/>
                  </a:lnTo>
                  <a:lnTo>
                    <a:pt x="1546" y="643"/>
                  </a:lnTo>
                  <a:lnTo>
                    <a:pt x="1546" y="643"/>
                  </a:lnTo>
                  <a:lnTo>
                    <a:pt x="1548" y="643"/>
                  </a:lnTo>
                  <a:lnTo>
                    <a:pt x="1548" y="641"/>
                  </a:lnTo>
                  <a:lnTo>
                    <a:pt x="1550" y="641"/>
                  </a:lnTo>
                  <a:lnTo>
                    <a:pt x="1552" y="641"/>
                  </a:lnTo>
                  <a:lnTo>
                    <a:pt x="1550" y="641"/>
                  </a:lnTo>
                  <a:lnTo>
                    <a:pt x="1550" y="643"/>
                  </a:lnTo>
                  <a:lnTo>
                    <a:pt x="1550" y="643"/>
                  </a:lnTo>
                  <a:lnTo>
                    <a:pt x="1548" y="643"/>
                  </a:lnTo>
                  <a:lnTo>
                    <a:pt x="1548" y="646"/>
                  </a:lnTo>
                  <a:lnTo>
                    <a:pt x="1548" y="646"/>
                  </a:lnTo>
                  <a:lnTo>
                    <a:pt x="1548" y="646"/>
                  </a:lnTo>
                  <a:lnTo>
                    <a:pt x="1548" y="646"/>
                  </a:lnTo>
                  <a:lnTo>
                    <a:pt x="1546" y="646"/>
                  </a:lnTo>
                  <a:lnTo>
                    <a:pt x="1546" y="646"/>
                  </a:lnTo>
                  <a:lnTo>
                    <a:pt x="1548" y="646"/>
                  </a:lnTo>
                  <a:lnTo>
                    <a:pt x="1548" y="646"/>
                  </a:lnTo>
                  <a:lnTo>
                    <a:pt x="1548" y="646"/>
                  </a:lnTo>
                  <a:lnTo>
                    <a:pt x="1548" y="646"/>
                  </a:lnTo>
                  <a:lnTo>
                    <a:pt x="1550" y="648"/>
                  </a:lnTo>
                  <a:lnTo>
                    <a:pt x="1550" y="650"/>
                  </a:lnTo>
                  <a:lnTo>
                    <a:pt x="1550" y="650"/>
                  </a:lnTo>
                  <a:lnTo>
                    <a:pt x="1552" y="650"/>
                  </a:lnTo>
                  <a:lnTo>
                    <a:pt x="1555" y="648"/>
                  </a:lnTo>
                  <a:lnTo>
                    <a:pt x="1557" y="648"/>
                  </a:lnTo>
                  <a:lnTo>
                    <a:pt x="1555" y="648"/>
                  </a:lnTo>
                  <a:lnTo>
                    <a:pt x="1555" y="650"/>
                  </a:lnTo>
                  <a:lnTo>
                    <a:pt x="1555" y="650"/>
                  </a:lnTo>
                  <a:lnTo>
                    <a:pt x="1555" y="650"/>
                  </a:lnTo>
                  <a:lnTo>
                    <a:pt x="1555" y="650"/>
                  </a:lnTo>
                  <a:lnTo>
                    <a:pt x="1555" y="650"/>
                  </a:lnTo>
                  <a:lnTo>
                    <a:pt x="1557" y="650"/>
                  </a:lnTo>
                  <a:lnTo>
                    <a:pt x="1557" y="652"/>
                  </a:lnTo>
                  <a:lnTo>
                    <a:pt x="1557" y="652"/>
                  </a:lnTo>
                  <a:lnTo>
                    <a:pt x="1555" y="650"/>
                  </a:lnTo>
                  <a:lnTo>
                    <a:pt x="1550" y="650"/>
                  </a:lnTo>
                  <a:lnTo>
                    <a:pt x="1550" y="650"/>
                  </a:lnTo>
                  <a:lnTo>
                    <a:pt x="1550" y="650"/>
                  </a:lnTo>
                  <a:lnTo>
                    <a:pt x="1548" y="650"/>
                  </a:lnTo>
                  <a:lnTo>
                    <a:pt x="1548" y="650"/>
                  </a:lnTo>
                  <a:lnTo>
                    <a:pt x="1548" y="650"/>
                  </a:lnTo>
                  <a:lnTo>
                    <a:pt x="1550" y="652"/>
                  </a:lnTo>
                  <a:lnTo>
                    <a:pt x="1550" y="652"/>
                  </a:lnTo>
                  <a:lnTo>
                    <a:pt x="1550" y="652"/>
                  </a:lnTo>
                  <a:lnTo>
                    <a:pt x="1550" y="652"/>
                  </a:lnTo>
                  <a:lnTo>
                    <a:pt x="1550" y="652"/>
                  </a:lnTo>
                  <a:lnTo>
                    <a:pt x="1552" y="652"/>
                  </a:lnTo>
                  <a:lnTo>
                    <a:pt x="1552" y="654"/>
                  </a:lnTo>
                  <a:lnTo>
                    <a:pt x="1552" y="654"/>
                  </a:lnTo>
                  <a:lnTo>
                    <a:pt x="1550" y="654"/>
                  </a:lnTo>
                  <a:lnTo>
                    <a:pt x="1550" y="654"/>
                  </a:lnTo>
                  <a:lnTo>
                    <a:pt x="1550" y="656"/>
                  </a:lnTo>
                  <a:lnTo>
                    <a:pt x="1550" y="656"/>
                  </a:lnTo>
                  <a:lnTo>
                    <a:pt x="1550" y="656"/>
                  </a:lnTo>
                  <a:lnTo>
                    <a:pt x="1550" y="658"/>
                  </a:lnTo>
                  <a:lnTo>
                    <a:pt x="1550" y="658"/>
                  </a:lnTo>
                  <a:lnTo>
                    <a:pt x="1552" y="658"/>
                  </a:lnTo>
                  <a:lnTo>
                    <a:pt x="1552" y="658"/>
                  </a:lnTo>
                  <a:lnTo>
                    <a:pt x="1552" y="658"/>
                  </a:lnTo>
                  <a:lnTo>
                    <a:pt x="1552" y="658"/>
                  </a:lnTo>
                  <a:lnTo>
                    <a:pt x="1550" y="658"/>
                  </a:lnTo>
                  <a:lnTo>
                    <a:pt x="1550" y="660"/>
                  </a:lnTo>
                  <a:lnTo>
                    <a:pt x="1550" y="660"/>
                  </a:lnTo>
                  <a:lnTo>
                    <a:pt x="1550" y="660"/>
                  </a:lnTo>
                  <a:lnTo>
                    <a:pt x="1550" y="660"/>
                  </a:lnTo>
                  <a:lnTo>
                    <a:pt x="1550" y="662"/>
                  </a:lnTo>
                  <a:lnTo>
                    <a:pt x="1552" y="662"/>
                  </a:lnTo>
                  <a:lnTo>
                    <a:pt x="1552" y="662"/>
                  </a:lnTo>
                  <a:lnTo>
                    <a:pt x="1550" y="664"/>
                  </a:lnTo>
                  <a:lnTo>
                    <a:pt x="1550" y="664"/>
                  </a:lnTo>
                  <a:lnTo>
                    <a:pt x="1552" y="666"/>
                  </a:lnTo>
                  <a:lnTo>
                    <a:pt x="1552" y="668"/>
                  </a:lnTo>
                  <a:lnTo>
                    <a:pt x="1552" y="670"/>
                  </a:lnTo>
                  <a:lnTo>
                    <a:pt x="1555" y="668"/>
                  </a:lnTo>
                  <a:lnTo>
                    <a:pt x="1555" y="668"/>
                  </a:lnTo>
                  <a:lnTo>
                    <a:pt x="1557" y="668"/>
                  </a:lnTo>
                  <a:lnTo>
                    <a:pt x="1557" y="668"/>
                  </a:lnTo>
                  <a:lnTo>
                    <a:pt x="1557" y="666"/>
                  </a:lnTo>
                  <a:lnTo>
                    <a:pt x="1557" y="666"/>
                  </a:lnTo>
                  <a:lnTo>
                    <a:pt x="1559" y="664"/>
                  </a:lnTo>
                  <a:lnTo>
                    <a:pt x="1559" y="664"/>
                  </a:lnTo>
                  <a:lnTo>
                    <a:pt x="1559" y="664"/>
                  </a:lnTo>
                  <a:lnTo>
                    <a:pt x="1559" y="664"/>
                  </a:lnTo>
                  <a:lnTo>
                    <a:pt x="1559" y="664"/>
                  </a:lnTo>
                  <a:lnTo>
                    <a:pt x="1559" y="664"/>
                  </a:lnTo>
                  <a:lnTo>
                    <a:pt x="1559" y="662"/>
                  </a:lnTo>
                  <a:lnTo>
                    <a:pt x="1559" y="662"/>
                  </a:lnTo>
                  <a:lnTo>
                    <a:pt x="1559" y="662"/>
                  </a:lnTo>
                  <a:lnTo>
                    <a:pt x="1559" y="662"/>
                  </a:lnTo>
                  <a:lnTo>
                    <a:pt x="1559" y="662"/>
                  </a:lnTo>
                  <a:lnTo>
                    <a:pt x="1559" y="662"/>
                  </a:lnTo>
                  <a:lnTo>
                    <a:pt x="1559" y="662"/>
                  </a:lnTo>
                  <a:lnTo>
                    <a:pt x="1559" y="662"/>
                  </a:lnTo>
                  <a:lnTo>
                    <a:pt x="1559" y="662"/>
                  </a:lnTo>
                  <a:lnTo>
                    <a:pt x="1559" y="662"/>
                  </a:lnTo>
                  <a:lnTo>
                    <a:pt x="1559" y="660"/>
                  </a:lnTo>
                  <a:lnTo>
                    <a:pt x="1561" y="660"/>
                  </a:lnTo>
                  <a:lnTo>
                    <a:pt x="1561" y="660"/>
                  </a:lnTo>
                  <a:lnTo>
                    <a:pt x="1561" y="660"/>
                  </a:lnTo>
                  <a:lnTo>
                    <a:pt x="1561" y="658"/>
                  </a:lnTo>
                  <a:lnTo>
                    <a:pt x="1561" y="658"/>
                  </a:lnTo>
                  <a:lnTo>
                    <a:pt x="1561" y="658"/>
                  </a:lnTo>
                  <a:lnTo>
                    <a:pt x="1561" y="658"/>
                  </a:lnTo>
                  <a:lnTo>
                    <a:pt x="1561" y="658"/>
                  </a:lnTo>
                  <a:lnTo>
                    <a:pt x="1561" y="658"/>
                  </a:lnTo>
                  <a:lnTo>
                    <a:pt x="1563" y="658"/>
                  </a:lnTo>
                  <a:lnTo>
                    <a:pt x="1563" y="658"/>
                  </a:lnTo>
                  <a:lnTo>
                    <a:pt x="1563" y="658"/>
                  </a:lnTo>
                  <a:lnTo>
                    <a:pt x="1563" y="656"/>
                  </a:lnTo>
                  <a:lnTo>
                    <a:pt x="1563" y="656"/>
                  </a:lnTo>
                  <a:lnTo>
                    <a:pt x="1563" y="654"/>
                  </a:lnTo>
                  <a:lnTo>
                    <a:pt x="1563" y="654"/>
                  </a:lnTo>
                  <a:lnTo>
                    <a:pt x="1563" y="654"/>
                  </a:lnTo>
                  <a:lnTo>
                    <a:pt x="1563" y="654"/>
                  </a:lnTo>
                  <a:lnTo>
                    <a:pt x="1563" y="654"/>
                  </a:lnTo>
                  <a:lnTo>
                    <a:pt x="1563" y="652"/>
                  </a:lnTo>
                  <a:lnTo>
                    <a:pt x="1563" y="652"/>
                  </a:lnTo>
                  <a:lnTo>
                    <a:pt x="1563" y="652"/>
                  </a:lnTo>
                  <a:lnTo>
                    <a:pt x="1563" y="652"/>
                  </a:lnTo>
                  <a:lnTo>
                    <a:pt x="1561" y="652"/>
                  </a:lnTo>
                  <a:lnTo>
                    <a:pt x="1561" y="652"/>
                  </a:lnTo>
                  <a:lnTo>
                    <a:pt x="1561" y="650"/>
                  </a:lnTo>
                  <a:lnTo>
                    <a:pt x="1561" y="650"/>
                  </a:lnTo>
                  <a:lnTo>
                    <a:pt x="1559" y="648"/>
                  </a:lnTo>
                  <a:lnTo>
                    <a:pt x="1561" y="648"/>
                  </a:lnTo>
                  <a:lnTo>
                    <a:pt x="1561" y="648"/>
                  </a:lnTo>
                  <a:lnTo>
                    <a:pt x="1561" y="648"/>
                  </a:lnTo>
                  <a:lnTo>
                    <a:pt x="1561" y="648"/>
                  </a:lnTo>
                  <a:lnTo>
                    <a:pt x="1563" y="650"/>
                  </a:lnTo>
                  <a:lnTo>
                    <a:pt x="1563" y="650"/>
                  </a:lnTo>
                  <a:lnTo>
                    <a:pt x="1563" y="650"/>
                  </a:lnTo>
                  <a:lnTo>
                    <a:pt x="1563" y="650"/>
                  </a:lnTo>
                  <a:lnTo>
                    <a:pt x="1563" y="650"/>
                  </a:lnTo>
                  <a:lnTo>
                    <a:pt x="1563" y="648"/>
                  </a:lnTo>
                  <a:lnTo>
                    <a:pt x="1563" y="648"/>
                  </a:lnTo>
                  <a:lnTo>
                    <a:pt x="1563" y="648"/>
                  </a:lnTo>
                  <a:lnTo>
                    <a:pt x="1563" y="648"/>
                  </a:lnTo>
                  <a:lnTo>
                    <a:pt x="1563" y="648"/>
                  </a:lnTo>
                  <a:lnTo>
                    <a:pt x="1563" y="648"/>
                  </a:lnTo>
                  <a:lnTo>
                    <a:pt x="1565" y="650"/>
                  </a:lnTo>
                  <a:lnTo>
                    <a:pt x="1567" y="650"/>
                  </a:lnTo>
                  <a:lnTo>
                    <a:pt x="1567" y="650"/>
                  </a:lnTo>
                  <a:lnTo>
                    <a:pt x="1567" y="648"/>
                  </a:lnTo>
                  <a:lnTo>
                    <a:pt x="1567" y="648"/>
                  </a:lnTo>
                  <a:lnTo>
                    <a:pt x="1569" y="648"/>
                  </a:lnTo>
                  <a:lnTo>
                    <a:pt x="1569" y="646"/>
                  </a:lnTo>
                  <a:lnTo>
                    <a:pt x="1567" y="646"/>
                  </a:lnTo>
                  <a:lnTo>
                    <a:pt x="1567" y="643"/>
                  </a:lnTo>
                  <a:lnTo>
                    <a:pt x="1567" y="643"/>
                  </a:lnTo>
                  <a:lnTo>
                    <a:pt x="1567" y="643"/>
                  </a:lnTo>
                  <a:lnTo>
                    <a:pt x="1567" y="643"/>
                  </a:lnTo>
                  <a:lnTo>
                    <a:pt x="1567" y="643"/>
                  </a:lnTo>
                  <a:lnTo>
                    <a:pt x="1567" y="641"/>
                  </a:lnTo>
                  <a:lnTo>
                    <a:pt x="1565" y="643"/>
                  </a:lnTo>
                  <a:lnTo>
                    <a:pt x="1565" y="643"/>
                  </a:lnTo>
                  <a:lnTo>
                    <a:pt x="1565" y="643"/>
                  </a:lnTo>
                  <a:lnTo>
                    <a:pt x="1565" y="643"/>
                  </a:lnTo>
                  <a:lnTo>
                    <a:pt x="1565" y="643"/>
                  </a:lnTo>
                  <a:lnTo>
                    <a:pt x="1563" y="643"/>
                  </a:lnTo>
                  <a:lnTo>
                    <a:pt x="1563" y="641"/>
                  </a:lnTo>
                  <a:lnTo>
                    <a:pt x="1563" y="641"/>
                  </a:lnTo>
                  <a:lnTo>
                    <a:pt x="1561" y="643"/>
                  </a:lnTo>
                  <a:lnTo>
                    <a:pt x="1561" y="641"/>
                  </a:lnTo>
                  <a:lnTo>
                    <a:pt x="1561" y="641"/>
                  </a:lnTo>
                  <a:lnTo>
                    <a:pt x="1561" y="641"/>
                  </a:lnTo>
                  <a:lnTo>
                    <a:pt x="1561" y="641"/>
                  </a:lnTo>
                  <a:lnTo>
                    <a:pt x="1561" y="641"/>
                  </a:lnTo>
                  <a:lnTo>
                    <a:pt x="1561" y="641"/>
                  </a:lnTo>
                  <a:lnTo>
                    <a:pt x="1561" y="639"/>
                  </a:lnTo>
                  <a:lnTo>
                    <a:pt x="1561" y="639"/>
                  </a:lnTo>
                  <a:lnTo>
                    <a:pt x="1561" y="641"/>
                  </a:lnTo>
                  <a:lnTo>
                    <a:pt x="1561" y="641"/>
                  </a:lnTo>
                  <a:lnTo>
                    <a:pt x="1563" y="641"/>
                  </a:lnTo>
                  <a:lnTo>
                    <a:pt x="1565" y="641"/>
                  </a:lnTo>
                  <a:lnTo>
                    <a:pt x="1565" y="641"/>
                  </a:lnTo>
                  <a:lnTo>
                    <a:pt x="1565" y="641"/>
                  </a:lnTo>
                  <a:lnTo>
                    <a:pt x="1565" y="639"/>
                  </a:lnTo>
                  <a:lnTo>
                    <a:pt x="1565" y="639"/>
                  </a:lnTo>
                  <a:lnTo>
                    <a:pt x="1565" y="639"/>
                  </a:lnTo>
                  <a:lnTo>
                    <a:pt x="1565" y="639"/>
                  </a:lnTo>
                  <a:lnTo>
                    <a:pt x="1565" y="639"/>
                  </a:lnTo>
                  <a:lnTo>
                    <a:pt x="1565" y="639"/>
                  </a:lnTo>
                  <a:lnTo>
                    <a:pt x="1565" y="639"/>
                  </a:lnTo>
                  <a:lnTo>
                    <a:pt x="1567" y="641"/>
                  </a:lnTo>
                  <a:lnTo>
                    <a:pt x="1567" y="641"/>
                  </a:lnTo>
                  <a:lnTo>
                    <a:pt x="1567" y="641"/>
                  </a:lnTo>
                  <a:lnTo>
                    <a:pt x="1567" y="639"/>
                  </a:lnTo>
                  <a:lnTo>
                    <a:pt x="1565" y="639"/>
                  </a:lnTo>
                  <a:lnTo>
                    <a:pt x="1563" y="637"/>
                  </a:lnTo>
                  <a:lnTo>
                    <a:pt x="1563" y="637"/>
                  </a:lnTo>
                  <a:lnTo>
                    <a:pt x="1563" y="635"/>
                  </a:lnTo>
                  <a:lnTo>
                    <a:pt x="1563" y="633"/>
                  </a:lnTo>
                  <a:lnTo>
                    <a:pt x="1561" y="633"/>
                  </a:lnTo>
                  <a:lnTo>
                    <a:pt x="1561" y="633"/>
                  </a:lnTo>
                  <a:lnTo>
                    <a:pt x="1561" y="633"/>
                  </a:lnTo>
                  <a:lnTo>
                    <a:pt x="1559" y="633"/>
                  </a:lnTo>
                  <a:lnTo>
                    <a:pt x="1559" y="633"/>
                  </a:lnTo>
                  <a:lnTo>
                    <a:pt x="1557" y="633"/>
                  </a:lnTo>
                  <a:lnTo>
                    <a:pt x="1559" y="631"/>
                  </a:lnTo>
                  <a:lnTo>
                    <a:pt x="1559" y="631"/>
                  </a:lnTo>
                  <a:lnTo>
                    <a:pt x="1559" y="631"/>
                  </a:lnTo>
                  <a:lnTo>
                    <a:pt x="1550" y="625"/>
                  </a:lnTo>
                  <a:lnTo>
                    <a:pt x="1550" y="625"/>
                  </a:lnTo>
                  <a:lnTo>
                    <a:pt x="1550" y="627"/>
                  </a:lnTo>
                  <a:lnTo>
                    <a:pt x="1548" y="625"/>
                  </a:lnTo>
                  <a:lnTo>
                    <a:pt x="1548" y="625"/>
                  </a:lnTo>
                  <a:lnTo>
                    <a:pt x="1548" y="623"/>
                  </a:lnTo>
                  <a:lnTo>
                    <a:pt x="1548" y="623"/>
                  </a:lnTo>
                  <a:lnTo>
                    <a:pt x="1548" y="623"/>
                  </a:lnTo>
                  <a:lnTo>
                    <a:pt x="1548" y="621"/>
                  </a:lnTo>
                  <a:lnTo>
                    <a:pt x="1548" y="621"/>
                  </a:lnTo>
                  <a:lnTo>
                    <a:pt x="1546" y="619"/>
                  </a:lnTo>
                  <a:lnTo>
                    <a:pt x="1546" y="619"/>
                  </a:lnTo>
                  <a:lnTo>
                    <a:pt x="1546" y="619"/>
                  </a:lnTo>
                  <a:lnTo>
                    <a:pt x="1548" y="619"/>
                  </a:lnTo>
                  <a:lnTo>
                    <a:pt x="1548" y="619"/>
                  </a:lnTo>
                  <a:lnTo>
                    <a:pt x="1548" y="619"/>
                  </a:lnTo>
                  <a:lnTo>
                    <a:pt x="1548" y="617"/>
                  </a:lnTo>
                  <a:lnTo>
                    <a:pt x="1548" y="617"/>
                  </a:lnTo>
                  <a:lnTo>
                    <a:pt x="1546" y="617"/>
                  </a:lnTo>
                  <a:lnTo>
                    <a:pt x="1546" y="615"/>
                  </a:lnTo>
                  <a:lnTo>
                    <a:pt x="1546" y="615"/>
                  </a:lnTo>
                  <a:lnTo>
                    <a:pt x="1546" y="615"/>
                  </a:lnTo>
                  <a:lnTo>
                    <a:pt x="1546" y="617"/>
                  </a:lnTo>
                  <a:lnTo>
                    <a:pt x="1546" y="615"/>
                  </a:lnTo>
                  <a:lnTo>
                    <a:pt x="1546" y="615"/>
                  </a:lnTo>
                  <a:lnTo>
                    <a:pt x="1546" y="615"/>
                  </a:lnTo>
                  <a:lnTo>
                    <a:pt x="1546" y="613"/>
                  </a:lnTo>
                  <a:lnTo>
                    <a:pt x="1544" y="613"/>
                  </a:lnTo>
                  <a:lnTo>
                    <a:pt x="1544" y="613"/>
                  </a:lnTo>
                  <a:lnTo>
                    <a:pt x="1544" y="613"/>
                  </a:lnTo>
                  <a:lnTo>
                    <a:pt x="1546" y="613"/>
                  </a:lnTo>
                  <a:lnTo>
                    <a:pt x="1546" y="613"/>
                  </a:lnTo>
                  <a:lnTo>
                    <a:pt x="1546" y="613"/>
                  </a:lnTo>
                  <a:lnTo>
                    <a:pt x="1546" y="613"/>
                  </a:lnTo>
                  <a:lnTo>
                    <a:pt x="1546" y="613"/>
                  </a:lnTo>
                  <a:lnTo>
                    <a:pt x="1548" y="615"/>
                  </a:lnTo>
                  <a:lnTo>
                    <a:pt x="1548" y="615"/>
                  </a:lnTo>
                  <a:lnTo>
                    <a:pt x="1550" y="617"/>
                  </a:lnTo>
                  <a:lnTo>
                    <a:pt x="1550" y="617"/>
                  </a:lnTo>
                  <a:lnTo>
                    <a:pt x="1548" y="617"/>
                  </a:lnTo>
                  <a:lnTo>
                    <a:pt x="1548" y="615"/>
                  </a:lnTo>
                  <a:lnTo>
                    <a:pt x="1548" y="615"/>
                  </a:lnTo>
                  <a:lnTo>
                    <a:pt x="1548" y="615"/>
                  </a:lnTo>
                  <a:lnTo>
                    <a:pt x="1550" y="617"/>
                  </a:lnTo>
                  <a:lnTo>
                    <a:pt x="1550" y="617"/>
                  </a:lnTo>
                  <a:lnTo>
                    <a:pt x="1550" y="619"/>
                  </a:lnTo>
                  <a:lnTo>
                    <a:pt x="1552" y="619"/>
                  </a:lnTo>
                  <a:lnTo>
                    <a:pt x="1552" y="623"/>
                  </a:lnTo>
                  <a:lnTo>
                    <a:pt x="1555" y="623"/>
                  </a:lnTo>
                  <a:lnTo>
                    <a:pt x="1555" y="623"/>
                  </a:lnTo>
                  <a:lnTo>
                    <a:pt x="1555" y="625"/>
                  </a:lnTo>
                  <a:lnTo>
                    <a:pt x="1557" y="625"/>
                  </a:lnTo>
                  <a:lnTo>
                    <a:pt x="1557" y="625"/>
                  </a:lnTo>
                  <a:lnTo>
                    <a:pt x="1559" y="627"/>
                  </a:lnTo>
                  <a:lnTo>
                    <a:pt x="1559" y="627"/>
                  </a:lnTo>
                  <a:lnTo>
                    <a:pt x="1559" y="627"/>
                  </a:lnTo>
                  <a:lnTo>
                    <a:pt x="1559" y="627"/>
                  </a:lnTo>
                  <a:lnTo>
                    <a:pt x="1559" y="629"/>
                  </a:lnTo>
                  <a:lnTo>
                    <a:pt x="1559" y="629"/>
                  </a:lnTo>
                  <a:lnTo>
                    <a:pt x="1561" y="629"/>
                  </a:lnTo>
                  <a:lnTo>
                    <a:pt x="1561" y="631"/>
                  </a:lnTo>
                  <a:lnTo>
                    <a:pt x="1563" y="631"/>
                  </a:lnTo>
                  <a:lnTo>
                    <a:pt x="1565" y="633"/>
                  </a:lnTo>
                  <a:lnTo>
                    <a:pt x="1565" y="633"/>
                  </a:lnTo>
                  <a:lnTo>
                    <a:pt x="1565" y="635"/>
                  </a:lnTo>
                  <a:lnTo>
                    <a:pt x="1567" y="635"/>
                  </a:lnTo>
                  <a:lnTo>
                    <a:pt x="1567" y="633"/>
                  </a:lnTo>
                  <a:lnTo>
                    <a:pt x="1565" y="633"/>
                  </a:lnTo>
                  <a:lnTo>
                    <a:pt x="1563" y="631"/>
                  </a:lnTo>
                  <a:lnTo>
                    <a:pt x="1563" y="631"/>
                  </a:lnTo>
                  <a:lnTo>
                    <a:pt x="1563" y="629"/>
                  </a:lnTo>
                  <a:lnTo>
                    <a:pt x="1563" y="629"/>
                  </a:lnTo>
                  <a:lnTo>
                    <a:pt x="1563" y="627"/>
                  </a:lnTo>
                  <a:lnTo>
                    <a:pt x="1561" y="627"/>
                  </a:lnTo>
                  <a:lnTo>
                    <a:pt x="1561" y="627"/>
                  </a:lnTo>
                  <a:lnTo>
                    <a:pt x="1561" y="625"/>
                  </a:lnTo>
                  <a:lnTo>
                    <a:pt x="1561" y="625"/>
                  </a:lnTo>
                  <a:lnTo>
                    <a:pt x="1561" y="625"/>
                  </a:lnTo>
                  <a:lnTo>
                    <a:pt x="1561" y="625"/>
                  </a:lnTo>
                  <a:lnTo>
                    <a:pt x="1559" y="623"/>
                  </a:lnTo>
                  <a:lnTo>
                    <a:pt x="1559" y="623"/>
                  </a:lnTo>
                  <a:lnTo>
                    <a:pt x="1557" y="621"/>
                  </a:lnTo>
                  <a:lnTo>
                    <a:pt x="1555" y="619"/>
                  </a:lnTo>
                  <a:lnTo>
                    <a:pt x="1555" y="617"/>
                  </a:lnTo>
                  <a:lnTo>
                    <a:pt x="1552" y="617"/>
                  </a:lnTo>
                  <a:lnTo>
                    <a:pt x="1552" y="615"/>
                  </a:lnTo>
                  <a:lnTo>
                    <a:pt x="1548" y="613"/>
                  </a:lnTo>
                  <a:lnTo>
                    <a:pt x="1548" y="611"/>
                  </a:lnTo>
                  <a:lnTo>
                    <a:pt x="1548" y="611"/>
                  </a:lnTo>
                  <a:lnTo>
                    <a:pt x="1546" y="611"/>
                  </a:lnTo>
                  <a:lnTo>
                    <a:pt x="1548" y="611"/>
                  </a:lnTo>
                  <a:lnTo>
                    <a:pt x="1548" y="611"/>
                  </a:lnTo>
                  <a:lnTo>
                    <a:pt x="1548" y="611"/>
                  </a:lnTo>
                  <a:lnTo>
                    <a:pt x="1548" y="609"/>
                  </a:lnTo>
                  <a:lnTo>
                    <a:pt x="1548" y="609"/>
                  </a:lnTo>
                  <a:lnTo>
                    <a:pt x="1546" y="609"/>
                  </a:lnTo>
                  <a:lnTo>
                    <a:pt x="1546" y="609"/>
                  </a:lnTo>
                  <a:lnTo>
                    <a:pt x="1544" y="611"/>
                  </a:lnTo>
                  <a:lnTo>
                    <a:pt x="1542" y="611"/>
                  </a:lnTo>
                  <a:lnTo>
                    <a:pt x="1542" y="611"/>
                  </a:lnTo>
                  <a:lnTo>
                    <a:pt x="1540" y="611"/>
                  </a:lnTo>
                  <a:lnTo>
                    <a:pt x="1540" y="611"/>
                  </a:lnTo>
                  <a:lnTo>
                    <a:pt x="1538" y="611"/>
                  </a:lnTo>
                  <a:lnTo>
                    <a:pt x="1536" y="611"/>
                  </a:lnTo>
                  <a:lnTo>
                    <a:pt x="1536" y="611"/>
                  </a:lnTo>
                  <a:lnTo>
                    <a:pt x="1536" y="611"/>
                  </a:lnTo>
                  <a:lnTo>
                    <a:pt x="1534" y="613"/>
                  </a:lnTo>
                  <a:lnTo>
                    <a:pt x="1534" y="613"/>
                  </a:lnTo>
                  <a:lnTo>
                    <a:pt x="1532" y="611"/>
                  </a:lnTo>
                  <a:lnTo>
                    <a:pt x="1532" y="611"/>
                  </a:lnTo>
                  <a:lnTo>
                    <a:pt x="1532" y="609"/>
                  </a:lnTo>
                  <a:lnTo>
                    <a:pt x="1532" y="609"/>
                  </a:lnTo>
                  <a:lnTo>
                    <a:pt x="1532" y="609"/>
                  </a:lnTo>
                  <a:close/>
                  <a:moveTo>
                    <a:pt x="1249" y="566"/>
                  </a:moveTo>
                  <a:lnTo>
                    <a:pt x="1247" y="566"/>
                  </a:lnTo>
                  <a:lnTo>
                    <a:pt x="1247" y="566"/>
                  </a:lnTo>
                  <a:lnTo>
                    <a:pt x="1247" y="566"/>
                  </a:lnTo>
                  <a:lnTo>
                    <a:pt x="1247" y="566"/>
                  </a:lnTo>
                  <a:lnTo>
                    <a:pt x="1247" y="566"/>
                  </a:lnTo>
                  <a:lnTo>
                    <a:pt x="1247" y="566"/>
                  </a:lnTo>
                  <a:lnTo>
                    <a:pt x="1249" y="566"/>
                  </a:lnTo>
                  <a:lnTo>
                    <a:pt x="1249" y="566"/>
                  </a:lnTo>
                  <a:lnTo>
                    <a:pt x="1249" y="566"/>
                  </a:lnTo>
                  <a:lnTo>
                    <a:pt x="1249" y="566"/>
                  </a:lnTo>
                  <a:lnTo>
                    <a:pt x="1249" y="566"/>
                  </a:lnTo>
                  <a:lnTo>
                    <a:pt x="1249" y="566"/>
                  </a:lnTo>
                  <a:close/>
                  <a:moveTo>
                    <a:pt x="1581" y="721"/>
                  </a:moveTo>
                  <a:lnTo>
                    <a:pt x="1581" y="721"/>
                  </a:lnTo>
                  <a:lnTo>
                    <a:pt x="1579" y="721"/>
                  </a:lnTo>
                  <a:lnTo>
                    <a:pt x="1579" y="721"/>
                  </a:lnTo>
                  <a:lnTo>
                    <a:pt x="1579" y="721"/>
                  </a:lnTo>
                  <a:lnTo>
                    <a:pt x="1579" y="721"/>
                  </a:lnTo>
                  <a:lnTo>
                    <a:pt x="1577" y="721"/>
                  </a:lnTo>
                  <a:lnTo>
                    <a:pt x="1577" y="721"/>
                  </a:lnTo>
                  <a:lnTo>
                    <a:pt x="1577" y="723"/>
                  </a:lnTo>
                  <a:lnTo>
                    <a:pt x="1579" y="723"/>
                  </a:lnTo>
                  <a:lnTo>
                    <a:pt x="1579" y="723"/>
                  </a:lnTo>
                  <a:lnTo>
                    <a:pt x="1579" y="725"/>
                  </a:lnTo>
                  <a:lnTo>
                    <a:pt x="1579" y="725"/>
                  </a:lnTo>
                  <a:lnTo>
                    <a:pt x="1579" y="725"/>
                  </a:lnTo>
                  <a:lnTo>
                    <a:pt x="1581" y="725"/>
                  </a:lnTo>
                  <a:lnTo>
                    <a:pt x="1581" y="725"/>
                  </a:lnTo>
                  <a:lnTo>
                    <a:pt x="1581" y="723"/>
                  </a:lnTo>
                  <a:lnTo>
                    <a:pt x="1581" y="723"/>
                  </a:lnTo>
                  <a:lnTo>
                    <a:pt x="1583" y="721"/>
                  </a:lnTo>
                  <a:lnTo>
                    <a:pt x="1583" y="721"/>
                  </a:lnTo>
                  <a:lnTo>
                    <a:pt x="1583" y="719"/>
                  </a:lnTo>
                  <a:lnTo>
                    <a:pt x="1583" y="719"/>
                  </a:lnTo>
                  <a:lnTo>
                    <a:pt x="1581" y="721"/>
                  </a:lnTo>
                  <a:close/>
                  <a:moveTo>
                    <a:pt x="1591" y="689"/>
                  </a:moveTo>
                  <a:lnTo>
                    <a:pt x="1593" y="687"/>
                  </a:lnTo>
                  <a:lnTo>
                    <a:pt x="1593" y="687"/>
                  </a:lnTo>
                  <a:lnTo>
                    <a:pt x="1593" y="687"/>
                  </a:lnTo>
                  <a:lnTo>
                    <a:pt x="1593" y="687"/>
                  </a:lnTo>
                  <a:lnTo>
                    <a:pt x="1593" y="684"/>
                  </a:lnTo>
                  <a:lnTo>
                    <a:pt x="1593" y="684"/>
                  </a:lnTo>
                  <a:lnTo>
                    <a:pt x="1593" y="684"/>
                  </a:lnTo>
                  <a:lnTo>
                    <a:pt x="1593" y="684"/>
                  </a:lnTo>
                  <a:lnTo>
                    <a:pt x="1593" y="684"/>
                  </a:lnTo>
                  <a:lnTo>
                    <a:pt x="1595" y="684"/>
                  </a:lnTo>
                  <a:lnTo>
                    <a:pt x="1595" y="684"/>
                  </a:lnTo>
                  <a:lnTo>
                    <a:pt x="1595" y="684"/>
                  </a:lnTo>
                  <a:lnTo>
                    <a:pt x="1595" y="684"/>
                  </a:lnTo>
                  <a:lnTo>
                    <a:pt x="1598" y="684"/>
                  </a:lnTo>
                  <a:lnTo>
                    <a:pt x="1598" y="684"/>
                  </a:lnTo>
                  <a:lnTo>
                    <a:pt x="1600" y="684"/>
                  </a:lnTo>
                  <a:lnTo>
                    <a:pt x="1600" y="684"/>
                  </a:lnTo>
                  <a:lnTo>
                    <a:pt x="1600" y="684"/>
                  </a:lnTo>
                  <a:lnTo>
                    <a:pt x="1600" y="684"/>
                  </a:lnTo>
                  <a:lnTo>
                    <a:pt x="1600" y="684"/>
                  </a:lnTo>
                  <a:lnTo>
                    <a:pt x="1602" y="684"/>
                  </a:lnTo>
                  <a:lnTo>
                    <a:pt x="1602" y="684"/>
                  </a:lnTo>
                  <a:lnTo>
                    <a:pt x="1602" y="684"/>
                  </a:lnTo>
                  <a:lnTo>
                    <a:pt x="1602" y="684"/>
                  </a:lnTo>
                  <a:lnTo>
                    <a:pt x="1602" y="682"/>
                  </a:lnTo>
                  <a:lnTo>
                    <a:pt x="1602" y="682"/>
                  </a:lnTo>
                  <a:lnTo>
                    <a:pt x="1602" y="680"/>
                  </a:lnTo>
                  <a:lnTo>
                    <a:pt x="1602" y="680"/>
                  </a:lnTo>
                  <a:lnTo>
                    <a:pt x="1602" y="680"/>
                  </a:lnTo>
                  <a:lnTo>
                    <a:pt x="1602" y="678"/>
                  </a:lnTo>
                  <a:lnTo>
                    <a:pt x="1602" y="678"/>
                  </a:lnTo>
                  <a:lnTo>
                    <a:pt x="1600" y="678"/>
                  </a:lnTo>
                  <a:lnTo>
                    <a:pt x="1600" y="678"/>
                  </a:lnTo>
                  <a:lnTo>
                    <a:pt x="1600" y="676"/>
                  </a:lnTo>
                  <a:lnTo>
                    <a:pt x="1600" y="676"/>
                  </a:lnTo>
                  <a:lnTo>
                    <a:pt x="1600" y="676"/>
                  </a:lnTo>
                  <a:lnTo>
                    <a:pt x="1600" y="676"/>
                  </a:lnTo>
                  <a:lnTo>
                    <a:pt x="1600" y="676"/>
                  </a:lnTo>
                  <a:lnTo>
                    <a:pt x="1602" y="676"/>
                  </a:lnTo>
                  <a:lnTo>
                    <a:pt x="1600" y="676"/>
                  </a:lnTo>
                  <a:lnTo>
                    <a:pt x="1600" y="676"/>
                  </a:lnTo>
                  <a:lnTo>
                    <a:pt x="1598" y="676"/>
                  </a:lnTo>
                  <a:lnTo>
                    <a:pt x="1598" y="676"/>
                  </a:lnTo>
                  <a:lnTo>
                    <a:pt x="1598" y="676"/>
                  </a:lnTo>
                  <a:lnTo>
                    <a:pt x="1598" y="676"/>
                  </a:lnTo>
                  <a:lnTo>
                    <a:pt x="1598" y="676"/>
                  </a:lnTo>
                  <a:lnTo>
                    <a:pt x="1595" y="676"/>
                  </a:lnTo>
                  <a:lnTo>
                    <a:pt x="1595" y="676"/>
                  </a:lnTo>
                  <a:lnTo>
                    <a:pt x="1595" y="676"/>
                  </a:lnTo>
                  <a:lnTo>
                    <a:pt x="1595" y="676"/>
                  </a:lnTo>
                  <a:lnTo>
                    <a:pt x="1595" y="674"/>
                  </a:lnTo>
                  <a:lnTo>
                    <a:pt x="1595" y="674"/>
                  </a:lnTo>
                  <a:lnTo>
                    <a:pt x="1595" y="672"/>
                  </a:lnTo>
                  <a:lnTo>
                    <a:pt x="1595" y="672"/>
                  </a:lnTo>
                  <a:lnTo>
                    <a:pt x="1595" y="672"/>
                  </a:lnTo>
                  <a:lnTo>
                    <a:pt x="1593" y="672"/>
                  </a:lnTo>
                  <a:lnTo>
                    <a:pt x="1593" y="672"/>
                  </a:lnTo>
                  <a:lnTo>
                    <a:pt x="1593" y="672"/>
                  </a:lnTo>
                  <a:lnTo>
                    <a:pt x="1593" y="672"/>
                  </a:lnTo>
                  <a:lnTo>
                    <a:pt x="1591" y="672"/>
                  </a:lnTo>
                  <a:lnTo>
                    <a:pt x="1591" y="670"/>
                  </a:lnTo>
                  <a:lnTo>
                    <a:pt x="1591" y="670"/>
                  </a:lnTo>
                  <a:lnTo>
                    <a:pt x="1591" y="670"/>
                  </a:lnTo>
                  <a:lnTo>
                    <a:pt x="1591" y="670"/>
                  </a:lnTo>
                  <a:lnTo>
                    <a:pt x="1589" y="668"/>
                  </a:lnTo>
                  <a:lnTo>
                    <a:pt x="1589" y="668"/>
                  </a:lnTo>
                  <a:lnTo>
                    <a:pt x="1591" y="668"/>
                  </a:lnTo>
                  <a:lnTo>
                    <a:pt x="1593" y="668"/>
                  </a:lnTo>
                  <a:lnTo>
                    <a:pt x="1593" y="668"/>
                  </a:lnTo>
                  <a:lnTo>
                    <a:pt x="1593" y="668"/>
                  </a:lnTo>
                  <a:lnTo>
                    <a:pt x="1593" y="668"/>
                  </a:lnTo>
                  <a:lnTo>
                    <a:pt x="1593" y="668"/>
                  </a:lnTo>
                  <a:lnTo>
                    <a:pt x="1595" y="670"/>
                  </a:lnTo>
                  <a:lnTo>
                    <a:pt x="1595" y="670"/>
                  </a:lnTo>
                  <a:lnTo>
                    <a:pt x="1595" y="672"/>
                  </a:lnTo>
                  <a:lnTo>
                    <a:pt x="1600" y="674"/>
                  </a:lnTo>
                  <a:lnTo>
                    <a:pt x="1600" y="674"/>
                  </a:lnTo>
                  <a:lnTo>
                    <a:pt x="1602" y="674"/>
                  </a:lnTo>
                  <a:lnTo>
                    <a:pt x="1602" y="674"/>
                  </a:lnTo>
                  <a:lnTo>
                    <a:pt x="1602" y="676"/>
                  </a:lnTo>
                  <a:lnTo>
                    <a:pt x="1604" y="676"/>
                  </a:lnTo>
                  <a:lnTo>
                    <a:pt x="1604" y="676"/>
                  </a:lnTo>
                  <a:lnTo>
                    <a:pt x="1604" y="676"/>
                  </a:lnTo>
                  <a:lnTo>
                    <a:pt x="1604" y="674"/>
                  </a:lnTo>
                  <a:lnTo>
                    <a:pt x="1604" y="674"/>
                  </a:lnTo>
                  <a:lnTo>
                    <a:pt x="1604" y="674"/>
                  </a:lnTo>
                  <a:lnTo>
                    <a:pt x="1604" y="672"/>
                  </a:lnTo>
                  <a:lnTo>
                    <a:pt x="1604" y="672"/>
                  </a:lnTo>
                  <a:lnTo>
                    <a:pt x="1604" y="672"/>
                  </a:lnTo>
                  <a:lnTo>
                    <a:pt x="1604" y="672"/>
                  </a:lnTo>
                  <a:lnTo>
                    <a:pt x="1604" y="670"/>
                  </a:lnTo>
                  <a:lnTo>
                    <a:pt x="1604" y="670"/>
                  </a:lnTo>
                  <a:lnTo>
                    <a:pt x="1604" y="670"/>
                  </a:lnTo>
                  <a:lnTo>
                    <a:pt x="1602" y="668"/>
                  </a:lnTo>
                  <a:lnTo>
                    <a:pt x="1602" y="668"/>
                  </a:lnTo>
                  <a:lnTo>
                    <a:pt x="1602" y="666"/>
                  </a:lnTo>
                  <a:lnTo>
                    <a:pt x="1600" y="666"/>
                  </a:lnTo>
                  <a:lnTo>
                    <a:pt x="1600" y="666"/>
                  </a:lnTo>
                  <a:lnTo>
                    <a:pt x="1602" y="664"/>
                  </a:lnTo>
                  <a:lnTo>
                    <a:pt x="1602" y="664"/>
                  </a:lnTo>
                  <a:lnTo>
                    <a:pt x="1602" y="664"/>
                  </a:lnTo>
                  <a:lnTo>
                    <a:pt x="1602" y="662"/>
                  </a:lnTo>
                  <a:lnTo>
                    <a:pt x="1600" y="660"/>
                  </a:lnTo>
                  <a:lnTo>
                    <a:pt x="1600" y="660"/>
                  </a:lnTo>
                  <a:lnTo>
                    <a:pt x="1598" y="660"/>
                  </a:lnTo>
                  <a:lnTo>
                    <a:pt x="1598" y="660"/>
                  </a:lnTo>
                  <a:lnTo>
                    <a:pt x="1598" y="660"/>
                  </a:lnTo>
                  <a:lnTo>
                    <a:pt x="1595" y="658"/>
                  </a:lnTo>
                  <a:lnTo>
                    <a:pt x="1595" y="658"/>
                  </a:lnTo>
                  <a:lnTo>
                    <a:pt x="1593" y="658"/>
                  </a:lnTo>
                  <a:lnTo>
                    <a:pt x="1591" y="658"/>
                  </a:lnTo>
                  <a:lnTo>
                    <a:pt x="1589" y="658"/>
                  </a:lnTo>
                  <a:lnTo>
                    <a:pt x="1589" y="660"/>
                  </a:lnTo>
                  <a:lnTo>
                    <a:pt x="1589" y="660"/>
                  </a:lnTo>
                  <a:lnTo>
                    <a:pt x="1591" y="662"/>
                  </a:lnTo>
                  <a:lnTo>
                    <a:pt x="1591" y="662"/>
                  </a:lnTo>
                  <a:lnTo>
                    <a:pt x="1591" y="662"/>
                  </a:lnTo>
                  <a:lnTo>
                    <a:pt x="1589" y="662"/>
                  </a:lnTo>
                  <a:lnTo>
                    <a:pt x="1589" y="660"/>
                  </a:lnTo>
                  <a:lnTo>
                    <a:pt x="1589" y="660"/>
                  </a:lnTo>
                  <a:lnTo>
                    <a:pt x="1587" y="660"/>
                  </a:lnTo>
                  <a:lnTo>
                    <a:pt x="1587" y="660"/>
                  </a:lnTo>
                  <a:lnTo>
                    <a:pt x="1585" y="660"/>
                  </a:lnTo>
                  <a:lnTo>
                    <a:pt x="1583" y="660"/>
                  </a:lnTo>
                  <a:lnTo>
                    <a:pt x="1583" y="660"/>
                  </a:lnTo>
                  <a:lnTo>
                    <a:pt x="1581" y="660"/>
                  </a:lnTo>
                  <a:lnTo>
                    <a:pt x="1581" y="660"/>
                  </a:lnTo>
                  <a:lnTo>
                    <a:pt x="1577" y="660"/>
                  </a:lnTo>
                  <a:lnTo>
                    <a:pt x="1575" y="660"/>
                  </a:lnTo>
                  <a:lnTo>
                    <a:pt x="1571" y="660"/>
                  </a:lnTo>
                  <a:lnTo>
                    <a:pt x="1571" y="660"/>
                  </a:lnTo>
                  <a:lnTo>
                    <a:pt x="1571" y="660"/>
                  </a:lnTo>
                  <a:lnTo>
                    <a:pt x="1571" y="660"/>
                  </a:lnTo>
                  <a:lnTo>
                    <a:pt x="1571" y="660"/>
                  </a:lnTo>
                  <a:lnTo>
                    <a:pt x="1571" y="662"/>
                  </a:lnTo>
                  <a:lnTo>
                    <a:pt x="1571" y="662"/>
                  </a:lnTo>
                  <a:lnTo>
                    <a:pt x="1569" y="662"/>
                  </a:lnTo>
                  <a:lnTo>
                    <a:pt x="1569" y="662"/>
                  </a:lnTo>
                  <a:lnTo>
                    <a:pt x="1569" y="662"/>
                  </a:lnTo>
                  <a:lnTo>
                    <a:pt x="1569" y="664"/>
                  </a:lnTo>
                  <a:lnTo>
                    <a:pt x="1569" y="664"/>
                  </a:lnTo>
                  <a:lnTo>
                    <a:pt x="1569" y="664"/>
                  </a:lnTo>
                  <a:lnTo>
                    <a:pt x="1569" y="664"/>
                  </a:lnTo>
                  <a:lnTo>
                    <a:pt x="1573" y="666"/>
                  </a:lnTo>
                  <a:lnTo>
                    <a:pt x="1575" y="668"/>
                  </a:lnTo>
                  <a:lnTo>
                    <a:pt x="1579" y="668"/>
                  </a:lnTo>
                  <a:lnTo>
                    <a:pt x="1579" y="668"/>
                  </a:lnTo>
                  <a:lnTo>
                    <a:pt x="1579" y="668"/>
                  </a:lnTo>
                  <a:lnTo>
                    <a:pt x="1577" y="670"/>
                  </a:lnTo>
                  <a:lnTo>
                    <a:pt x="1575" y="668"/>
                  </a:lnTo>
                  <a:lnTo>
                    <a:pt x="1575" y="668"/>
                  </a:lnTo>
                  <a:lnTo>
                    <a:pt x="1575" y="668"/>
                  </a:lnTo>
                  <a:lnTo>
                    <a:pt x="1575" y="670"/>
                  </a:lnTo>
                  <a:lnTo>
                    <a:pt x="1575" y="670"/>
                  </a:lnTo>
                  <a:lnTo>
                    <a:pt x="1575" y="670"/>
                  </a:lnTo>
                  <a:lnTo>
                    <a:pt x="1577" y="670"/>
                  </a:lnTo>
                  <a:lnTo>
                    <a:pt x="1577" y="670"/>
                  </a:lnTo>
                  <a:lnTo>
                    <a:pt x="1577" y="670"/>
                  </a:lnTo>
                  <a:lnTo>
                    <a:pt x="1577" y="670"/>
                  </a:lnTo>
                  <a:lnTo>
                    <a:pt x="1577" y="670"/>
                  </a:lnTo>
                  <a:lnTo>
                    <a:pt x="1577" y="670"/>
                  </a:lnTo>
                  <a:lnTo>
                    <a:pt x="1577" y="670"/>
                  </a:lnTo>
                  <a:lnTo>
                    <a:pt x="1577" y="670"/>
                  </a:lnTo>
                  <a:lnTo>
                    <a:pt x="1577" y="672"/>
                  </a:lnTo>
                  <a:lnTo>
                    <a:pt x="1579" y="672"/>
                  </a:lnTo>
                  <a:lnTo>
                    <a:pt x="1579" y="672"/>
                  </a:lnTo>
                  <a:lnTo>
                    <a:pt x="1579" y="672"/>
                  </a:lnTo>
                  <a:lnTo>
                    <a:pt x="1579" y="672"/>
                  </a:lnTo>
                  <a:lnTo>
                    <a:pt x="1579" y="672"/>
                  </a:lnTo>
                  <a:lnTo>
                    <a:pt x="1579" y="672"/>
                  </a:lnTo>
                  <a:lnTo>
                    <a:pt x="1579" y="672"/>
                  </a:lnTo>
                  <a:lnTo>
                    <a:pt x="1579" y="672"/>
                  </a:lnTo>
                  <a:lnTo>
                    <a:pt x="1581" y="672"/>
                  </a:lnTo>
                  <a:lnTo>
                    <a:pt x="1581" y="672"/>
                  </a:lnTo>
                  <a:lnTo>
                    <a:pt x="1581" y="672"/>
                  </a:lnTo>
                  <a:lnTo>
                    <a:pt x="1581" y="670"/>
                  </a:lnTo>
                  <a:lnTo>
                    <a:pt x="1581" y="670"/>
                  </a:lnTo>
                  <a:lnTo>
                    <a:pt x="1581" y="670"/>
                  </a:lnTo>
                  <a:lnTo>
                    <a:pt x="1581" y="670"/>
                  </a:lnTo>
                  <a:lnTo>
                    <a:pt x="1581" y="670"/>
                  </a:lnTo>
                  <a:lnTo>
                    <a:pt x="1581" y="670"/>
                  </a:lnTo>
                  <a:lnTo>
                    <a:pt x="1581" y="670"/>
                  </a:lnTo>
                  <a:lnTo>
                    <a:pt x="1581" y="672"/>
                  </a:lnTo>
                  <a:lnTo>
                    <a:pt x="1583" y="672"/>
                  </a:lnTo>
                  <a:lnTo>
                    <a:pt x="1581" y="672"/>
                  </a:lnTo>
                  <a:lnTo>
                    <a:pt x="1581" y="672"/>
                  </a:lnTo>
                  <a:lnTo>
                    <a:pt x="1581" y="672"/>
                  </a:lnTo>
                  <a:lnTo>
                    <a:pt x="1581" y="672"/>
                  </a:lnTo>
                  <a:lnTo>
                    <a:pt x="1581" y="674"/>
                  </a:lnTo>
                  <a:lnTo>
                    <a:pt x="1583" y="674"/>
                  </a:lnTo>
                  <a:lnTo>
                    <a:pt x="1583" y="674"/>
                  </a:lnTo>
                  <a:lnTo>
                    <a:pt x="1581" y="674"/>
                  </a:lnTo>
                  <a:lnTo>
                    <a:pt x="1583" y="676"/>
                  </a:lnTo>
                  <a:lnTo>
                    <a:pt x="1583" y="676"/>
                  </a:lnTo>
                  <a:lnTo>
                    <a:pt x="1583" y="678"/>
                  </a:lnTo>
                  <a:lnTo>
                    <a:pt x="1583" y="678"/>
                  </a:lnTo>
                  <a:lnTo>
                    <a:pt x="1583" y="678"/>
                  </a:lnTo>
                  <a:lnTo>
                    <a:pt x="1583" y="680"/>
                  </a:lnTo>
                  <a:lnTo>
                    <a:pt x="1585" y="680"/>
                  </a:lnTo>
                  <a:lnTo>
                    <a:pt x="1585" y="680"/>
                  </a:lnTo>
                  <a:lnTo>
                    <a:pt x="1585" y="680"/>
                  </a:lnTo>
                  <a:lnTo>
                    <a:pt x="1585" y="680"/>
                  </a:lnTo>
                  <a:lnTo>
                    <a:pt x="1585" y="682"/>
                  </a:lnTo>
                  <a:lnTo>
                    <a:pt x="1585" y="682"/>
                  </a:lnTo>
                  <a:lnTo>
                    <a:pt x="1585" y="682"/>
                  </a:lnTo>
                  <a:lnTo>
                    <a:pt x="1585" y="682"/>
                  </a:lnTo>
                  <a:lnTo>
                    <a:pt x="1585" y="684"/>
                  </a:lnTo>
                  <a:lnTo>
                    <a:pt x="1585" y="684"/>
                  </a:lnTo>
                  <a:lnTo>
                    <a:pt x="1587" y="689"/>
                  </a:lnTo>
                  <a:lnTo>
                    <a:pt x="1589" y="689"/>
                  </a:lnTo>
                  <a:lnTo>
                    <a:pt x="1591" y="689"/>
                  </a:lnTo>
                  <a:close/>
                  <a:moveTo>
                    <a:pt x="1585" y="707"/>
                  </a:moveTo>
                  <a:lnTo>
                    <a:pt x="1585" y="707"/>
                  </a:lnTo>
                  <a:lnTo>
                    <a:pt x="1585" y="707"/>
                  </a:lnTo>
                  <a:lnTo>
                    <a:pt x="1585" y="707"/>
                  </a:lnTo>
                  <a:lnTo>
                    <a:pt x="1585" y="705"/>
                  </a:lnTo>
                  <a:lnTo>
                    <a:pt x="1585" y="705"/>
                  </a:lnTo>
                  <a:lnTo>
                    <a:pt x="1583" y="705"/>
                  </a:lnTo>
                  <a:lnTo>
                    <a:pt x="1583" y="703"/>
                  </a:lnTo>
                  <a:lnTo>
                    <a:pt x="1585" y="703"/>
                  </a:lnTo>
                  <a:lnTo>
                    <a:pt x="1585" y="703"/>
                  </a:lnTo>
                  <a:lnTo>
                    <a:pt x="1583" y="701"/>
                  </a:lnTo>
                  <a:lnTo>
                    <a:pt x="1583" y="701"/>
                  </a:lnTo>
                  <a:lnTo>
                    <a:pt x="1583" y="701"/>
                  </a:lnTo>
                  <a:lnTo>
                    <a:pt x="1581" y="701"/>
                  </a:lnTo>
                  <a:lnTo>
                    <a:pt x="1581" y="701"/>
                  </a:lnTo>
                  <a:lnTo>
                    <a:pt x="1581" y="699"/>
                  </a:lnTo>
                  <a:lnTo>
                    <a:pt x="1581" y="699"/>
                  </a:lnTo>
                  <a:lnTo>
                    <a:pt x="1581" y="697"/>
                  </a:lnTo>
                  <a:lnTo>
                    <a:pt x="1581" y="697"/>
                  </a:lnTo>
                  <a:lnTo>
                    <a:pt x="1581" y="697"/>
                  </a:lnTo>
                  <a:lnTo>
                    <a:pt x="1581" y="697"/>
                  </a:lnTo>
                  <a:lnTo>
                    <a:pt x="1581" y="697"/>
                  </a:lnTo>
                  <a:lnTo>
                    <a:pt x="1583" y="699"/>
                  </a:lnTo>
                  <a:lnTo>
                    <a:pt x="1585" y="699"/>
                  </a:lnTo>
                  <a:lnTo>
                    <a:pt x="1585" y="699"/>
                  </a:lnTo>
                  <a:lnTo>
                    <a:pt x="1585" y="699"/>
                  </a:lnTo>
                  <a:lnTo>
                    <a:pt x="1585" y="697"/>
                  </a:lnTo>
                  <a:lnTo>
                    <a:pt x="1585" y="697"/>
                  </a:lnTo>
                  <a:lnTo>
                    <a:pt x="1583" y="695"/>
                  </a:lnTo>
                  <a:lnTo>
                    <a:pt x="1581" y="695"/>
                  </a:lnTo>
                  <a:lnTo>
                    <a:pt x="1581" y="695"/>
                  </a:lnTo>
                  <a:lnTo>
                    <a:pt x="1581" y="695"/>
                  </a:lnTo>
                  <a:lnTo>
                    <a:pt x="1583" y="695"/>
                  </a:lnTo>
                  <a:lnTo>
                    <a:pt x="1583" y="695"/>
                  </a:lnTo>
                  <a:lnTo>
                    <a:pt x="1583" y="693"/>
                  </a:lnTo>
                  <a:lnTo>
                    <a:pt x="1581" y="693"/>
                  </a:lnTo>
                  <a:lnTo>
                    <a:pt x="1581" y="693"/>
                  </a:lnTo>
                  <a:lnTo>
                    <a:pt x="1581" y="693"/>
                  </a:lnTo>
                  <a:lnTo>
                    <a:pt x="1581" y="693"/>
                  </a:lnTo>
                  <a:lnTo>
                    <a:pt x="1583" y="693"/>
                  </a:lnTo>
                  <a:lnTo>
                    <a:pt x="1583" y="691"/>
                  </a:lnTo>
                  <a:lnTo>
                    <a:pt x="1583" y="691"/>
                  </a:lnTo>
                  <a:lnTo>
                    <a:pt x="1583" y="691"/>
                  </a:lnTo>
                  <a:lnTo>
                    <a:pt x="1581" y="691"/>
                  </a:lnTo>
                  <a:lnTo>
                    <a:pt x="1581" y="691"/>
                  </a:lnTo>
                  <a:lnTo>
                    <a:pt x="1581" y="689"/>
                  </a:lnTo>
                  <a:lnTo>
                    <a:pt x="1581" y="689"/>
                  </a:lnTo>
                  <a:lnTo>
                    <a:pt x="1581" y="689"/>
                  </a:lnTo>
                  <a:lnTo>
                    <a:pt x="1581" y="689"/>
                  </a:lnTo>
                  <a:lnTo>
                    <a:pt x="1579" y="689"/>
                  </a:lnTo>
                  <a:lnTo>
                    <a:pt x="1579" y="689"/>
                  </a:lnTo>
                  <a:lnTo>
                    <a:pt x="1579" y="689"/>
                  </a:lnTo>
                  <a:lnTo>
                    <a:pt x="1581" y="689"/>
                  </a:lnTo>
                  <a:lnTo>
                    <a:pt x="1581" y="687"/>
                  </a:lnTo>
                  <a:lnTo>
                    <a:pt x="1581" y="687"/>
                  </a:lnTo>
                  <a:lnTo>
                    <a:pt x="1581" y="684"/>
                  </a:lnTo>
                  <a:lnTo>
                    <a:pt x="1581" y="684"/>
                  </a:lnTo>
                  <a:lnTo>
                    <a:pt x="1581" y="684"/>
                  </a:lnTo>
                  <a:lnTo>
                    <a:pt x="1579" y="684"/>
                  </a:lnTo>
                  <a:lnTo>
                    <a:pt x="1577" y="682"/>
                  </a:lnTo>
                  <a:lnTo>
                    <a:pt x="1579" y="682"/>
                  </a:lnTo>
                  <a:lnTo>
                    <a:pt x="1581" y="682"/>
                  </a:lnTo>
                  <a:lnTo>
                    <a:pt x="1581" y="682"/>
                  </a:lnTo>
                  <a:lnTo>
                    <a:pt x="1581" y="684"/>
                  </a:lnTo>
                  <a:lnTo>
                    <a:pt x="1583" y="684"/>
                  </a:lnTo>
                  <a:lnTo>
                    <a:pt x="1583" y="684"/>
                  </a:lnTo>
                  <a:lnTo>
                    <a:pt x="1583" y="684"/>
                  </a:lnTo>
                  <a:lnTo>
                    <a:pt x="1583" y="684"/>
                  </a:lnTo>
                  <a:lnTo>
                    <a:pt x="1583" y="684"/>
                  </a:lnTo>
                  <a:lnTo>
                    <a:pt x="1583" y="682"/>
                  </a:lnTo>
                  <a:lnTo>
                    <a:pt x="1583" y="682"/>
                  </a:lnTo>
                  <a:lnTo>
                    <a:pt x="1583" y="680"/>
                  </a:lnTo>
                  <a:lnTo>
                    <a:pt x="1583" y="680"/>
                  </a:lnTo>
                  <a:lnTo>
                    <a:pt x="1583" y="680"/>
                  </a:lnTo>
                  <a:lnTo>
                    <a:pt x="1583" y="680"/>
                  </a:lnTo>
                  <a:lnTo>
                    <a:pt x="1581" y="678"/>
                  </a:lnTo>
                  <a:lnTo>
                    <a:pt x="1581" y="678"/>
                  </a:lnTo>
                  <a:lnTo>
                    <a:pt x="1581" y="678"/>
                  </a:lnTo>
                  <a:lnTo>
                    <a:pt x="1581" y="678"/>
                  </a:lnTo>
                  <a:lnTo>
                    <a:pt x="1581" y="674"/>
                  </a:lnTo>
                  <a:lnTo>
                    <a:pt x="1581" y="674"/>
                  </a:lnTo>
                  <a:lnTo>
                    <a:pt x="1579" y="674"/>
                  </a:lnTo>
                  <a:lnTo>
                    <a:pt x="1579" y="674"/>
                  </a:lnTo>
                  <a:lnTo>
                    <a:pt x="1579" y="674"/>
                  </a:lnTo>
                  <a:lnTo>
                    <a:pt x="1579" y="674"/>
                  </a:lnTo>
                  <a:lnTo>
                    <a:pt x="1577" y="674"/>
                  </a:lnTo>
                  <a:lnTo>
                    <a:pt x="1577" y="674"/>
                  </a:lnTo>
                  <a:lnTo>
                    <a:pt x="1577" y="674"/>
                  </a:lnTo>
                  <a:lnTo>
                    <a:pt x="1577" y="674"/>
                  </a:lnTo>
                  <a:lnTo>
                    <a:pt x="1577" y="676"/>
                  </a:lnTo>
                  <a:lnTo>
                    <a:pt x="1577" y="676"/>
                  </a:lnTo>
                  <a:lnTo>
                    <a:pt x="1577" y="676"/>
                  </a:lnTo>
                  <a:lnTo>
                    <a:pt x="1577" y="678"/>
                  </a:lnTo>
                  <a:lnTo>
                    <a:pt x="1577" y="678"/>
                  </a:lnTo>
                  <a:lnTo>
                    <a:pt x="1577" y="678"/>
                  </a:lnTo>
                  <a:lnTo>
                    <a:pt x="1577" y="678"/>
                  </a:lnTo>
                  <a:lnTo>
                    <a:pt x="1577" y="678"/>
                  </a:lnTo>
                  <a:lnTo>
                    <a:pt x="1577" y="678"/>
                  </a:lnTo>
                  <a:lnTo>
                    <a:pt x="1577" y="680"/>
                  </a:lnTo>
                  <a:lnTo>
                    <a:pt x="1577" y="680"/>
                  </a:lnTo>
                  <a:lnTo>
                    <a:pt x="1577" y="680"/>
                  </a:lnTo>
                  <a:lnTo>
                    <a:pt x="1577" y="680"/>
                  </a:lnTo>
                  <a:lnTo>
                    <a:pt x="1577" y="682"/>
                  </a:lnTo>
                  <a:lnTo>
                    <a:pt x="1575" y="682"/>
                  </a:lnTo>
                  <a:lnTo>
                    <a:pt x="1575" y="682"/>
                  </a:lnTo>
                  <a:lnTo>
                    <a:pt x="1575" y="682"/>
                  </a:lnTo>
                  <a:lnTo>
                    <a:pt x="1575" y="682"/>
                  </a:lnTo>
                  <a:lnTo>
                    <a:pt x="1577" y="680"/>
                  </a:lnTo>
                  <a:lnTo>
                    <a:pt x="1577" y="680"/>
                  </a:lnTo>
                  <a:lnTo>
                    <a:pt x="1577" y="678"/>
                  </a:lnTo>
                  <a:lnTo>
                    <a:pt x="1577" y="678"/>
                  </a:lnTo>
                  <a:lnTo>
                    <a:pt x="1577" y="678"/>
                  </a:lnTo>
                  <a:lnTo>
                    <a:pt x="1577" y="678"/>
                  </a:lnTo>
                  <a:lnTo>
                    <a:pt x="1577" y="678"/>
                  </a:lnTo>
                  <a:lnTo>
                    <a:pt x="1577" y="678"/>
                  </a:lnTo>
                  <a:lnTo>
                    <a:pt x="1577" y="676"/>
                  </a:lnTo>
                  <a:lnTo>
                    <a:pt x="1577" y="676"/>
                  </a:lnTo>
                  <a:lnTo>
                    <a:pt x="1577" y="676"/>
                  </a:lnTo>
                  <a:lnTo>
                    <a:pt x="1577" y="676"/>
                  </a:lnTo>
                  <a:lnTo>
                    <a:pt x="1575" y="676"/>
                  </a:lnTo>
                  <a:lnTo>
                    <a:pt x="1575" y="676"/>
                  </a:lnTo>
                  <a:lnTo>
                    <a:pt x="1575" y="674"/>
                  </a:lnTo>
                  <a:lnTo>
                    <a:pt x="1575" y="674"/>
                  </a:lnTo>
                  <a:lnTo>
                    <a:pt x="1575" y="674"/>
                  </a:lnTo>
                  <a:lnTo>
                    <a:pt x="1575" y="674"/>
                  </a:lnTo>
                  <a:lnTo>
                    <a:pt x="1575" y="674"/>
                  </a:lnTo>
                  <a:lnTo>
                    <a:pt x="1573" y="672"/>
                  </a:lnTo>
                  <a:lnTo>
                    <a:pt x="1573" y="672"/>
                  </a:lnTo>
                  <a:lnTo>
                    <a:pt x="1573" y="674"/>
                  </a:lnTo>
                  <a:lnTo>
                    <a:pt x="1573" y="672"/>
                  </a:lnTo>
                  <a:lnTo>
                    <a:pt x="1571" y="670"/>
                  </a:lnTo>
                  <a:lnTo>
                    <a:pt x="1571" y="670"/>
                  </a:lnTo>
                  <a:lnTo>
                    <a:pt x="1569" y="670"/>
                  </a:lnTo>
                  <a:lnTo>
                    <a:pt x="1569" y="670"/>
                  </a:lnTo>
                  <a:lnTo>
                    <a:pt x="1567" y="670"/>
                  </a:lnTo>
                  <a:lnTo>
                    <a:pt x="1567" y="670"/>
                  </a:lnTo>
                  <a:lnTo>
                    <a:pt x="1565" y="670"/>
                  </a:lnTo>
                  <a:lnTo>
                    <a:pt x="1563" y="670"/>
                  </a:lnTo>
                  <a:lnTo>
                    <a:pt x="1565" y="670"/>
                  </a:lnTo>
                  <a:lnTo>
                    <a:pt x="1565" y="670"/>
                  </a:lnTo>
                  <a:lnTo>
                    <a:pt x="1565" y="672"/>
                  </a:lnTo>
                  <a:lnTo>
                    <a:pt x="1567" y="672"/>
                  </a:lnTo>
                  <a:lnTo>
                    <a:pt x="1567" y="672"/>
                  </a:lnTo>
                  <a:lnTo>
                    <a:pt x="1569" y="672"/>
                  </a:lnTo>
                  <a:lnTo>
                    <a:pt x="1569" y="672"/>
                  </a:lnTo>
                  <a:lnTo>
                    <a:pt x="1569" y="672"/>
                  </a:lnTo>
                  <a:lnTo>
                    <a:pt x="1569" y="674"/>
                  </a:lnTo>
                  <a:lnTo>
                    <a:pt x="1569" y="674"/>
                  </a:lnTo>
                  <a:lnTo>
                    <a:pt x="1569" y="674"/>
                  </a:lnTo>
                  <a:lnTo>
                    <a:pt x="1567" y="674"/>
                  </a:lnTo>
                  <a:lnTo>
                    <a:pt x="1567" y="674"/>
                  </a:lnTo>
                  <a:lnTo>
                    <a:pt x="1565" y="672"/>
                  </a:lnTo>
                  <a:lnTo>
                    <a:pt x="1565" y="672"/>
                  </a:lnTo>
                  <a:lnTo>
                    <a:pt x="1563" y="672"/>
                  </a:lnTo>
                  <a:lnTo>
                    <a:pt x="1563" y="674"/>
                  </a:lnTo>
                  <a:lnTo>
                    <a:pt x="1563" y="674"/>
                  </a:lnTo>
                  <a:lnTo>
                    <a:pt x="1565" y="674"/>
                  </a:lnTo>
                  <a:lnTo>
                    <a:pt x="1565" y="676"/>
                  </a:lnTo>
                  <a:lnTo>
                    <a:pt x="1565" y="676"/>
                  </a:lnTo>
                  <a:lnTo>
                    <a:pt x="1565" y="676"/>
                  </a:lnTo>
                  <a:lnTo>
                    <a:pt x="1565" y="678"/>
                  </a:lnTo>
                  <a:lnTo>
                    <a:pt x="1565" y="676"/>
                  </a:lnTo>
                  <a:lnTo>
                    <a:pt x="1563" y="676"/>
                  </a:lnTo>
                  <a:lnTo>
                    <a:pt x="1563" y="674"/>
                  </a:lnTo>
                  <a:lnTo>
                    <a:pt x="1563" y="674"/>
                  </a:lnTo>
                  <a:lnTo>
                    <a:pt x="1563" y="674"/>
                  </a:lnTo>
                  <a:lnTo>
                    <a:pt x="1561" y="674"/>
                  </a:lnTo>
                  <a:lnTo>
                    <a:pt x="1561" y="674"/>
                  </a:lnTo>
                  <a:lnTo>
                    <a:pt x="1561" y="676"/>
                  </a:lnTo>
                  <a:lnTo>
                    <a:pt x="1561" y="676"/>
                  </a:lnTo>
                  <a:lnTo>
                    <a:pt x="1563" y="678"/>
                  </a:lnTo>
                  <a:lnTo>
                    <a:pt x="1563" y="678"/>
                  </a:lnTo>
                  <a:lnTo>
                    <a:pt x="1563" y="680"/>
                  </a:lnTo>
                  <a:lnTo>
                    <a:pt x="1563" y="680"/>
                  </a:lnTo>
                  <a:lnTo>
                    <a:pt x="1563" y="682"/>
                  </a:lnTo>
                  <a:lnTo>
                    <a:pt x="1563" y="682"/>
                  </a:lnTo>
                  <a:lnTo>
                    <a:pt x="1565" y="682"/>
                  </a:lnTo>
                  <a:lnTo>
                    <a:pt x="1565" y="684"/>
                  </a:lnTo>
                  <a:lnTo>
                    <a:pt x="1567" y="684"/>
                  </a:lnTo>
                  <a:lnTo>
                    <a:pt x="1567" y="684"/>
                  </a:lnTo>
                  <a:lnTo>
                    <a:pt x="1569" y="684"/>
                  </a:lnTo>
                  <a:lnTo>
                    <a:pt x="1569" y="682"/>
                  </a:lnTo>
                  <a:lnTo>
                    <a:pt x="1567" y="682"/>
                  </a:lnTo>
                  <a:lnTo>
                    <a:pt x="1569" y="682"/>
                  </a:lnTo>
                  <a:lnTo>
                    <a:pt x="1569" y="682"/>
                  </a:lnTo>
                  <a:lnTo>
                    <a:pt x="1569" y="682"/>
                  </a:lnTo>
                  <a:lnTo>
                    <a:pt x="1569" y="682"/>
                  </a:lnTo>
                  <a:lnTo>
                    <a:pt x="1569" y="684"/>
                  </a:lnTo>
                  <a:lnTo>
                    <a:pt x="1569" y="684"/>
                  </a:lnTo>
                  <a:lnTo>
                    <a:pt x="1569" y="684"/>
                  </a:lnTo>
                  <a:lnTo>
                    <a:pt x="1567" y="684"/>
                  </a:lnTo>
                  <a:lnTo>
                    <a:pt x="1569" y="687"/>
                  </a:lnTo>
                  <a:lnTo>
                    <a:pt x="1569" y="687"/>
                  </a:lnTo>
                  <a:lnTo>
                    <a:pt x="1569" y="687"/>
                  </a:lnTo>
                  <a:lnTo>
                    <a:pt x="1571" y="684"/>
                  </a:lnTo>
                  <a:lnTo>
                    <a:pt x="1573" y="682"/>
                  </a:lnTo>
                  <a:lnTo>
                    <a:pt x="1573" y="682"/>
                  </a:lnTo>
                  <a:lnTo>
                    <a:pt x="1573" y="684"/>
                  </a:lnTo>
                  <a:lnTo>
                    <a:pt x="1573" y="684"/>
                  </a:lnTo>
                  <a:lnTo>
                    <a:pt x="1571" y="684"/>
                  </a:lnTo>
                  <a:lnTo>
                    <a:pt x="1571" y="684"/>
                  </a:lnTo>
                  <a:lnTo>
                    <a:pt x="1571" y="687"/>
                  </a:lnTo>
                  <a:lnTo>
                    <a:pt x="1569" y="687"/>
                  </a:lnTo>
                  <a:lnTo>
                    <a:pt x="1569" y="689"/>
                  </a:lnTo>
                  <a:lnTo>
                    <a:pt x="1569" y="689"/>
                  </a:lnTo>
                  <a:lnTo>
                    <a:pt x="1569" y="689"/>
                  </a:lnTo>
                  <a:lnTo>
                    <a:pt x="1571" y="689"/>
                  </a:lnTo>
                  <a:lnTo>
                    <a:pt x="1571" y="689"/>
                  </a:lnTo>
                  <a:lnTo>
                    <a:pt x="1571" y="689"/>
                  </a:lnTo>
                  <a:lnTo>
                    <a:pt x="1573" y="691"/>
                  </a:lnTo>
                  <a:lnTo>
                    <a:pt x="1573" y="691"/>
                  </a:lnTo>
                  <a:lnTo>
                    <a:pt x="1573" y="691"/>
                  </a:lnTo>
                  <a:lnTo>
                    <a:pt x="1575" y="691"/>
                  </a:lnTo>
                  <a:lnTo>
                    <a:pt x="1575" y="691"/>
                  </a:lnTo>
                  <a:lnTo>
                    <a:pt x="1575" y="689"/>
                  </a:lnTo>
                  <a:lnTo>
                    <a:pt x="1575" y="689"/>
                  </a:lnTo>
                  <a:lnTo>
                    <a:pt x="1575" y="689"/>
                  </a:lnTo>
                  <a:lnTo>
                    <a:pt x="1575" y="689"/>
                  </a:lnTo>
                  <a:lnTo>
                    <a:pt x="1575" y="689"/>
                  </a:lnTo>
                  <a:lnTo>
                    <a:pt x="1575" y="691"/>
                  </a:lnTo>
                  <a:lnTo>
                    <a:pt x="1577" y="691"/>
                  </a:lnTo>
                  <a:lnTo>
                    <a:pt x="1577" y="691"/>
                  </a:lnTo>
                  <a:lnTo>
                    <a:pt x="1577" y="691"/>
                  </a:lnTo>
                  <a:lnTo>
                    <a:pt x="1577" y="691"/>
                  </a:lnTo>
                  <a:lnTo>
                    <a:pt x="1577" y="691"/>
                  </a:lnTo>
                  <a:lnTo>
                    <a:pt x="1577" y="691"/>
                  </a:lnTo>
                  <a:lnTo>
                    <a:pt x="1577" y="691"/>
                  </a:lnTo>
                  <a:lnTo>
                    <a:pt x="1577" y="693"/>
                  </a:lnTo>
                  <a:lnTo>
                    <a:pt x="1577" y="693"/>
                  </a:lnTo>
                  <a:lnTo>
                    <a:pt x="1577" y="693"/>
                  </a:lnTo>
                  <a:lnTo>
                    <a:pt x="1577" y="695"/>
                  </a:lnTo>
                  <a:lnTo>
                    <a:pt x="1577" y="695"/>
                  </a:lnTo>
                  <a:lnTo>
                    <a:pt x="1579" y="697"/>
                  </a:lnTo>
                  <a:lnTo>
                    <a:pt x="1579" y="697"/>
                  </a:lnTo>
                  <a:lnTo>
                    <a:pt x="1579" y="697"/>
                  </a:lnTo>
                  <a:lnTo>
                    <a:pt x="1577" y="697"/>
                  </a:lnTo>
                  <a:lnTo>
                    <a:pt x="1577" y="697"/>
                  </a:lnTo>
                  <a:lnTo>
                    <a:pt x="1577" y="695"/>
                  </a:lnTo>
                  <a:lnTo>
                    <a:pt x="1577" y="695"/>
                  </a:lnTo>
                  <a:lnTo>
                    <a:pt x="1575" y="695"/>
                  </a:lnTo>
                  <a:lnTo>
                    <a:pt x="1575" y="697"/>
                  </a:lnTo>
                  <a:lnTo>
                    <a:pt x="1577" y="697"/>
                  </a:lnTo>
                  <a:lnTo>
                    <a:pt x="1577" y="697"/>
                  </a:lnTo>
                  <a:lnTo>
                    <a:pt x="1575" y="697"/>
                  </a:lnTo>
                  <a:lnTo>
                    <a:pt x="1575" y="699"/>
                  </a:lnTo>
                  <a:lnTo>
                    <a:pt x="1575" y="695"/>
                  </a:lnTo>
                  <a:lnTo>
                    <a:pt x="1575" y="695"/>
                  </a:lnTo>
                  <a:lnTo>
                    <a:pt x="1575" y="695"/>
                  </a:lnTo>
                  <a:lnTo>
                    <a:pt x="1573" y="695"/>
                  </a:lnTo>
                  <a:lnTo>
                    <a:pt x="1573" y="695"/>
                  </a:lnTo>
                  <a:lnTo>
                    <a:pt x="1573" y="695"/>
                  </a:lnTo>
                  <a:lnTo>
                    <a:pt x="1575" y="695"/>
                  </a:lnTo>
                  <a:lnTo>
                    <a:pt x="1575" y="695"/>
                  </a:lnTo>
                  <a:lnTo>
                    <a:pt x="1573" y="697"/>
                  </a:lnTo>
                  <a:lnTo>
                    <a:pt x="1573" y="697"/>
                  </a:lnTo>
                  <a:lnTo>
                    <a:pt x="1573" y="697"/>
                  </a:lnTo>
                  <a:lnTo>
                    <a:pt x="1573" y="695"/>
                  </a:lnTo>
                  <a:lnTo>
                    <a:pt x="1573" y="697"/>
                  </a:lnTo>
                  <a:lnTo>
                    <a:pt x="1573" y="697"/>
                  </a:lnTo>
                  <a:lnTo>
                    <a:pt x="1573" y="699"/>
                  </a:lnTo>
                  <a:lnTo>
                    <a:pt x="1573" y="699"/>
                  </a:lnTo>
                  <a:lnTo>
                    <a:pt x="1573" y="699"/>
                  </a:lnTo>
                  <a:lnTo>
                    <a:pt x="1573" y="699"/>
                  </a:lnTo>
                  <a:lnTo>
                    <a:pt x="1573" y="701"/>
                  </a:lnTo>
                  <a:lnTo>
                    <a:pt x="1573" y="701"/>
                  </a:lnTo>
                  <a:lnTo>
                    <a:pt x="1573" y="701"/>
                  </a:lnTo>
                  <a:lnTo>
                    <a:pt x="1573" y="703"/>
                  </a:lnTo>
                  <a:lnTo>
                    <a:pt x="1573" y="703"/>
                  </a:lnTo>
                  <a:lnTo>
                    <a:pt x="1573" y="703"/>
                  </a:lnTo>
                  <a:lnTo>
                    <a:pt x="1573" y="703"/>
                  </a:lnTo>
                  <a:lnTo>
                    <a:pt x="1573" y="703"/>
                  </a:lnTo>
                  <a:lnTo>
                    <a:pt x="1573" y="703"/>
                  </a:lnTo>
                  <a:lnTo>
                    <a:pt x="1575" y="701"/>
                  </a:lnTo>
                  <a:lnTo>
                    <a:pt x="1575" y="701"/>
                  </a:lnTo>
                  <a:lnTo>
                    <a:pt x="1575" y="701"/>
                  </a:lnTo>
                  <a:lnTo>
                    <a:pt x="1575" y="699"/>
                  </a:lnTo>
                  <a:lnTo>
                    <a:pt x="1577" y="701"/>
                  </a:lnTo>
                  <a:lnTo>
                    <a:pt x="1577" y="701"/>
                  </a:lnTo>
                  <a:lnTo>
                    <a:pt x="1575" y="701"/>
                  </a:lnTo>
                  <a:lnTo>
                    <a:pt x="1575" y="701"/>
                  </a:lnTo>
                  <a:lnTo>
                    <a:pt x="1575" y="703"/>
                  </a:lnTo>
                  <a:lnTo>
                    <a:pt x="1575" y="703"/>
                  </a:lnTo>
                  <a:lnTo>
                    <a:pt x="1575" y="703"/>
                  </a:lnTo>
                  <a:lnTo>
                    <a:pt x="1575" y="703"/>
                  </a:lnTo>
                  <a:lnTo>
                    <a:pt x="1575" y="703"/>
                  </a:lnTo>
                  <a:lnTo>
                    <a:pt x="1575" y="705"/>
                  </a:lnTo>
                  <a:lnTo>
                    <a:pt x="1575" y="705"/>
                  </a:lnTo>
                  <a:lnTo>
                    <a:pt x="1575" y="705"/>
                  </a:lnTo>
                  <a:lnTo>
                    <a:pt x="1575" y="707"/>
                  </a:lnTo>
                  <a:lnTo>
                    <a:pt x="1575" y="707"/>
                  </a:lnTo>
                  <a:lnTo>
                    <a:pt x="1575" y="707"/>
                  </a:lnTo>
                  <a:lnTo>
                    <a:pt x="1577" y="709"/>
                  </a:lnTo>
                  <a:lnTo>
                    <a:pt x="1577" y="709"/>
                  </a:lnTo>
                  <a:lnTo>
                    <a:pt x="1577" y="709"/>
                  </a:lnTo>
                  <a:lnTo>
                    <a:pt x="1577" y="709"/>
                  </a:lnTo>
                  <a:lnTo>
                    <a:pt x="1577" y="709"/>
                  </a:lnTo>
                  <a:lnTo>
                    <a:pt x="1577" y="711"/>
                  </a:lnTo>
                  <a:lnTo>
                    <a:pt x="1577" y="711"/>
                  </a:lnTo>
                  <a:lnTo>
                    <a:pt x="1577" y="711"/>
                  </a:lnTo>
                  <a:lnTo>
                    <a:pt x="1577" y="711"/>
                  </a:lnTo>
                  <a:lnTo>
                    <a:pt x="1579" y="711"/>
                  </a:lnTo>
                  <a:lnTo>
                    <a:pt x="1579" y="713"/>
                  </a:lnTo>
                  <a:lnTo>
                    <a:pt x="1577" y="713"/>
                  </a:lnTo>
                  <a:lnTo>
                    <a:pt x="1579" y="713"/>
                  </a:lnTo>
                  <a:lnTo>
                    <a:pt x="1579" y="713"/>
                  </a:lnTo>
                  <a:lnTo>
                    <a:pt x="1581" y="713"/>
                  </a:lnTo>
                  <a:lnTo>
                    <a:pt x="1581" y="715"/>
                  </a:lnTo>
                  <a:lnTo>
                    <a:pt x="1581" y="715"/>
                  </a:lnTo>
                  <a:lnTo>
                    <a:pt x="1581" y="715"/>
                  </a:lnTo>
                  <a:lnTo>
                    <a:pt x="1583" y="715"/>
                  </a:lnTo>
                  <a:lnTo>
                    <a:pt x="1583" y="715"/>
                  </a:lnTo>
                  <a:lnTo>
                    <a:pt x="1581" y="713"/>
                  </a:lnTo>
                  <a:lnTo>
                    <a:pt x="1581" y="713"/>
                  </a:lnTo>
                  <a:lnTo>
                    <a:pt x="1581" y="713"/>
                  </a:lnTo>
                  <a:lnTo>
                    <a:pt x="1581" y="711"/>
                  </a:lnTo>
                  <a:lnTo>
                    <a:pt x="1581" y="711"/>
                  </a:lnTo>
                  <a:lnTo>
                    <a:pt x="1581" y="711"/>
                  </a:lnTo>
                  <a:lnTo>
                    <a:pt x="1581" y="711"/>
                  </a:lnTo>
                  <a:lnTo>
                    <a:pt x="1581" y="709"/>
                  </a:lnTo>
                  <a:lnTo>
                    <a:pt x="1581" y="709"/>
                  </a:lnTo>
                  <a:lnTo>
                    <a:pt x="1579" y="709"/>
                  </a:lnTo>
                  <a:lnTo>
                    <a:pt x="1579" y="709"/>
                  </a:lnTo>
                  <a:lnTo>
                    <a:pt x="1579" y="709"/>
                  </a:lnTo>
                  <a:lnTo>
                    <a:pt x="1579" y="709"/>
                  </a:lnTo>
                  <a:lnTo>
                    <a:pt x="1579" y="709"/>
                  </a:lnTo>
                  <a:lnTo>
                    <a:pt x="1577" y="707"/>
                  </a:lnTo>
                  <a:lnTo>
                    <a:pt x="1577" y="707"/>
                  </a:lnTo>
                  <a:lnTo>
                    <a:pt x="1579" y="707"/>
                  </a:lnTo>
                  <a:lnTo>
                    <a:pt x="1579" y="705"/>
                  </a:lnTo>
                  <a:lnTo>
                    <a:pt x="1579" y="703"/>
                  </a:lnTo>
                  <a:lnTo>
                    <a:pt x="1579" y="703"/>
                  </a:lnTo>
                  <a:lnTo>
                    <a:pt x="1579" y="701"/>
                  </a:lnTo>
                  <a:lnTo>
                    <a:pt x="1579" y="701"/>
                  </a:lnTo>
                  <a:lnTo>
                    <a:pt x="1579" y="699"/>
                  </a:lnTo>
                  <a:lnTo>
                    <a:pt x="1579" y="699"/>
                  </a:lnTo>
                  <a:lnTo>
                    <a:pt x="1581" y="701"/>
                  </a:lnTo>
                  <a:lnTo>
                    <a:pt x="1581" y="703"/>
                  </a:lnTo>
                  <a:lnTo>
                    <a:pt x="1581" y="705"/>
                  </a:lnTo>
                  <a:lnTo>
                    <a:pt x="1581" y="705"/>
                  </a:lnTo>
                  <a:lnTo>
                    <a:pt x="1581" y="705"/>
                  </a:lnTo>
                  <a:lnTo>
                    <a:pt x="1583" y="705"/>
                  </a:lnTo>
                  <a:lnTo>
                    <a:pt x="1583" y="709"/>
                  </a:lnTo>
                  <a:lnTo>
                    <a:pt x="1583" y="709"/>
                  </a:lnTo>
                  <a:lnTo>
                    <a:pt x="1583" y="709"/>
                  </a:lnTo>
                  <a:lnTo>
                    <a:pt x="1583" y="711"/>
                  </a:lnTo>
                  <a:lnTo>
                    <a:pt x="1585" y="711"/>
                  </a:lnTo>
                  <a:lnTo>
                    <a:pt x="1585" y="709"/>
                  </a:lnTo>
                  <a:lnTo>
                    <a:pt x="1585" y="709"/>
                  </a:lnTo>
                  <a:lnTo>
                    <a:pt x="1585" y="709"/>
                  </a:lnTo>
                  <a:lnTo>
                    <a:pt x="1585" y="709"/>
                  </a:lnTo>
                  <a:lnTo>
                    <a:pt x="1585" y="707"/>
                  </a:lnTo>
                  <a:close/>
                  <a:moveTo>
                    <a:pt x="1618" y="682"/>
                  </a:moveTo>
                  <a:lnTo>
                    <a:pt x="1616" y="682"/>
                  </a:lnTo>
                  <a:lnTo>
                    <a:pt x="1616" y="680"/>
                  </a:lnTo>
                  <a:lnTo>
                    <a:pt x="1616" y="680"/>
                  </a:lnTo>
                  <a:lnTo>
                    <a:pt x="1616" y="680"/>
                  </a:lnTo>
                  <a:lnTo>
                    <a:pt x="1614" y="680"/>
                  </a:lnTo>
                  <a:lnTo>
                    <a:pt x="1612" y="680"/>
                  </a:lnTo>
                  <a:lnTo>
                    <a:pt x="1612" y="682"/>
                  </a:lnTo>
                  <a:lnTo>
                    <a:pt x="1612" y="682"/>
                  </a:lnTo>
                  <a:lnTo>
                    <a:pt x="1610" y="682"/>
                  </a:lnTo>
                  <a:lnTo>
                    <a:pt x="1610" y="682"/>
                  </a:lnTo>
                  <a:lnTo>
                    <a:pt x="1610" y="682"/>
                  </a:lnTo>
                  <a:lnTo>
                    <a:pt x="1608" y="682"/>
                  </a:lnTo>
                  <a:lnTo>
                    <a:pt x="1608" y="682"/>
                  </a:lnTo>
                  <a:lnTo>
                    <a:pt x="1608" y="684"/>
                  </a:lnTo>
                  <a:lnTo>
                    <a:pt x="1606" y="684"/>
                  </a:lnTo>
                  <a:lnTo>
                    <a:pt x="1606" y="689"/>
                  </a:lnTo>
                  <a:lnTo>
                    <a:pt x="1606" y="689"/>
                  </a:lnTo>
                  <a:lnTo>
                    <a:pt x="1606" y="691"/>
                  </a:lnTo>
                  <a:lnTo>
                    <a:pt x="1608" y="691"/>
                  </a:lnTo>
                  <a:lnTo>
                    <a:pt x="1612" y="693"/>
                  </a:lnTo>
                  <a:lnTo>
                    <a:pt x="1614" y="693"/>
                  </a:lnTo>
                  <a:lnTo>
                    <a:pt x="1616" y="691"/>
                  </a:lnTo>
                  <a:lnTo>
                    <a:pt x="1618" y="691"/>
                  </a:lnTo>
                  <a:lnTo>
                    <a:pt x="1618" y="689"/>
                  </a:lnTo>
                  <a:lnTo>
                    <a:pt x="1618" y="689"/>
                  </a:lnTo>
                  <a:lnTo>
                    <a:pt x="1618" y="687"/>
                  </a:lnTo>
                  <a:lnTo>
                    <a:pt x="1616" y="687"/>
                  </a:lnTo>
                  <a:lnTo>
                    <a:pt x="1616" y="684"/>
                  </a:lnTo>
                  <a:lnTo>
                    <a:pt x="1616" y="684"/>
                  </a:lnTo>
                  <a:lnTo>
                    <a:pt x="1618" y="682"/>
                  </a:lnTo>
                  <a:lnTo>
                    <a:pt x="1618" y="682"/>
                  </a:lnTo>
                  <a:close/>
                  <a:moveTo>
                    <a:pt x="1526" y="670"/>
                  </a:moveTo>
                  <a:lnTo>
                    <a:pt x="1526" y="670"/>
                  </a:lnTo>
                  <a:lnTo>
                    <a:pt x="1524" y="670"/>
                  </a:lnTo>
                  <a:lnTo>
                    <a:pt x="1524" y="670"/>
                  </a:lnTo>
                  <a:lnTo>
                    <a:pt x="1524" y="668"/>
                  </a:lnTo>
                  <a:lnTo>
                    <a:pt x="1524" y="668"/>
                  </a:lnTo>
                  <a:lnTo>
                    <a:pt x="1524" y="666"/>
                  </a:lnTo>
                  <a:lnTo>
                    <a:pt x="1522" y="666"/>
                  </a:lnTo>
                  <a:lnTo>
                    <a:pt x="1524" y="666"/>
                  </a:lnTo>
                  <a:lnTo>
                    <a:pt x="1524" y="666"/>
                  </a:lnTo>
                  <a:lnTo>
                    <a:pt x="1524" y="666"/>
                  </a:lnTo>
                  <a:lnTo>
                    <a:pt x="1524" y="666"/>
                  </a:lnTo>
                  <a:lnTo>
                    <a:pt x="1522" y="664"/>
                  </a:lnTo>
                  <a:lnTo>
                    <a:pt x="1522" y="664"/>
                  </a:lnTo>
                  <a:lnTo>
                    <a:pt x="1518" y="662"/>
                  </a:lnTo>
                  <a:lnTo>
                    <a:pt x="1516" y="662"/>
                  </a:lnTo>
                  <a:lnTo>
                    <a:pt x="1516" y="664"/>
                  </a:lnTo>
                  <a:lnTo>
                    <a:pt x="1516" y="664"/>
                  </a:lnTo>
                  <a:lnTo>
                    <a:pt x="1516" y="666"/>
                  </a:lnTo>
                  <a:lnTo>
                    <a:pt x="1516" y="666"/>
                  </a:lnTo>
                  <a:lnTo>
                    <a:pt x="1516" y="666"/>
                  </a:lnTo>
                  <a:lnTo>
                    <a:pt x="1516" y="668"/>
                  </a:lnTo>
                  <a:lnTo>
                    <a:pt x="1516" y="668"/>
                  </a:lnTo>
                  <a:lnTo>
                    <a:pt x="1518" y="668"/>
                  </a:lnTo>
                  <a:lnTo>
                    <a:pt x="1518" y="668"/>
                  </a:lnTo>
                  <a:lnTo>
                    <a:pt x="1518" y="668"/>
                  </a:lnTo>
                  <a:lnTo>
                    <a:pt x="1518" y="668"/>
                  </a:lnTo>
                  <a:lnTo>
                    <a:pt x="1518" y="670"/>
                  </a:lnTo>
                  <a:lnTo>
                    <a:pt x="1518" y="670"/>
                  </a:lnTo>
                  <a:lnTo>
                    <a:pt x="1518" y="670"/>
                  </a:lnTo>
                  <a:lnTo>
                    <a:pt x="1520" y="670"/>
                  </a:lnTo>
                  <a:lnTo>
                    <a:pt x="1522" y="670"/>
                  </a:lnTo>
                  <a:lnTo>
                    <a:pt x="1522" y="670"/>
                  </a:lnTo>
                  <a:lnTo>
                    <a:pt x="1522" y="672"/>
                  </a:lnTo>
                  <a:lnTo>
                    <a:pt x="1520" y="674"/>
                  </a:lnTo>
                  <a:lnTo>
                    <a:pt x="1520" y="674"/>
                  </a:lnTo>
                  <a:lnTo>
                    <a:pt x="1520" y="674"/>
                  </a:lnTo>
                  <a:lnTo>
                    <a:pt x="1520" y="676"/>
                  </a:lnTo>
                  <a:lnTo>
                    <a:pt x="1520" y="676"/>
                  </a:lnTo>
                  <a:lnTo>
                    <a:pt x="1520" y="680"/>
                  </a:lnTo>
                  <a:lnTo>
                    <a:pt x="1524" y="678"/>
                  </a:lnTo>
                  <a:lnTo>
                    <a:pt x="1524" y="678"/>
                  </a:lnTo>
                  <a:lnTo>
                    <a:pt x="1524" y="678"/>
                  </a:lnTo>
                  <a:lnTo>
                    <a:pt x="1524" y="678"/>
                  </a:lnTo>
                  <a:lnTo>
                    <a:pt x="1526" y="678"/>
                  </a:lnTo>
                  <a:lnTo>
                    <a:pt x="1526" y="678"/>
                  </a:lnTo>
                  <a:lnTo>
                    <a:pt x="1526" y="676"/>
                  </a:lnTo>
                  <a:lnTo>
                    <a:pt x="1526" y="672"/>
                  </a:lnTo>
                  <a:lnTo>
                    <a:pt x="1526" y="670"/>
                  </a:lnTo>
                  <a:lnTo>
                    <a:pt x="1526" y="670"/>
                  </a:lnTo>
                  <a:close/>
                  <a:moveTo>
                    <a:pt x="1239" y="566"/>
                  </a:moveTo>
                  <a:lnTo>
                    <a:pt x="1239" y="566"/>
                  </a:lnTo>
                  <a:lnTo>
                    <a:pt x="1239" y="566"/>
                  </a:lnTo>
                  <a:lnTo>
                    <a:pt x="1239" y="566"/>
                  </a:lnTo>
                  <a:lnTo>
                    <a:pt x="1239" y="566"/>
                  </a:lnTo>
                  <a:lnTo>
                    <a:pt x="1237" y="566"/>
                  </a:lnTo>
                  <a:lnTo>
                    <a:pt x="1239" y="566"/>
                  </a:lnTo>
                  <a:lnTo>
                    <a:pt x="1239" y="566"/>
                  </a:lnTo>
                  <a:lnTo>
                    <a:pt x="1239" y="566"/>
                  </a:lnTo>
                  <a:lnTo>
                    <a:pt x="1239" y="566"/>
                  </a:lnTo>
                  <a:lnTo>
                    <a:pt x="1239" y="566"/>
                  </a:lnTo>
                  <a:lnTo>
                    <a:pt x="1239" y="566"/>
                  </a:lnTo>
                  <a:lnTo>
                    <a:pt x="1239" y="566"/>
                  </a:lnTo>
                  <a:lnTo>
                    <a:pt x="1239" y="566"/>
                  </a:lnTo>
                  <a:close/>
                  <a:moveTo>
                    <a:pt x="1534" y="607"/>
                  </a:moveTo>
                  <a:lnTo>
                    <a:pt x="1534" y="609"/>
                  </a:lnTo>
                  <a:lnTo>
                    <a:pt x="1536" y="609"/>
                  </a:lnTo>
                  <a:lnTo>
                    <a:pt x="1536" y="609"/>
                  </a:lnTo>
                  <a:lnTo>
                    <a:pt x="1536" y="609"/>
                  </a:lnTo>
                  <a:lnTo>
                    <a:pt x="1538" y="609"/>
                  </a:lnTo>
                  <a:lnTo>
                    <a:pt x="1538" y="609"/>
                  </a:lnTo>
                  <a:lnTo>
                    <a:pt x="1544" y="607"/>
                  </a:lnTo>
                  <a:lnTo>
                    <a:pt x="1544" y="607"/>
                  </a:lnTo>
                  <a:lnTo>
                    <a:pt x="1540" y="605"/>
                  </a:lnTo>
                  <a:lnTo>
                    <a:pt x="1538" y="603"/>
                  </a:lnTo>
                  <a:lnTo>
                    <a:pt x="1536" y="603"/>
                  </a:lnTo>
                  <a:lnTo>
                    <a:pt x="1534" y="603"/>
                  </a:lnTo>
                  <a:lnTo>
                    <a:pt x="1534" y="603"/>
                  </a:lnTo>
                  <a:lnTo>
                    <a:pt x="1534" y="605"/>
                  </a:lnTo>
                  <a:lnTo>
                    <a:pt x="1534" y="605"/>
                  </a:lnTo>
                  <a:lnTo>
                    <a:pt x="1532" y="605"/>
                  </a:lnTo>
                  <a:lnTo>
                    <a:pt x="1532" y="605"/>
                  </a:lnTo>
                  <a:lnTo>
                    <a:pt x="1532" y="607"/>
                  </a:lnTo>
                  <a:lnTo>
                    <a:pt x="1534" y="607"/>
                  </a:lnTo>
                  <a:close/>
                  <a:moveTo>
                    <a:pt x="1565" y="709"/>
                  </a:moveTo>
                  <a:lnTo>
                    <a:pt x="1565" y="709"/>
                  </a:lnTo>
                  <a:lnTo>
                    <a:pt x="1565" y="707"/>
                  </a:lnTo>
                  <a:lnTo>
                    <a:pt x="1563" y="707"/>
                  </a:lnTo>
                  <a:lnTo>
                    <a:pt x="1563" y="707"/>
                  </a:lnTo>
                  <a:lnTo>
                    <a:pt x="1563" y="705"/>
                  </a:lnTo>
                  <a:lnTo>
                    <a:pt x="1563" y="703"/>
                  </a:lnTo>
                  <a:lnTo>
                    <a:pt x="1563" y="703"/>
                  </a:lnTo>
                  <a:lnTo>
                    <a:pt x="1563" y="703"/>
                  </a:lnTo>
                  <a:lnTo>
                    <a:pt x="1563" y="701"/>
                  </a:lnTo>
                  <a:lnTo>
                    <a:pt x="1563" y="701"/>
                  </a:lnTo>
                  <a:lnTo>
                    <a:pt x="1563" y="699"/>
                  </a:lnTo>
                  <a:lnTo>
                    <a:pt x="1561" y="699"/>
                  </a:lnTo>
                  <a:lnTo>
                    <a:pt x="1561" y="699"/>
                  </a:lnTo>
                  <a:lnTo>
                    <a:pt x="1561" y="697"/>
                  </a:lnTo>
                  <a:lnTo>
                    <a:pt x="1561" y="697"/>
                  </a:lnTo>
                  <a:lnTo>
                    <a:pt x="1561" y="697"/>
                  </a:lnTo>
                  <a:lnTo>
                    <a:pt x="1559" y="693"/>
                  </a:lnTo>
                  <a:lnTo>
                    <a:pt x="1559" y="691"/>
                  </a:lnTo>
                  <a:lnTo>
                    <a:pt x="1559" y="691"/>
                  </a:lnTo>
                  <a:lnTo>
                    <a:pt x="1559" y="691"/>
                  </a:lnTo>
                  <a:lnTo>
                    <a:pt x="1559" y="693"/>
                  </a:lnTo>
                  <a:lnTo>
                    <a:pt x="1559" y="693"/>
                  </a:lnTo>
                  <a:lnTo>
                    <a:pt x="1559" y="693"/>
                  </a:lnTo>
                  <a:lnTo>
                    <a:pt x="1561" y="693"/>
                  </a:lnTo>
                  <a:lnTo>
                    <a:pt x="1561" y="693"/>
                  </a:lnTo>
                  <a:lnTo>
                    <a:pt x="1561" y="693"/>
                  </a:lnTo>
                  <a:lnTo>
                    <a:pt x="1561" y="693"/>
                  </a:lnTo>
                  <a:lnTo>
                    <a:pt x="1559" y="691"/>
                  </a:lnTo>
                  <a:lnTo>
                    <a:pt x="1557" y="684"/>
                  </a:lnTo>
                  <a:lnTo>
                    <a:pt x="1557" y="682"/>
                  </a:lnTo>
                  <a:lnTo>
                    <a:pt x="1557" y="682"/>
                  </a:lnTo>
                  <a:lnTo>
                    <a:pt x="1557" y="682"/>
                  </a:lnTo>
                  <a:lnTo>
                    <a:pt x="1557" y="682"/>
                  </a:lnTo>
                  <a:lnTo>
                    <a:pt x="1557" y="680"/>
                  </a:lnTo>
                  <a:lnTo>
                    <a:pt x="1555" y="678"/>
                  </a:lnTo>
                  <a:lnTo>
                    <a:pt x="1555" y="678"/>
                  </a:lnTo>
                  <a:lnTo>
                    <a:pt x="1552" y="676"/>
                  </a:lnTo>
                  <a:lnTo>
                    <a:pt x="1552" y="676"/>
                  </a:lnTo>
                  <a:lnTo>
                    <a:pt x="1552" y="674"/>
                  </a:lnTo>
                  <a:lnTo>
                    <a:pt x="1552" y="674"/>
                  </a:lnTo>
                  <a:lnTo>
                    <a:pt x="1550" y="674"/>
                  </a:lnTo>
                  <a:lnTo>
                    <a:pt x="1550" y="674"/>
                  </a:lnTo>
                  <a:lnTo>
                    <a:pt x="1550" y="672"/>
                  </a:lnTo>
                  <a:lnTo>
                    <a:pt x="1550" y="672"/>
                  </a:lnTo>
                  <a:lnTo>
                    <a:pt x="1550" y="670"/>
                  </a:lnTo>
                  <a:lnTo>
                    <a:pt x="1550" y="670"/>
                  </a:lnTo>
                  <a:lnTo>
                    <a:pt x="1550" y="670"/>
                  </a:lnTo>
                  <a:lnTo>
                    <a:pt x="1550" y="670"/>
                  </a:lnTo>
                  <a:lnTo>
                    <a:pt x="1550" y="670"/>
                  </a:lnTo>
                  <a:lnTo>
                    <a:pt x="1550" y="670"/>
                  </a:lnTo>
                  <a:lnTo>
                    <a:pt x="1548" y="670"/>
                  </a:lnTo>
                  <a:lnTo>
                    <a:pt x="1548" y="668"/>
                  </a:lnTo>
                  <a:lnTo>
                    <a:pt x="1548" y="668"/>
                  </a:lnTo>
                  <a:lnTo>
                    <a:pt x="1548" y="668"/>
                  </a:lnTo>
                  <a:lnTo>
                    <a:pt x="1548" y="668"/>
                  </a:lnTo>
                  <a:lnTo>
                    <a:pt x="1548" y="668"/>
                  </a:lnTo>
                  <a:lnTo>
                    <a:pt x="1546" y="668"/>
                  </a:lnTo>
                  <a:lnTo>
                    <a:pt x="1548" y="666"/>
                  </a:lnTo>
                  <a:lnTo>
                    <a:pt x="1546" y="666"/>
                  </a:lnTo>
                  <a:lnTo>
                    <a:pt x="1546" y="664"/>
                  </a:lnTo>
                  <a:lnTo>
                    <a:pt x="1544" y="664"/>
                  </a:lnTo>
                  <a:lnTo>
                    <a:pt x="1546" y="664"/>
                  </a:lnTo>
                  <a:lnTo>
                    <a:pt x="1546" y="662"/>
                  </a:lnTo>
                  <a:lnTo>
                    <a:pt x="1544" y="662"/>
                  </a:lnTo>
                  <a:lnTo>
                    <a:pt x="1544" y="662"/>
                  </a:lnTo>
                  <a:lnTo>
                    <a:pt x="1544" y="662"/>
                  </a:lnTo>
                  <a:lnTo>
                    <a:pt x="1544" y="660"/>
                  </a:lnTo>
                  <a:lnTo>
                    <a:pt x="1544" y="660"/>
                  </a:lnTo>
                  <a:lnTo>
                    <a:pt x="1544" y="660"/>
                  </a:lnTo>
                  <a:lnTo>
                    <a:pt x="1544" y="660"/>
                  </a:lnTo>
                  <a:lnTo>
                    <a:pt x="1542" y="660"/>
                  </a:lnTo>
                  <a:lnTo>
                    <a:pt x="1542" y="660"/>
                  </a:lnTo>
                  <a:lnTo>
                    <a:pt x="1540" y="660"/>
                  </a:lnTo>
                  <a:lnTo>
                    <a:pt x="1540" y="660"/>
                  </a:lnTo>
                  <a:lnTo>
                    <a:pt x="1540" y="658"/>
                  </a:lnTo>
                  <a:lnTo>
                    <a:pt x="1540" y="658"/>
                  </a:lnTo>
                  <a:lnTo>
                    <a:pt x="1540" y="658"/>
                  </a:lnTo>
                  <a:lnTo>
                    <a:pt x="1540" y="658"/>
                  </a:lnTo>
                  <a:lnTo>
                    <a:pt x="1540" y="658"/>
                  </a:lnTo>
                  <a:lnTo>
                    <a:pt x="1540" y="658"/>
                  </a:lnTo>
                  <a:lnTo>
                    <a:pt x="1538" y="658"/>
                  </a:lnTo>
                  <a:lnTo>
                    <a:pt x="1538" y="658"/>
                  </a:lnTo>
                  <a:lnTo>
                    <a:pt x="1538" y="658"/>
                  </a:lnTo>
                  <a:lnTo>
                    <a:pt x="1540" y="656"/>
                  </a:lnTo>
                  <a:lnTo>
                    <a:pt x="1540" y="656"/>
                  </a:lnTo>
                  <a:lnTo>
                    <a:pt x="1538" y="656"/>
                  </a:lnTo>
                  <a:lnTo>
                    <a:pt x="1538" y="656"/>
                  </a:lnTo>
                  <a:lnTo>
                    <a:pt x="1538" y="656"/>
                  </a:lnTo>
                  <a:lnTo>
                    <a:pt x="1540" y="656"/>
                  </a:lnTo>
                  <a:lnTo>
                    <a:pt x="1540" y="656"/>
                  </a:lnTo>
                  <a:lnTo>
                    <a:pt x="1538" y="654"/>
                  </a:lnTo>
                  <a:lnTo>
                    <a:pt x="1536" y="654"/>
                  </a:lnTo>
                  <a:lnTo>
                    <a:pt x="1536" y="654"/>
                  </a:lnTo>
                  <a:lnTo>
                    <a:pt x="1536" y="652"/>
                  </a:lnTo>
                  <a:lnTo>
                    <a:pt x="1534" y="652"/>
                  </a:lnTo>
                  <a:lnTo>
                    <a:pt x="1532" y="652"/>
                  </a:lnTo>
                  <a:lnTo>
                    <a:pt x="1532" y="652"/>
                  </a:lnTo>
                  <a:lnTo>
                    <a:pt x="1532" y="654"/>
                  </a:lnTo>
                  <a:lnTo>
                    <a:pt x="1532" y="654"/>
                  </a:lnTo>
                  <a:lnTo>
                    <a:pt x="1532" y="652"/>
                  </a:lnTo>
                  <a:lnTo>
                    <a:pt x="1532" y="652"/>
                  </a:lnTo>
                  <a:lnTo>
                    <a:pt x="1532" y="652"/>
                  </a:lnTo>
                  <a:lnTo>
                    <a:pt x="1530" y="650"/>
                  </a:lnTo>
                  <a:lnTo>
                    <a:pt x="1530" y="652"/>
                  </a:lnTo>
                  <a:lnTo>
                    <a:pt x="1530" y="652"/>
                  </a:lnTo>
                  <a:lnTo>
                    <a:pt x="1530" y="652"/>
                  </a:lnTo>
                  <a:lnTo>
                    <a:pt x="1528" y="652"/>
                  </a:lnTo>
                  <a:lnTo>
                    <a:pt x="1528" y="652"/>
                  </a:lnTo>
                  <a:lnTo>
                    <a:pt x="1528" y="652"/>
                  </a:lnTo>
                  <a:lnTo>
                    <a:pt x="1528" y="652"/>
                  </a:lnTo>
                  <a:lnTo>
                    <a:pt x="1526" y="654"/>
                  </a:lnTo>
                  <a:lnTo>
                    <a:pt x="1526" y="654"/>
                  </a:lnTo>
                  <a:lnTo>
                    <a:pt x="1526" y="654"/>
                  </a:lnTo>
                  <a:lnTo>
                    <a:pt x="1526" y="654"/>
                  </a:lnTo>
                  <a:lnTo>
                    <a:pt x="1526" y="652"/>
                  </a:lnTo>
                  <a:lnTo>
                    <a:pt x="1528" y="652"/>
                  </a:lnTo>
                  <a:lnTo>
                    <a:pt x="1528" y="650"/>
                  </a:lnTo>
                  <a:lnTo>
                    <a:pt x="1526" y="650"/>
                  </a:lnTo>
                  <a:lnTo>
                    <a:pt x="1524" y="648"/>
                  </a:lnTo>
                  <a:lnTo>
                    <a:pt x="1524" y="650"/>
                  </a:lnTo>
                  <a:lnTo>
                    <a:pt x="1522" y="652"/>
                  </a:lnTo>
                  <a:lnTo>
                    <a:pt x="1522" y="652"/>
                  </a:lnTo>
                  <a:lnTo>
                    <a:pt x="1522" y="652"/>
                  </a:lnTo>
                  <a:lnTo>
                    <a:pt x="1522" y="652"/>
                  </a:lnTo>
                  <a:lnTo>
                    <a:pt x="1522" y="652"/>
                  </a:lnTo>
                  <a:lnTo>
                    <a:pt x="1522" y="652"/>
                  </a:lnTo>
                  <a:lnTo>
                    <a:pt x="1522" y="652"/>
                  </a:lnTo>
                  <a:lnTo>
                    <a:pt x="1522" y="654"/>
                  </a:lnTo>
                  <a:lnTo>
                    <a:pt x="1522" y="654"/>
                  </a:lnTo>
                  <a:lnTo>
                    <a:pt x="1522" y="654"/>
                  </a:lnTo>
                  <a:lnTo>
                    <a:pt x="1522" y="654"/>
                  </a:lnTo>
                  <a:lnTo>
                    <a:pt x="1522" y="654"/>
                  </a:lnTo>
                  <a:lnTo>
                    <a:pt x="1522" y="654"/>
                  </a:lnTo>
                  <a:lnTo>
                    <a:pt x="1522" y="656"/>
                  </a:lnTo>
                  <a:lnTo>
                    <a:pt x="1522" y="656"/>
                  </a:lnTo>
                  <a:lnTo>
                    <a:pt x="1522" y="656"/>
                  </a:lnTo>
                  <a:lnTo>
                    <a:pt x="1522" y="656"/>
                  </a:lnTo>
                  <a:lnTo>
                    <a:pt x="1522" y="656"/>
                  </a:lnTo>
                  <a:lnTo>
                    <a:pt x="1522" y="658"/>
                  </a:lnTo>
                  <a:lnTo>
                    <a:pt x="1522" y="658"/>
                  </a:lnTo>
                  <a:lnTo>
                    <a:pt x="1522" y="658"/>
                  </a:lnTo>
                  <a:lnTo>
                    <a:pt x="1522" y="658"/>
                  </a:lnTo>
                  <a:lnTo>
                    <a:pt x="1522" y="658"/>
                  </a:lnTo>
                  <a:lnTo>
                    <a:pt x="1524" y="658"/>
                  </a:lnTo>
                  <a:lnTo>
                    <a:pt x="1524" y="658"/>
                  </a:lnTo>
                  <a:lnTo>
                    <a:pt x="1524" y="658"/>
                  </a:lnTo>
                  <a:lnTo>
                    <a:pt x="1526" y="660"/>
                  </a:lnTo>
                  <a:lnTo>
                    <a:pt x="1524" y="660"/>
                  </a:lnTo>
                  <a:lnTo>
                    <a:pt x="1522" y="660"/>
                  </a:lnTo>
                  <a:lnTo>
                    <a:pt x="1520" y="660"/>
                  </a:lnTo>
                  <a:lnTo>
                    <a:pt x="1520" y="660"/>
                  </a:lnTo>
                  <a:lnTo>
                    <a:pt x="1520" y="660"/>
                  </a:lnTo>
                  <a:lnTo>
                    <a:pt x="1520" y="660"/>
                  </a:lnTo>
                  <a:lnTo>
                    <a:pt x="1520" y="662"/>
                  </a:lnTo>
                  <a:lnTo>
                    <a:pt x="1522" y="662"/>
                  </a:lnTo>
                  <a:lnTo>
                    <a:pt x="1524" y="664"/>
                  </a:lnTo>
                  <a:lnTo>
                    <a:pt x="1524" y="666"/>
                  </a:lnTo>
                  <a:lnTo>
                    <a:pt x="1526" y="666"/>
                  </a:lnTo>
                  <a:lnTo>
                    <a:pt x="1526" y="666"/>
                  </a:lnTo>
                  <a:lnTo>
                    <a:pt x="1526" y="664"/>
                  </a:lnTo>
                  <a:lnTo>
                    <a:pt x="1526" y="664"/>
                  </a:lnTo>
                  <a:lnTo>
                    <a:pt x="1528" y="664"/>
                  </a:lnTo>
                  <a:lnTo>
                    <a:pt x="1528" y="664"/>
                  </a:lnTo>
                  <a:lnTo>
                    <a:pt x="1530" y="664"/>
                  </a:lnTo>
                  <a:lnTo>
                    <a:pt x="1530" y="666"/>
                  </a:lnTo>
                  <a:lnTo>
                    <a:pt x="1530" y="666"/>
                  </a:lnTo>
                  <a:lnTo>
                    <a:pt x="1530" y="666"/>
                  </a:lnTo>
                  <a:lnTo>
                    <a:pt x="1530" y="668"/>
                  </a:lnTo>
                  <a:lnTo>
                    <a:pt x="1530" y="668"/>
                  </a:lnTo>
                  <a:lnTo>
                    <a:pt x="1530" y="668"/>
                  </a:lnTo>
                  <a:lnTo>
                    <a:pt x="1530" y="668"/>
                  </a:lnTo>
                  <a:lnTo>
                    <a:pt x="1530" y="668"/>
                  </a:lnTo>
                  <a:lnTo>
                    <a:pt x="1530" y="668"/>
                  </a:lnTo>
                  <a:lnTo>
                    <a:pt x="1532" y="666"/>
                  </a:lnTo>
                  <a:lnTo>
                    <a:pt x="1532" y="666"/>
                  </a:lnTo>
                  <a:lnTo>
                    <a:pt x="1532" y="666"/>
                  </a:lnTo>
                  <a:lnTo>
                    <a:pt x="1534" y="666"/>
                  </a:lnTo>
                  <a:lnTo>
                    <a:pt x="1534" y="668"/>
                  </a:lnTo>
                  <a:lnTo>
                    <a:pt x="1532" y="668"/>
                  </a:lnTo>
                  <a:lnTo>
                    <a:pt x="1532" y="668"/>
                  </a:lnTo>
                  <a:lnTo>
                    <a:pt x="1530" y="670"/>
                  </a:lnTo>
                  <a:lnTo>
                    <a:pt x="1532" y="672"/>
                  </a:lnTo>
                  <a:lnTo>
                    <a:pt x="1532" y="672"/>
                  </a:lnTo>
                  <a:lnTo>
                    <a:pt x="1534" y="674"/>
                  </a:lnTo>
                  <a:lnTo>
                    <a:pt x="1534" y="674"/>
                  </a:lnTo>
                  <a:lnTo>
                    <a:pt x="1536" y="672"/>
                  </a:lnTo>
                  <a:lnTo>
                    <a:pt x="1538" y="672"/>
                  </a:lnTo>
                  <a:lnTo>
                    <a:pt x="1538" y="672"/>
                  </a:lnTo>
                  <a:lnTo>
                    <a:pt x="1538" y="674"/>
                  </a:lnTo>
                  <a:lnTo>
                    <a:pt x="1538" y="674"/>
                  </a:lnTo>
                  <a:lnTo>
                    <a:pt x="1538" y="674"/>
                  </a:lnTo>
                  <a:lnTo>
                    <a:pt x="1536" y="674"/>
                  </a:lnTo>
                  <a:lnTo>
                    <a:pt x="1536" y="674"/>
                  </a:lnTo>
                  <a:lnTo>
                    <a:pt x="1536" y="674"/>
                  </a:lnTo>
                  <a:lnTo>
                    <a:pt x="1536" y="676"/>
                  </a:lnTo>
                  <a:lnTo>
                    <a:pt x="1536" y="676"/>
                  </a:lnTo>
                  <a:lnTo>
                    <a:pt x="1536" y="676"/>
                  </a:lnTo>
                  <a:lnTo>
                    <a:pt x="1534" y="676"/>
                  </a:lnTo>
                  <a:lnTo>
                    <a:pt x="1534" y="676"/>
                  </a:lnTo>
                  <a:lnTo>
                    <a:pt x="1534" y="678"/>
                  </a:lnTo>
                  <a:lnTo>
                    <a:pt x="1534" y="678"/>
                  </a:lnTo>
                  <a:lnTo>
                    <a:pt x="1534" y="678"/>
                  </a:lnTo>
                  <a:lnTo>
                    <a:pt x="1534" y="678"/>
                  </a:lnTo>
                  <a:lnTo>
                    <a:pt x="1534" y="678"/>
                  </a:lnTo>
                  <a:lnTo>
                    <a:pt x="1534" y="678"/>
                  </a:lnTo>
                  <a:lnTo>
                    <a:pt x="1534" y="678"/>
                  </a:lnTo>
                  <a:lnTo>
                    <a:pt x="1536" y="680"/>
                  </a:lnTo>
                  <a:lnTo>
                    <a:pt x="1536" y="680"/>
                  </a:lnTo>
                  <a:lnTo>
                    <a:pt x="1536" y="680"/>
                  </a:lnTo>
                  <a:lnTo>
                    <a:pt x="1536" y="680"/>
                  </a:lnTo>
                  <a:lnTo>
                    <a:pt x="1536" y="680"/>
                  </a:lnTo>
                  <a:lnTo>
                    <a:pt x="1536" y="682"/>
                  </a:lnTo>
                  <a:lnTo>
                    <a:pt x="1534" y="682"/>
                  </a:lnTo>
                  <a:lnTo>
                    <a:pt x="1534" y="682"/>
                  </a:lnTo>
                  <a:lnTo>
                    <a:pt x="1536" y="684"/>
                  </a:lnTo>
                  <a:lnTo>
                    <a:pt x="1536" y="684"/>
                  </a:lnTo>
                  <a:lnTo>
                    <a:pt x="1536" y="684"/>
                  </a:lnTo>
                  <a:lnTo>
                    <a:pt x="1536" y="684"/>
                  </a:lnTo>
                  <a:lnTo>
                    <a:pt x="1536" y="687"/>
                  </a:lnTo>
                  <a:lnTo>
                    <a:pt x="1538" y="687"/>
                  </a:lnTo>
                  <a:lnTo>
                    <a:pt x="1540" y="682"/>
                  </a:lnTo>
                  <a:lnTo>
                    <a:pt x="1542" y="682"/>
                  </a:lnTo>
                  <a:lnTo>
                    <a:pt x="1542" y="682"/>
                  </a:lnTo>
                  <a:lnTo>
                    <a:pt x="1542" y="682"/>
                  </a:lnTo>
                  <a:lnTo>
                    <a:pt x="1542" y="684"/>
                  </a:lnTo>
                  <a:lnTo>
                    <a:pt x="1542" y="684"/>
                  </a:lnTo>
                  <a:lnTo>
                    <a:pt x="1542" y="684"/>
                  </a:lnTo>
                  <a:lnTo>
                    <a:pt x="1542" y="684"/>
                  </a:lnTo>
                  <a:lnTo>
                    <a:pt x="1542" y="687"/>
                  </a:lnTo>
                  <a:lnTo>
                    <a:pt x="1542" y="687"/>
                  </a:lnTo>
                  <a:lnTo>
                    <a:pt x="1542" y="687"/>
                  </a:lnTo>
                  <a:lnTo>
                    <a:pt x="1542" y="689"/>
                  </a:lnTo>
                  <a:lnTo>
                    <a:pt x="1542" y="689"/>
                  </a:lnTo>
                  <a:lnTo>
                    <a:pt x="1542" y="689"/>
                  </a:lnTo>
                  <a:lnTo>
                    <a:pt x="1542" y="689"/>
                  </a:lnTo>
                  <a:lnTo>
                    <a:pt x="1542" y="689"/>
                  </a:lnTo>
                  <a:lnTo>
                    <a:pt x="1542" y="689"/>
                  </a:lnTo>
                  <a:lnTo>
                    <a:pt x="1542" y="691"/>
                  </a:lnTo>
                  <a:lnTo>
                    <a:pt x="1542" y="691"/>
                  </a:lnTo>
                  <a:lnTo>
                    <a:pt x="1542" y="691"/>
                  </a:lnTo>
                  <a:lnTo>
                    <a:pt x="1542" y="691"/>
                  </a:lnTo>
                  <a:lnTo>
                    <a:pt x="1542" y="691"/>
                  </a:lnTo>
                  <a:lnTo>
                    <a:pt x="1544" y="689"/>
                  </a:lnTo>
                  <a:lnTo>
                    <a:pt x="1544" y="687"/>
                  </a:lnTo>
                  <a:lnTo>
                    <a:pt x="1544" y="684"/>
                  </a:lnTo>
                  <a:lnTo>
                    <a:pt x="1544" y="684"/>
                  </a:lnTo>
                  <a:lnTo>
                    <a:pt x="1546" y="684"/>
                  </a:lnTo>
                  <a:lnTo>
                    <a:pt x="1546" y="684"/>
                  </a:lnTo>
                  <a:lnTo>
                    <a:pt x="1546" y="684"/>
                  </a:lnTo>
                  <a:lnTo>
                    <a:pt x="1546" y="687"/>
                  </a:lnTo>
                  <a:lnTo>
                    <a:pt x="1544" y="689"/>
                  </a:lnTo>
                  <a:lnTo>
                    <a:pt x="1544" y="689"/>
                  </a:lnTo>
                  <a:lnTo>
                    <a:pt x="1544" y="691"/>
                  </a:lnTo>
                  <a:lnTo>
                    <a:pt x="1544" y="691"/>
                  </a:lnTo>
                  <a:lnTo>
                    <a:pt x="1544" y="693"/>
                  </a:lnTo>
                  <a:lnTo>
                    <a:pt x="1544" y="693"/>
                  </a:lnTo>
                  <a:lnTo>
                    <a:pt x="1546" y="695"/>
                  </a:lnTo>
                  <a:lnTo>
                    <a:pt x="1546" y="695"/>
                  </a:lnTo>
                  <a:lnTo>
                    <a:pt x="1546" y="693"/>
                  </a:lnTo>
                  <a:lnTo>
                    <a:pt x="1546" y="693"/>
                  </a:lnTo>
                  <a:lnTo>
                    <a:pt x="1548" y="693"/>
                  </a:lnTo>
                  <a:lnTo>
                    <a:pt x="1548" y="691"/>
                  </a:lnTo>
                  <a:lnTo>
                    <a:pt x="1546" y="689"/>
                  </a:lnTo>
                  <a:lnTo>
                    <a:pt x="1548" y="687"/>
                  </a:lnTo>
                  <a:lnTo>
                    <a:pt x="1548" y="687"/>
                  </a:lnTo>
                  <a:lnTo>
                    <a:pt x="1548" y="687"/>
                  </a:lnTo>
                  <a:lnTo>
                    <a:pt x="1548" y="687"/>
                  </a:lnTo>
                  <a:lnTo>
                    <a:pt x="1548" y="689"/>
                  </a:lnTo>
                  <a:lnTo>
                    <a:pt x="1548" y="689"/>
                  </a:lnTo>
                  <a:lnTo>
                    <a:pt x="1548" y="691"/>
                  </a:lnTo>
                  <a:lnTo>
                    <a:pt x="1548" y="691"/>
                  </a:lnTo>
                  <a:lnTo>
                    <a:pt x="1548" y="691"/>
                  </a:lnTo>
                  <a:lnTo>
                    <a:pt x="1550" y="691"/>
                  </a:lnTo>
                  <a:lnTo>
                    <a:pt x="1550" y="691"/>
                  </a:lnTo>
                  <a:lnTo>
                    <a:pt x="1550" y="691"/>
                  </a:lnTo>
                  <a:lnTo>
                    <a:pt x="1550" y="689"/>
                  </a:lnTo>
                  <a:lnTo>
                    <a:pt x="1550" y="689"/>
                  </a:lnTo>
                  <a:lnTo>
                    <a:pt x="1550" y="689"/>
                  </a:lnTo>
                  <a:lnTo>
                    <a:pt x="1550" y="689"/>
                  </a:lnTo>
                  <a:lnTo>
                    <a:pt x="1552" y="687"/>
                  </a:lnTo>
                  <a:lnTo>
                    <a:pt x="1550" y="691"/>
                  </a:lnTo>
                  <a:lnTo>
                    <a:pt x="1550" y="691"/>
                  </a:lnTo>
                  <a:lnTo>
                    <a:pt x="1550" y="693"/>
                  </a:lnTo>
                  <a:lnTo>
                    <a:pt x="1550" y="693"/>
                  </a:lnTo>
                  <a:lnTo>
                    <a:pt x="1548" y="695"/>
                  </a:lnTo>
                  <a:lnTo>
                    <a:pt x="1548" y="695"/>
                  </a:lnTo>
                  <a:lnTo>
                    <a:pt x="1548" y="695"/>
                  </a:lnTo>
                  <a:lnTo>
                    <a:pt x="1548" y="695"/>
                  </a:lnTo>
                  <a:lnTo>
                    <a:pt x="1548" y="695"/>
                  </a:lnTo>
                  <a:lnTo>
                    <a:pt x="1548" y="695"/>
                  </a:lnTo>
                  <a:lnTo>
                    <a:pt x="1548" y="697"/>
                  </a:lnTo>
                  <a:lnTo>
                    <a:pt x="1548" y="697"/>
                  </a:lnTo>
                  <a:lnTo>
                    <a:pt x="1548" y="697"/>
                  </a:lnTo>
                  <a:lnTo>
                    <a:pt x="1548" y="697"/>
                  </a:lnTo>
                  <a:lnTo>
                    <a:pt x="1548" y="697"/>
                  </a:lnTo>
                  <a:lnTo>
                    <a:pt x="1550" y="699"/>
                  </a:lnTo>
                  <a:lnTo>
                    <a:pt x="1550" y="699"/>
                  </a:lnTo>
                  <a:lnTo>
                    <a:pt x="1550" y="699"/>
                  </a:lnTo>
                  <a:lnTo>
                    <a:pt x="1552" y="701"/>
                  </a:lnTo>
                  <a:lnTo>
                    <a:pt x="1552" y="703"/>
                  </a:lnTo>
                  <a:lnTo>
                    <a:pt x="1555" y="703"/>
                  </a:lnTo>
                  <a:lnTo>
                    <a:pt x="1555" y="703"/>
                  </a:lnTo>
                  <a:lnTo>
                    <a:pt x="1555" y="703"/>
                  </a:lnTo>
                  <a:lnTo>
                    <a:pt x="1555" y="703"/>
                  </a:lnTo>
                  <a:lnTo>
                    <a:pt x="1555" y="705"/>
                  </a:lnTo>
                  <a:lnTo>
                    <a:pt x="1555" y="705"/>
                  </a:lnTo>
                  <a:lnTo>
                    <a:pt x="1557" y="705"/>
                  </a:lnTo>
                  <a:lnTo>
                    <a:pt x="1557" y="705"/>
                  </a:lnTo>
                  <a:lnTo>
                    <a:pt x="1557" y="705"/>
                  </a:lnTo>
                  <a:lnTo>
                    <a:pt x="1557" y="705"/>
                  </a:lnTo>
                  <a:lnTo>
                    <a:pt x="1559" y="707"/>
                  </a:lnTo>
                  <a:lnTo>
                    <a:pt x="1559" y="707"/>
                  </a:lnTo>
                  <a:lnTo>
                    <a:pt x="1559" y="707"/>
                  </a:lnTo>
                  <a:lnTo>
                    <a:pt x="1559" y="707"/>
                  </a:lnTo>
                  <a:lnTo>
                    <a:pt x="1559" y="707"/>
                  </a:lnTo>
                  <a:lnTo>
                    <a:pt x="1559" y="707"/>
                  </a:lnTo>
                  <a:lnTo>
                    <a:pt x="1559" y="707"/>
                  </a:lnTo>
                  <a:lnTo>
                    <a:pt x="1559" y="709"/>
                  </a:lnTo>
                  <a:lnTo>
                    <a:pt x="1561" y="709"/>
                  </a:lnTo>
                  <a:lnTo>
                    <a:pt x="1561" y="709"/>
                  </a:lnTo>
                  <a:lnTo>
                    <a:pt x="1561" y="709"/>
                  </a:lnTo>
                  <a:lnTo>
                    <a:pt x="1561" y="709"/>
                  </a:lnTo>
                  <a:lnTo>
                    <a:pt x="1561" y="711"/>
                  </a:lnTo>
                  <a:lnTo>
                    <a:pt x="1561" y="709"/>
                  </a:lnTo>
                  <a:lnTo>
                    <a:pt x="1563" y="709"/>
                  </a:lnTo>
                  <a:lnTo>
                    <a:pt x="1563" y="709"/>
                  </a:lnTo>
                  <a:lnTo>
                    <a:pt x="1563" y="709"/>
                  </a:lnTo>
                  <a:lnTo>
                    <a:pt x="1563" y="709"/>
                  </a:lnTo>
                  <a:lnTo>
                    <a:pt x="1563" y="709"/>
                  </a:lnTo>
                  <a:lnTo>
                    <a:pt x="1563" y="709"/>
                  </a:lnTo>
                  <a:lnTo>
                    <a:pt x="1563" y="709"/>
                  </a:lnTo>
                  <a:lnTo>
                    <a:pt x="1563" y="711"/>
                  </a:lnTo>
                  <a:lnTo>
                    <a:pt x="1563" y="711"/>
                  </a:lnTo>
                  <a:lnTo>
                    <a:pt x="1565" y="711"/>
                  </a:lnTo>
                  <a:lnTo>
                    <a:pt x="1565" y="711"/>
                  </a:lnTo>
                  <a:lnTo>
                    <a:pt x="1565" y="709"/>
                  </a:lnTo>
                  <a:lnTo>
                    <a:pt x="1565" y="709"/>
                  </a:lnTo>
                  <a:close/>
                  <a:moveTo>
                    <a:pt x="1264" y="576"/>
                  </a:moveTo>
                  <a:lnTo>
                    <a:pt x="1262" y="576"/>
                  </a:lnTo>
                  <a:lnTo>
                    <a:pt x="1262" y="578"/>
                  </a:lnTo>
                  <a:lnTo>
                    <a:pt x="1260" y="578"/>
                  </a:lnTo>
                  <a:lnTo>
                    <a:pt x="1260" y="582"/>
                  </a:lnTo>
                  <a:lnTo>
                    <a:pt x="1258" y="582"/>
                  </a:lnTo>
                  <a:lnTo>
                    <a:pt x="1258" y="582"/>
                  </a:lnTo>
                  <a:lnTo>
                    <a:pt x="1258" y="586"/>
                  </a:lnTo>
                  <a:lnTo>
                    <a:pt x="1258" y="586"/>
                  </a:lnTo>
                  <a:lnTo>
                    <a:pt x="1258" y="584"/>
                  </a:lnTo>
                  <a:lnTo>
                    <a:pt x="1262" y="580"/>
                  </a:lnTo>
                  <a:lnTo>
                    <a:pt x="1262" y="580"/>
                  </a:lnTo>
                  <a:lnTo>
                    <a:pt x="1262" y="580"/>
                  </a:lnTo>
                  <a:lnTo>
                    <a:pt x="1262" y="578"/>
                  </a:lnTo>
                  <a:lnTo>
                    <a:pt x="1262" y="578"/>
                  </a:lnTo>
                  <a:lnTo>
                    <a:pt x="1266" y="576"/>
                  </a:lnTo>
                  <a:lnTo>
                    <a:pt x="1266" y="574"/>
                  </a:lnTo>
                  <a:lnTo>
                    <a:pt x="1266" y="574"/>
                  </a:lnTo>
                  <a:lnTo>
                    <a:pt x="1266" y="574"/>
                  </a:lnTo>
                  <a:lnTo>
                    <a:pt x="1266" y="574"/>
                  </a:lnTo>
                  <a:lnTo>
                    <a:pt x="1264" y="574"/>
                  </a:lnTo>
                  <a:lnTo>
                    <a:pt x="1264" y="576"/>
                  </a:lnTo>
                  <a:close/>
                  <a:moveTo>
                    <a:pt x="1239" y="562"/>
                  </a:moveTo>
                  <a:lnTo>
                    <a:pt x="1239" y="562"/>
                  </a:lnTo>
                  <a:lnTo>
                    <a:pt x="1239" y="562"/>
                  </a:lnTo>
                  <a:lnTo>
                    <a:pt x="1239" y="562"/>
                  </a:lnTo>
                  <a:lnTo>
                    <a:pt x="1239" y="562"/>
                  </a:lnTo>
                  <a:lnTo>
                    <a:pt x="1239" y="559"/>
                  </a:lnTo>
                  <a:lnTo>
                    <a:pt x="1239" y="559"/>
                  </a:lnTo>
                  <a:lnTo>
                    <a:pt x="1239" y="557"/>
                  </a:lnTo>
                  <a:lnTo>
                    <a:pt x="1239" y="557"/>
                  </a:lnTo>
                  <a:lnTo>
                    <a:pt x="1239" y="555"/>
                  </a:lnTo>
                  <a:lnTo>
                    <a:pt x="1239" y="557"/>
                  </a:lnTo>
                  <a:lnTo>
                    <a:pt x="1237" y="557"/>
                  </a:lnTo>
                  <a:lnTo>
                    <a:pt x="1235" y="562"/>
                  </a:lnTo>
                  <a:lnTo>
                    <a:pt x="1235" y="562"/>
                  </a:lnTo>
                  <a:lnTo>
                    <a:pt x="1237" y="562"/>
                  </a:lnTo>
                  <a:lnTo>
                    <a:pt x="1237" y="562"/>
                  </a:lnTo>
                  <a:lnTo>
                    <a:pt x="1237" y="562"/>
                  </a:lnTo>
                  <a:lnTo>
                    <a:pt x="1237" y="562"/>
                  </a:lnTo>
                  <a:lnTo>
                    <a:pt x="1239" y="562"/>
                  </a:lnTo>
                  <a:lnTo>
                    <a:pt x="1239" y="562"/>
                  </a:lnTo>
                  <a:close/>
                  <a:moveTo>
                    <a:pt x="1184" y="570"/>
                  </a:moveTo>
                  <a:lnTo>
                    <a:pt x="1182" y="570"/>
                  </a:lnTo>
                  <a:lnTo>
                    <a:pt x="1182" y="570"/>
                  </a:lnTo>
                  <a:lnTo>
                    <a:pt x="1180" y="570"/>
                  </a:lnTo>
                  <a:lnTo>
                    <a:pt x="1180" y="572"/>
                  </a:lnTo>
                  <a:lnTo>
                    <a:pt x="1180" y="572"/>
                  </a:lnTo>
                  <a:lnTo>
                    <a:pt x="1180" y="572"/>
                  </a:lnTo>
                  <a:lnTo>
                    <a:pt x="1180" y="572"/>
                  </a:lnTo>
                  <a:lnTo>
                    <a:pt x="1180" y="572"/>
                  </a:lnTo>
                  <a:lnTo>
                    <a:pt x="1180" y="574"/>
                  </a:lnTo>
                  <a:lnTo>
                    <a:pt x="1180" y="572"/>
                  </a:lnTo>
                  <a:lnTo>
                    <a:pt x="1182" y="572"/>
                  </a:lnTo>
                  <a:lnTo>
                    <a:pt x="1184" y="570"/>
                  </a:lnTo>
                  <a:lnTo>
                    <a:pt x="1184" y="570"/>
                  </a:lnTo>
                  <a:lnTo>
                    <a:pt x="1184" y="570"/>
                  </a:lnTo>
                  <a:lnTo>
                    <a:pt x="1184" y="570"/>
                  </a:lnTo>
                  <a:lnTo>
                    <a:pt x="1184" y="570"/>
                  </a:lnTo>
                  <a:close/>
                  <a:moveTo>
                    <a:pt x="1194" y="537"/>
                  </a:move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lnTo>
                    <a:pt x="1194" y="537"/>
                  </a:lnTo>
                  <a:close/>
                  <a:moveTo>
                    <a:pt x="1172" y="584"/>
                  </a:moveTo>
                  <a:lnTo>
                    <a:pt x="1172" y="582"/>
                  </a:lnTo>
                  <a:lnTo>
                    <a:pt x="1172" y="582"/>
                  </a:lnTo>
                  <a:lnTo>
                    <a:pt x="1172" y="582"/>
                  </a:lnTo>
                  <a:lnTo>
                    <a:pt x="1172" y="582"/>
                  </a:lnTo>
                  <a:lnTo>
                    <a:pt x="1172" y="582"/>
                  </a:lnTo>
                  <a:lnTo>
                    <a:pt x="1172" y="582"/>
                  </a:lnTo>
                  <a:lnTo>
                    <a:pt x="1169" y="582"/>
                  </a:lnTo>
                  <a:lnTo>
                    <a:pt x="1169" y="584"/>
                  </a:lnTo>
                  <a:lnTo>
                    <a:pt x="1167" y="586"/>
                  </a:lnTo>
                  <a:lnTo>
                    <a:pt x="1167" y="588"/>
                  </a:lnTo>
                  <a:lnTo>
                    <a:pt x="1167" y="588"/>
                  </a:lnTo>
                  <a:lnTo>
                    <a:pt x="1167" y="588"/>
                  </a:lnTo>
                  <a:lnTo>
                    <a:pt x="1169" y="588"/>
                  </a:lnTo>
                  <a:lnTo>
                    <a:pt x="1169" y="588"/>
                  </a:lnTo>
                  <a:lnTo>
                    <a:pt x="1172" y="586"/>
                  </a:lnTo>
                  <a:lnTo>
                    <a:pt x="1172" y="586"/>
                  </a:lnTo>
                  <a:lnTo>
                    <a:pt x="1172" y="584"/>
                  </a:lnTo>
                  <a:close/>
                  <a:moveTo>
                    <a:pt x="1178" y="551"/>
                  </a:moveTo>
                  <a:lnTo>
                    <a:pt x="1178" y="551"/>
                  </a:lnTo>
                  <a:lnTo>
                    <a:pt x="1178" y="549"/>
                  </a:lnTo>
                  <a:lnTo>
                    <a:pt x="1178" y="551"/>
                  </a:lnTo>
                  <a:lnTo>
                    <a:pt x="1178" y="551"/>
                  </a:lnTo>
                  <a:lnTo>
                    <a:pt x="1178" y="551"/>
                  </a:lnTo>
                  <a:lnTo>
                    <a:pt x="1180" y="551"/>
                  </a:lnTo>
                  <a:lnTo>
                    <a:pt x="1180" y="551"/>
                  </a:lnTo>
                  <a:lnTo>
                    <a:pt x="1180" y="551"/>
                  </a:lnTo>
                  <a:lnTo>
                    <a:pt x="1182" y="551"/>
                  </a:lnTo>
                  <a:lnTo>
                    <a:pt x="1182" y="551"/>
                  </a:lnTo>
                  <a:lnTo>
                    <a:pt x="1182" y="549"/>
                  </a:lnTo>
                  <a:lnTo>
                    <a:pt x="1182" y="549"/>
                  </a:lnTo>
                  <a:lnTo>
                    <a:pt x="1182" y="549"/>
                  </a:lnTo>
                  <a:lnTo>
                    <a:pt x="1182" y="549"/>
                  </a:lnTo>
                  <a:lnTo>
                    <a:pt x="1182" y="549"/>
                  </a:lnTo>
                  <a:lnTo>
                    <a:pt x="1182" y="549"/>
                  </a:lnTo>
                  <a:lnTo>
                    <a:pt x="1180" y="549"/>
                  </a:lnTo>
                  <a:lnTo>
                    <a:pt x="1180" y="549"/>
                  </a:lnTo>
                  <a:lnTo>
                    <a:pt x="1180" y="549"/>
                  </a:lnTo>
                  <a:lnTo>
                    <a:pt x="1180" y="547"/>
                  </a:lnTo>
                  <a:lnTo>
                    <a:pt x="1180" y="547"/>
                  </a:lnTo>
                  <a:lnTo>
                    <a:pt x="1180" y="547"/>
                  </a:lnTo>
                  <a:lnTo>
                    <a:pt x="1178" y="549"/>
                  </a:lnTo>
                  <a:lnTo>
                    <a:pt x="1178" y="549"/>
                  </a:lnTo>
                  <a:lnTo>
                    <a:pt x="1178" y="549"/>
                  </a:lnTo>
                  <a:lnTo>
                    <a:pt x="1178" y="549"/>
                  </a:lnTo>
                  <a:lnTo>
                    <a:pt x="1178" y="549"/>
                  </a:lnTo>
                  <a:lnTo>
                    <a:pt x="1178" y="549"/>
                  </a:lnTo>
                  <a:lnTo>
                    <a:pt x="1178" y="551"/>
                  </a:lnTo>
                  <a:lnTo>
                    <a:pt x="1178" y="551"/>
                  </a:lnTo>
                  <a:close/>
                  <a:moveTo>
                    <a:pt x="1215" y="611"/>
                  </a:moveTo>
                  <a:lnTo>
                    <a:pt x="1215" y="611"/>
                  </a:lnTo>
                  <a:lnTo>
                    <a:pt x="1215" y="613"/>
                  </a:lnTo>
                  <a:lnTo>
                    <a:pt x="1215" y="613"/>
                  </a:lnTo>
                  <a:lnTo>
                    <a:pt x="1215" y="611"/>
                  </a:lnTo>
                  <a:lnTo>
                    <a:pt x="1215" y="611"/>
                  </a:lnTo>
                  <a:lnTo>
                    <a:pt x="1215" y="611"/>
                  </a:lnTo>
                  <a:lnTo>
                    <a:pt x="1215" y="611"/>
                  </a:lnTo>
                  <a:close/>
                  <a:moveTo>
                    <a:pt x="1190" y="570"/>
                  </a:moveTo>
                  <a:lnTo>
                    <a:pt x="1190" y="570"/>
                  </a:lnTo>
                  <a:lnTo>
                    <a:pt x="1192" y="566"/>
                  </a:lnTo>
                  <a:lnTo>
                    <a:pt x="1192" y="566"/>
                  </a:lnTo>
                  <a:lnTo>
                    <a:pt x="1188" y="566"/>
                  </a:lnTo>
                  <a:lnTo>
                    <a:pt x="1188" y="566"/>
                  </a:lnTo>
                  <a:lnTo>
                    <a:pt x="1190" y="566"/>
                  </a:lnTo>
                  <a:lnTo>
                    <a:pt x="1190" y="564"/>
                  </a:lnTo>
                  <a:lnTo>
                    <a:pt x="1188" y="564"/>
                  </a:lnTo>
                  <a:lnTo>
                    <a:pt x="1188" y="564"/>
                  </a:lnTo>
                  <a:lnTo>
                    <a:pt x="1186" y="566"/>
                  </a:lnTo>
                  <a:lnTo>
                    <a:pt x="1186" y="566"/>
                  </a:lnTo>
                  <a:lnTo>
                    <a:pt x="1186" y="566"/>
                  </a:lnTo>
                  <a:lnTo>
                    <a:pt x="1188" y="568"/>
                  </a:lnTo>
                  <a:lnTo>
                    <a:pt x="1188" y="568"/>
                  </a:lnTo>
                  <a:lnTo>
                    <a:pt x="1188" y="568"/>
                  </a:lnTo>
                  <a:lnTo>
                    <a:pt x="1188" y="568"/>
                  </a:lnTo>
                  <a:lnTo>
                    <a:pt x="1188" y="568"/>
                  </a:lnTo>
                  <a:lnTo>
                    <a:pt x="1188" y="568"/>
                  </a:lnTo>
                  <a:lnTo>
                    <a:pt x="1188" y="568"/>
                  </a:lnTo>
                  <a:lnTo>
                    <a:pt x="1186" y="568"/>
                  </a:lnTo>
                  <a:lnTo>
                    <a:pt x="1186" y="570"/>
                  </a:lnTo>
                  <a:lnTo>
                    <a:pt x="1186" y="570"/>
                  </a:lnTo>
                  <a:lnTo>
                    <a:pt x="1186" y="570"/>
                  </a:lnTo>
                  <a:lnTo>
                    <a:pt x="1186" y="570"/>
                  </a:lnTo>
                  <a:lnTo>
                    <a:pt x="1188" y="570"/>
                  </a:lnTo>
                  <a:lnTo>
                    <a:pt x="1188" y="570"/>
                  </a:lnTo>
                  <a:lnTo>
                    <a:pt x="1188" y="572"/>
                  </a:lnTo>
                  <a:lnTo>
                    <a:pt x="1188" y="572"/>
                  </a:lnTo>
                  <a:lnTo>
                    <a:pt x="1186" y="572"/>
                  </a:lnTo>
                  <a:lnTo>
                    <a:pt x="1186" y="572"/>
                  </a:lnTo>
                  <a:lnTo>
                    <a:pt x="1186" y="572"/>
                  </a:lnTo>
                  <a:lnTo>
                    <a:pt x="1186" y="572"/>
                  </a:lnTo>
                  <a:lnTo>
                    <a:pt x="1186" y="572"/>
                  </a:lnTo>
                  <a:lnTo>
                    <a:pt x="1184" y="572"/>
                  </a:lnTo>
                  <a:lnTo>
                    <a:pt x="1184" y="572"/>
                  </a:lnTo>
                  <a:lnTo>
                    <a:pt x="1184" y="574"/>
                  </a:lnTo>
                  <a:lnTo>
                    <a:pt x="1184" y="576"/>
                  </a:lnTo>
                  <a:lnTo>
                    <a:pt x="1184" y="576"/>
                  </a:lnTo>
                  <a:lnTo>
                    <a:pt x="1184" y="576"/>
                  </a:lnTo>
                  <a:lnTo>
                    <a:pt x="1184" y="578"/>
                  </a:lnTo>
                  <a:lnTo>
                    <a:pt x="1182" y="578"/>
                  </a:lnTo>
                  <a:lnTo>
                    <a:pt x="1180" y="582"/>
                  </a:lnTo>
                  <a:lnTo>
                    <a:pt x="1180" y="582"/>
                  </a:lnTo>
                  <a:lnTo>
                    <a:pt x="1176" y="584"/>
                  </a:lnTo>
                  <a:lnTo>
                    <a:pt x="1176" y="586"/>
                  </a:lnTo>
                  <a:lnTo>
                    <a:pt x="1176" y="586"/>
                  </a:lnTo>
                  <a:lnTo>
                    <a:pt x="1176" y="586"/>
                  </a:lnTo>
                  <a:lnTo>
                    <a:pt x="1176" y="586"/>
                  </a:lnTo>
                  <a:lnTo>
                    <a:pt x="1176" y="588"/>
                  </a:lnTo>
                  <a:lnTo>
                    <a:pt x="1174" y="588"/>
                  </a:lnTo>
                  <a:lnTo>
                    <a:pt x="1174" y="588"/>
                  </a:lnTo>
                  <a:lnTo>
                    <a:pt x="1174" y="590"/>
                  </a:lnTo>
                  <a:lnTo>
                    <a:pt x="1174" y="590"/>
                  </a:lnTo>
                  <a:lnTo>
                    <a:pt x="1174" y="590"/>
                  </a:lnTo>
                  <a:lnTo>
                    <a:pt x="1176" y="590"/>
                  </a:lnTo>
                  <a:lnTo>
                    <a:pt x="1174" y="592"/>
                  </a:lnTo>
                  <a:lnTo>
                    <a:pt x="1174" y="592"/>
                  </a:lnTo>
                  <a:lnTo>
                    <a:pt x="1174" y="592"/>
                  </a:lnTo>
                  <a:lnTo>
                    <a:pt x="1172" y="592"/>
                  </a:lnTo>
                  <a:lnTo>
                    <a:pt x="1172" y="592"/>
                  </a:lnTo>
                  <a:lnTo>
                    <a:pt x="1172" y="594"/>
                  </a:lnTo>
                  <a:lnTo>
                    <a:pt x="1172" y="596"/>
                  </a:lnTo>
                  <a:lnTo>
                    <a:pt x="1172" y="596"/>
                  </a:lnTo>
                  <a:lnTo>
                    <a:pt x="1172" y="596"/>
                  </a:lnTo>
                  <a:lnTo>
                    <a:pt x="1172" y="596"/>
                  </a:lnTo>
                  <a:lnTo>
                    <a:pt x="1172" y="596"/>
                  </a:lnTo>
                  <a:lnTo>
                    <a:pt x="1174" y="596"/>
                  </a:lnTo>
                  <a:lnTo>
                    <a:pt x="1174" y="596"/>
                  </a:lnTo>
                  <a:lnTo>
                    <a:pt x="1176" y="594"/>
                  </a:lnTo>
                  <a:lnTo>
                    <a:pt x="1178" y="594"/>
                  </a:lnTo>
                  <a:lnTo>
                    <a:pt x="1178" y="594"/>
                  </a:lnTo>
                  <a:lnTo>
                    <a:pt x="1178" y="592"/>
                  </a:lnTo>
                  <a:lnTo>
                    <a:pt x="1180" y="592"/>
                  </a:lnTo>
                  <a:lnTo>
                    <a:pt x="1182" y="592"/>
                  </a:lnTo>
                  <a:lnTo>
                    <a:pt x="1182" y="592"/>
                  </a:lnTo>
                  <a:lnTo>
                    <a:pt x="1182" y="590"/>
                  </a:lnTo>
                  <a:lnTo>
                    <a:pt x="1182" y="590"/>
                  </a:lnTo>
                  <a:lnTo>
                    <a:pt x="1182" y="588"/>
                  </a:lnTo>
                  <a:lnTo>
                    <a:pt x="1182" y="588"/>
                  </a:lnTo>
                  <a:lnTo>
                    <a:pt x="1182" y="588"/>
                  </a:lnTo>
                  <a:lnTo>
                    <a:pt x="1182" y="588"/>
                  </a:lnTo>
                  <a:lnTo>
                    <a:pt x="1182" y="588"/>
                  </a:lnTo>
                  <a:lnTo>
                    <a:pt x="1182" y="586"/>
                  </a:lnTo>
                  <a:lnTo>
                    <a:pt x="1182" y="586"/>
                  </a:lnTo>
                  <a:lnTo>
                    <a:pt x="1184" y="586"/>
                  </a:lnTo>
                  <a:lnTo>
                    <a:pt x="1184" y="584"/>
                  </a:lnTo>
                  <a:lnTo>
                    <a:pt x="1184" y="584"/>
                  </a:lnTo>
                  <a:lnTo>
                    <a:pt x="1184" y="584"/>
                  </a:lnTo>
                  <a:lnTo>
                    <a:pt x="1184" y="584"/>
                  </a:lnTo>
                  <a:lnTo>
                    <a:pt x="1184" y="582"/>
                  </a:lnTo>
                  <a:lnTo>
                    <a:pt x="1186" y="580"/>
                  </a:lnTo>
                  <a:lnTo>
                    <a:pt x="1188" y="578"/>
                  </a:lnTo>
                  <a:lnTo>
                    <a:pt x="1192" y="572"/>
                  </a:lnTo>
                  <a:lnTo>
                    <a:pt x="1192" y="570"/>
                  </a:lnTo>
                  <a:lnTo>
                    <a:pt x="1194" y="568"/>
                  </a:lnTo>
                  <a:lnTo>
                    <a:pt x="1194" y="568"/>
                  </a:lnTo>
                  <a:lnTo>
                    <a:pt x="1194" y="568"/>
                  </a:lnTo>
                  <a:lnTo>
                    <a:pt x="1194" y="568"/>
                  </a:lnTo>
                  <a:lnTo>
                    <a:pt x="1194" y="568"/>
                  </a:lnTo>
                  <a:lnTo>
                    <a:pt x="1194" y="568"/>
                  </a:lnTo>
                  <a:lnTo>
                    <a:pt x="1190" y="570"/>
                  </a:lnTo>
                  <a:close/>
                  <a:moveTo>
                    <a:pt x="1184" y="537"/>
                  </a:moveTo>
                  <a:lnTo>
                    <a:pt x="1184" y="537"/>
                  </a:lnTo>
                  <a:lnTo>
                    <a:pt x="1184" y="537"/>
                  </a:lnTo>
                  <a:lnTo>
                    <a:pt x="1182" y="537"/>
                  </a:lnTo>
                  <a:lnTo>
                    <a:pt x="1182" y="537"/>
                  </a:lnTo>
                  <a:lnTo>
                    <a:pt x="1182" y="539"/>
                  </a:lnTo>
                  <a:lnTo>
                    <a:pt x="1182" y="539"/>
                  </a:lnTo>
                  <a:lnTo>
                    <a:pt x="1182" y="539"/>
                  </a:lnTo>
                  <a:lnTo>
                    <a:pt x="1182" y="539"/>
                  </a:lnTo>
                  <a:lnTo>
                    <a:pt x="1182" y="539"/>
                  </a:lnTo>
                  <a:lnTo>
                    <a:pt x="1182" y="539"/>
                  </a:lnTo>
                  <a:lnTo>
                    <a:pt x="1182" y="539"/>
                  </a:lnTo>
                  <a:lnTo>
                    <a:pt x="1182" y="539"/>
                  </a:lnTo>
                  <a:lnTo>
                    <a:pt x="1182" y="539"/>
                  </a:lnTo>
                  <a:lnTo>
                    <a:pt x="1182" y="539"/>
                  </a:lnTo>
                  <a:lnTo>
                    <a:pt x="1184" y="539"/>
                  </a:lnTo>
                  <a:lnTo>
                    <a:pt x="1184" y="539"/>
                  </a:lnTo>
                  <a:lnTo>
                    <a:pt x="1184" y="539"/>
                  </a:lnTo>
                  <a:lnTo>
                    <a:pt x="1184" y="539"/>
                  </a:lnTo>
                  <a:lnTo>
                    <a:pt x="1184" y="539"/>
                  </a:lnTo>
                  <a:lnTo>
                    <a:pt x="1184" y="539"/>
                  </a:lnTo>
                  <a:lnTo>
                    <a:pt x="1184" y="539"/>
                  </a:lnTo>
                  <a:lnTo>
                    <a:pt x="1184" y="539"/>
                  </a:lnTo>
                  <a:lnTo>
                    <a:pt x="1184" y="539"/>
                  </a:lnTo>
                  <a:lnTo>
                    <a:pt x="1184" y="539"/>
                  </a:lnTo>
                  <a:lnTo>
                    <a:pt x="1184" y="539"/>
                  </a:lnTo>
                  <a:lnTo>
                    <a:pt x="1186" y="539"/>
                  </a:lnTo>
                  <a:lnTo>
                    <a:pt x="1186" y="539"/>
                  </a:lnTo>
                  <a:lnTo>
                    <a:pt x="1186" y="539"/>
                  </a:lnTo>
                  <a:lnTo>
                    <a:pt x="1188" y="537"/>
                  </a:lnTo>
                  <a:lnTo>
                    <a:pt x="1186" y="537"/>
                  </a:lnTo>
                  <a:lnTo>
                    <a:pt x="1186" y="537"/>
                  </a:lnTo>
                  <a:lnTo>
                    <a:pt x="1186" y="537"/>
                  </a:lnTo>
                  <a:lnTo>
                    <a:pt x="1186" y="537"/>
                  </a:lnTo>
                  <a:lnTo>
                    <a:pt x="1186" y="537"/>
                  </a:lnTo>
                  <a:lnTo>
                    <a:pt x="1186" y="537"/>
                  </a:lnTo>
                  <a:lnTo>
                    <a:pt x="1186" y="539"/>
                  </a:lnTo>
                  <a:lnTo>
                    <a:pt x="1186" y="539"/>
                  </a:lnTo>
                  <a:lnTo>
                    <a:pt x="1186" y="539"/>
                  </a:lnTo>
                  <a:lnTo>
                    <a:pt x="1186" y="539"/>
                  </a:lnTo>
                  <a:lnTo>
                    <a:pt x="1186" y="537"/>
                  </a:lnTo>
                  <a:lnTo>
                    <a:pt x="1186" y="537"/>
                  </a:lnTo>
                  <a:lnTo>
                    <a:pt x="1186" y="537"/>
                  </a:lnTo>
                  <a:lnTo>
                    <a:pt x="1186" y="537"/>
                  </a:lnTo>
                  <a:lnTo>
                    <a:pt x="1186" y="537"/>
                  </a:lnTo>
                  <a:lnTo>
                    <a:pt x="1186" y="537"/>
                  </a:lnTo>
                  <a:lnTo>
                    <a:pt x="1186" y="537"/>
                  </a:lnTo>
                  <a:lnTo>
                    <a:pt x="1184" y="537"/>
                  </a:lnTo>
                  <a:lnTo>
                    <a:pt x="1184" y="537"/>
                  </a:lnTo>
                  <a:lnTo>
                    <a:pt x="1184" y="537"/>
                  </a:lnTo>
                  <a:lnTo>
                    <a:pt x="1184" y="537"/>
                  </a:lnTo>
                  <a:lnTo>
                    <a:pt x="1184" y="537"/>
                  </a:lnTo>
                  <a:lnTo>
                    <a:pt x="1184" y="537"/>
                  </a:lnTo>
                  <a:lnTo>
                    <a:pt x="1184" y="537"/>
                  </a:lnTo>
                  <a:lnTo>
                    <a:pt x="1184" y="537"/>
                  </a:lnTo>
                  <a:lnTo>
                    <a:pt x="1184" y="537"/>
                  </a:lnTo>
                  <a:lnTo>
                    <a:pt x="1184" y="537"/>
                  </a:lnTo>
                  <a:lnTo>
                    <a:pt x="1184" y="537"/>
                  </a:lnTo>
                  <a:close/>
                  <a:moveTo>
                    <a:pt x="1231" y="564"/>
                  </a:moveTo>
                  <a:lnTo>
                    <a:pt x="1229" y="564"/>
                  </a:lnTo>
                  <a:lnTo>
                    <a:pt x="1229" y="564"/>
                  </a:lnTo>
                  <a:lnTo>
                    <a:pt x="1229" y="564"/>
                  </a:lnTo>
                  <a:lnTo>
                    <a:pt x="1229" y="564"/>
                  </a:lnTo>
                  <a:lnTo>
                    <a:pt x="1229" y="564"/>
                  </a:lnTo>
                  <a:lnTo>
                    <a:pt x="1229" y="564"/>
                  </a:lnTo>
                  <a:lnTo>
                    <a:pt x="1229" y="564"/>
                  </a:lnTo>
                  <a:lnTo>
                    <a:pt x="1229" y="562"/>
                  </a:lnTo>
                  <a:lnTo>
                    <a:pt x="1229" y="562"/>
                  </a:lnTo>
                  <a:lnTo>
                    <a:pt x="1227" y="562"/>
                  </a:lnTo>
                  <a:lnTo>
                    <a:pt x="1227" y="562"/>
                  </a:lnTo>
                  <a:lnTo>
                    <a:pt x="1227" y="562"/>
                  </a:lnTo>
                  <a:lnTo>
                    <a:pt x="1227" y="562"/>
                  </a:lnTo>
                  <a:lnTo>
                    <a:pt x="1227" y="562"/>
                  </a:lnTo>
                  <a:lnTo>
                    <a:pt x="1229" y="564"/>
                  </a:lnTo>
                  <a:lnTo>
                    <a:pt x="1229" y="564"/>
                  </a:lnTo>
                  <a:lnTo>
                    <a:pt x="1229" y="564"/>
                  </a:lnTo>
                  <a:lnTo>
                    <a:pt x="1229" y="564"/>
                  </a:lnTo>
                  <a:lnTo>
                    <a:pt x="1229" y="564"/>
                  </a:lnTo>
                  <a:lnTo>
                    <a:pt x="1229" y="564"/>
                  </a:lnTo>
                  <a:lnTo>
                    <a:pt x="1229" y="564"/>
                  </a:lnTo>
                  <a:lnTo>
                    <a:pt x="1231" y="564"/>
                  </a:lnTo>
                  <a:lnTo>
                    <a:pt x="1231" y="564"/>
                  </a:lnTo>
                  <a:lnTo>
                    <a:pt x="1231" y="564"/>
                  </a:lnTo>
                  <a:lnTo>
                    <a:pt x="1231" y="564"/>
                  </a:lnTo>
                  <a:close/>
                  <a:moveTo>
                    <a:pt x="1237" y="566"/>
                  </a:moveTo>
                  <a:lnTo>
                    <a:pt x="1235" y="566"/>
                  </a:lnTo>
                  <a:lnTo>
                    <a:pt x="1235" y="564"/>
                  </a:lnTo>
                  <a:lnTo>
                    <a:pt x="1233" y="564"/>
                  </a:lnTo>
                  <a:lnTo>
                    <a:pt x="1233" y="564"/>
                  </a:lnTo>
                  <a:lnTo>
                    <a:pt x="1233" y="564"/>
                  </a:lnTo>
                  <a:lnTo>
                    <a:pt x="1233" y="564"/>
                  </a:lnTo>
                  <a:lnTo>
                    <a:pt x="1235" y="566"/>
                  </a:lnTo>
                  <a:lnTo>
                    <a:pt x="1235" y="566"/>
                  </a:lnTo>
                  <a:lnTo>
                    <a:pt x="1235" y="566"/>
                  </a:lnTo>
                  <a:lnTo>
                    <a:pt x="1237" y="566"/>
                  </a:lnTo>
                  <a:lnTo>
                    <a:pt x="1237" y="566"/>
                  </a:lnTo>
                  <a:lnTo>
                    <a:pt x="1237" y="566"/>
                  </a:lnTo>
                  <a:lnTo>
                    <a:pt x="1237" y="566"/>
                  </a:lnTo>
                  <a:lnTo>
                    <a:pt x="1237" y="566"/>
                  </a:lnTo>
                  <a:close/>
                  <a:moveTo>
                    <a:pt x="1223" y="562"/>
                  </a:moveTo>
                  <a:lnTo>
                    <a:pt x="1225" y="562"/>
                  </a:lnTo>
                  <a:lnTo>
                    <a:pt x="1225" y="562"/>
                  </a:lnTo>
                  <a:lnTo>
                    <a:pt x="1225" y="562"/>
                  </a:lnTo>
                  <a:lnTo>
                    <a:pt x="1225" y="562"/>
                  </a:lnTo>
                  <a:lnTo>
                    <a:pt x="1223" y="562"/>
                  </a:lnTo>
                  <a:close/>
                  <a:moveTo>
                    <a:pt x="1223" y="562"/>
                  </a:moveTo>
                  <a:lnTo>
                    <a:pt x="1223" y="562"/>
                  </a:lnTo>
                  <a:lnTo>
                    <a:pt x="1223" y="562"/>
                  </a:lnTo>
                  <a:lnTo>
                    <a:pt x="1223" y="562"/>
                  </a:lnTo>
                  <a:lnTo>
                    <a:pt x="1223" y="562"/>
                  </a:lnTo>
                  <a:close/>
                  <a:moveTo>
                    <a:pt x="1219" y="551"/>
                  </a:moveTo>
                  <a:lnTo>
                    <a:pt x="1221" y="549"/>
                  </a:lnTo>
                  <a:lnTo>
                    <a:pt x="1221" y="549"/>
                  </a:lnTo>
                  <a:lnTo>
                    <a:pt x="1223" y="549"/>
                  </a:lnTo>
                  <a:lnTo>
                    <a:pt x="1223" y="549"/>
                  </a:lnTo>
                  <a:lnTo>
                    <a:pt x="1223" y="549"/>
                  </a:lnTo>
                  <a:lnTo>
                    <a:pt x="1223" y="549"/>
                  </a:lnTo>
                  <a:lnTo>
                    <a:pt x="1221" y="549"/>
                  </a:lnTo>
                  <a:lnTo>
                    <a:pt x="1221" y="547"/>
                  </a:lnTo>
                  <a:lnTo>
                    <a:pt x="1223" y="547"/>
                  </a:lnTo>
                  <a:lnTo>
                    <a:pt x="1221" y="547"/>
                  </a:lnTo>
                  <a:lnTo>
                    <a:pt x="1221" y="549"/>
                  </a:lnTo>
                  <a:lnTo>
                    <a:pt x="1219" y="549"/>
                  </a:lnTo>
                  <a:lnTo>
                    <a:pt x="1217" y="549"/>
                  </a:lnTo>
                  <a:lnTo>
                    <a:pt x="1217" y="551"/>
                  </a:lnTo>
                  <a:lnTo>
                    <a:pt x="1217" y="551"/>
                  </a:lnTo>
                  <a:lnTo>
                    <a:pt x="1217" y="551"/>
                  </a:lnTo>
                  <a:lnTo>
                    <a:pt x="1217" y="551"/>
                  </a:lnTo>
                  <a:lnTo>
                    <a:pt x="1215" y="551"/>
                  </a:lnTo>
                  <a:lnTo>
                    <a:pt x="1212" y="553"/>
                  </a:lnTo>
                  <a:lnTo>
                    <a:pt x="1215" y="553"/>
                  </a:lnTo>
                  <a:lnTo>
                    <a:pt x="1215" y="553"/>
                  </a:lnTo>
                  <a:lnTo>
                    <a:pt x="1212" y="553"/>
                  </a:lnTo>
                  <a:lnTo>
                    <a:pt x="1208" y="555"/>
                  </a:lnTo>
                  <a:lnTo>
                    <a:pt x="1208" y="555"/>
                  </a:lnTo>
                  <a:lnTo>
                    <a:pt x="1208" y="555"/>
                  </a:lnTo>
                  <a:lnTo>
                    <a:pt x="1208" y="557"/>
                  </a:lnTo>
                  <a:lnTo>
                    <a:pt x="1208" y="557"/>
                  </a:lnTo>
                  <a:lnTo>
                    <a:pt x="1215" y="555"/>
                  </a:lnTo>
                  <a:lnTo>
                    <a:pt x="1215" y="555"/>
                  </a:lnTo>
                  <a:lnTo>
                    <a:pt x="1217" y="553"/>
                  </a:lnTo>
                  <a:lnTo>
                    <a:pt x="1217" y="553"/>
                  </a:lnTo>
                  <a:lnTo>
                    <a:pt x="1219" y="553"/>
                  </a:lnTo>
                  <a:lnTo>
                    <a:pt x="1219" y="551"/>
                  </a:lnTo>
                  <a:close/>
                  <a:moveTo>
                    <a:pt x="1221" y="559"/>
                  </a:moveTo>
                  <a:lnTo>
                    <a:pt x="1221" y="559"/>
                  </a:lnTo>
                  <a:lnTo>
                    <a:pt x="1221" y="559"/>
                  </a:lnTo>
                  <a:lnTo>
                    <a:pt x="1221" y="559"/>
                  </a:lnTo>
                  <a:lnTo>
                    <a:pt x="1221" y="559"/>
                  </a:lnTo>
                  <a:lnTo>
                    <a:pt x="1221" y="559"/>
                  </a:lnTo>
                  <a:lnTo>
                    <a:pt x="1221" y="559"/>
                  </a:lnTo>
                  <a:close/>
                  <a:moveTo>
                    <a:pt x="1212" y="559"/>
                  </a:moveTo>
                  <a:lnTo>
                    <a:pt x="1212" y="559"/>
                  </a:lnTo>
                  <a:lnTo>
                    <a:pt x="1215" y="559"/>
                  </a:lnTo>
                  <a:lnTo>
                    <a:pt x="1215" y="559"/>
                  </a:lnTo>
                  <a:lnTo>
                    <a:pt x="1212" y="557"/>
                  </a:lnTo>
                  <a:lnTo>
                    <a:pt x="1212" y="557"/>
                  </a:lnTo>
                  <a:lnTo>
                    <a:pt x="1210" y="559"/>
                  </a:lnTo>
                  <a:lnTo>
                    <a:pt x="1208" y="559"/>
                  </a:lnTo>
                  <a:lnTo>
                    <a:pt x="1208" y="559"/>
                  </a:lnTo>
                  <a:lnTo>
                    <a:pt x="1208" y="559"/>
                  </a:lnTo>
                  <a:lnTo>
                    <a:pt x="1208" y="557"/>
                  </a:lnTo>
                  <a:lnTo>
                    <a:pt x="1208" y="557"/>
                  </a:lnTo>
                  <a:lnTo>
                    <a:pt x="1206" y="557"/>
                  </a:lnTo>
                  <a:lnTo>
                    <a:pt x="1206" y="557"/>
                  </a:lnTo>
                  <a:lnTo>
                    <a:pt x="1206" y="557"/>
                  </a:lnTo>
                  <a:lnTo>
                    <a:pt x="1204" y="557"/>
                  </a:lnTo>
                  <a:lnTo>
                    <a:pt x="1202" y="557"/>
                  </a:lnTo>
                  <a:lnTo>
                    <a:pt x="1202" y="557"/>
                  </a:lnTo>
                  <a:lnTo>
                    <a:pt x="1202" y="557"/>
                  </a:lnTo>
                  <a:lnTo>
                    <a:pt x="1202" y="557"/>
                  </a:lnTo>
                  <a:lnTo>
                    <a:pt x="1202" y="557"/>
                  </a:lnTo>
                  <a:lnTo>
                    <a:pt x="1202" y="557"/>
                  </a:lnTo>
                  <a:lnTo>
                    <a:pt x="1202" y="557"/>
                  </a:lnTo>
                  <a:lnTo>
                    <a:pt x="1200" y="557"/>
                  </a:lnTo>
                  <a:lnTo>
                    <a:pt x="1200" y="557"/>
                  </a:lnTo>
                  <a:lnTo>
                    <a:pt x="1200" y="559"/>
                  </a:lnTo>
                  <a:lnTo>
                    <a:pt x="1200" y="559"/>
                  </a:lnTo>
                  <a:lnTo>
                    <a:pt x="1200" y="559"/>
                  </a:lnTo>
                  <a:lnTo>
                    <a:pt x="1200" y="559"/>
                  </a:lnTo>
                  <a:lnTo>
                    <a:pt x="1198" y="562"/>
                  </a:lnTo>
                  <a:lnTo>
                    <a:pt x="1198" y="564"/>
                  </a:lnTo>
                  <a:lnTo>
                    <a:pt x="1200" y="564"/>
                  </a:lnTo>
                  <a:lnTo>
                    <a:pt x="1200" y="566"/>
                  </a:lnTo>
                  <a:lnTo>
                    <a:pt x="1202" y="564"/>
                  </a:lnTo>
                  <a:lnTo>
                    <a:pt x="1200" y="564"/>
                  </a:lnTo>
                  <a:lnTo>
                    <a:pt x="1202" y="564"/>
                  </a:lnTo>
                  <a:lnTo>
                    <a:pt x="1202" y="564"/>
                  </a:lnTo>
                  <a:lnTo>
                    <a:pt x="1202" y="564"/>
                  </a:lnTo>
                  <a:lnTo>
                    <a:pt x="1202" y="564"/>
                  </a:lnTo>
                  <a:lnTo>
                    <a:pt x="1202" y="564"/>
                  </a:lnTo>
                  <a:lnTo>
                    <a:pt x="1204" y="564"/>
                  </a:lnTo>
                  <a:lnTo>
                    <a:pt x="1204" y="564"/>
                  </a:lnTo>
                  <a:lnTo>
                    <a:pt x="1200" y="566"/>
                  </a:lnTo>
                  <a:lnTo>
                    <a:pt x="1200" y="568"/>
                  </a:lnTo>
                  <a:lnTo>
                    <a:pt x="1200" y="568"/>
                  </a:lnTo>
                  <a:lnTo>
                    <a:pt x="1202" y="570"/>
                  </a:lnTo>
                  <a:lnTo>
                    <a:pt x="1202" y="570"/>
                  </a:lnTo>
                  <a:lnTo>
                    <a:pt x="1202" y="570"/>
                  </a:lnTo>
                  <a:lnTo>
                    <a:pt x="1202" y="570"/>
                  </a:lnTo>
                  <a:lnTo>
                    <a:pt x="1204" y="568"/>
                  </a:lnTo>
                  <a:lnTo>
                    <a:pt x="1204" y="566"/>
                  </a:lnTo>
                  <a:lnTo>
                    <a:pt x="1208" y="564"/>
                  </a:lnTo>
                  <a:lnTo>
                    <a:pt x="1210" y="564"/>
                  </a:lnTo>
                  <a:lnTo>
                    <a:pt x="1210" y="564"/>
                  </a:lnTo>
                  <a:lnTo>
                    <a:pt x="1212" y="564"/>
                  </a:lnTo>
                  <a:lnTo>
                    <a:pt x="1212" y="562"/>
                  </a:lnTo>
                  <a:lnTo>
                    <a:pt x="1212" y="562"/>
                  </a:lnTo>
                  <a:lnTo>
                    <a:pt x="1212" y="562"/>
                  </a:lnTo>
                  <a:lnTo>
                    <a:pt x="1212" y="562"/>
                  </a:lnTo>
                  <a:lnTo>
                    <a:pt x="1212" y="562"/>
                  </a:lnTo>
                  <a:lnTo>
                    <a:pt x="1212" y="562"/>
                  </a:lnTo>
                  <a:lnTo>
                    <a:pt x="1215" y="559"/>
                  </a:lnTo>
                  <a:lnTo>
                    <a:pt x="1215" y="559"/>
                  </a:lnTo>
                  <a:lnTo>
                    <a:pt x="1215" y="559"/>
                  </a:lnTo>
                  <a:lnTo>
                    <a:pt x="1215" y="559"/>
                  </a:lnTo>
                  <a:lnTo>
                    <a:pt x="1215" y="559"/>
                  </a:lnTo>
                  <a:lnTo>
                    <a:pt x="1215" y="559"/>
                  </a:lnTo>
                  <a:lnTo>
                    <a:pt x="1212" y="559"/>
                  </a:lnTo>
                  <a:close/>
                </a:path>
              </a:pathLst>
            </a:custGeom>
            <a:solidFill>
              <a:schemeClr val="accent1">
                <a:lumMod val="60000"/>
                <a:lumOff val="40000"/>
              </a:schemeClr>
            </a:solidFill>
            <a:ln w="3175" cap="flat">
              <a:solidFill>
                <a:schemeClr val="bg1"/>
              </a:solidFill>
              <a:prstDash val="solid"/>
              <a:miter lim="800000"/>
              <a:headEnd/>
              <a:tailEnd/>
            </a:ln>
          </p:spPr>
          <p:txBody>
            <a:bodyPr vert="horz" wrap="square" lIns="816000" tIns="0" rIns="0" bIns="480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AK</a:t>
              </a:r>
            </a:p>
          </p:txBody>
        </p:sp>
        <p:sp>
          <p:nvSpPr>
            <p:cNvPr id="115" name="Freeform 25">
              <a:extLst>
                <a:ext uri="{FF2B5EF4-FFF2-40B4-BE49-F238E27FC236}">
                  <a16:creationId xmlns:a16="http://schemas.microsoft.com/office/drawing/2014/main" id="{ED52BC51-9FF6-C03F-84B8-73090157236D}"/>
                </a:ext>
              </a:extLst>
            </p:cNvPr>
            <p:cNvSpPr>
              <a:spLocks/>
            </p:cNvSpPr>
            <p:nvPr/>
          </p:nvSpPr>
          <p:spPr bwMode="auto">
            <a:xfrm>
              <a:off x="4928" y="264"/>
              <a:ext cx="145" cy="291"/>
            </a:xfrm>
            <a:custGeom>
              <a:avLst/>
              <a:gdLst>
                <a:gd name="T0" fmla="*/ 145 w 145"/>
                <a:gd name="T1" fmla="*/ 222 h 291"/>
                <a:gd name="T2" fmla="*/ 141 w 145"/>
                <a:gd name="T3" fmla="*/ 234 h 291"/>
                <a:gd name="T4" fmla="*/ 137 w 145"/>
                <a:gd name="T5" fmla="*/ 244 h 291"/>
                <a:gd name="T6" fmla="*/ 125 w 145"/>
                <a:gd name="T7" fmla="*/ 250 h 291"/>
                <a:gd name="T8" fmla="*/ 121 w 145"/>
                <a:gd name="T9" fmla="*/ 255 h 291"/>
                <a:gd name="T10" fmla="*/ 117 w 145"/>
                <a:gd name="T11" fmla="*/ 255 h 291"/>
                <a:gd name="T12" fmla="*/ 115 w 145"/>
                <a:gd name="T13" fmla="*/ 259 h 291"/>
                <a:gd name="T14" fmla="*/ 113 w 145"/>
                <a:gd name="T15" fmla="*/ 265 h 291"/>
                <a:gd name="T16" fmla="*/ 109 w 145"/>
                <a:gd name="T17" fmla="*/ 269 h 291"/>
                <a:gd name="T18" fmla="*/ 94 w 145"/>
                <a:gd name="T19" fmla="*/ 273 h 291"/>
                <a:gd name="T20" fmla="*/ 66 w 145"/>
                <a:gd name="T21" fmla="*/ 279 h 291"/>
                <a:gd name="T22" fmla="*/ 39 w 145"/>
                <a:gd name="T23" fmla="*/ 285 h 291"/>
                <a:gd name="T24" fmla="*/ 16 w 145"/>
                <a:gd name="T25" fmla="*/ 291 h 291"/>
                <a:gd name="T26" fmla="*/ 16 w 145"/>
                <a:gd name="T27" fmla="*/ 291 h 291"/>
                <a:gd name="T28" fmla="*/ 16 w 145"/>
                <a:gd name="T29" fmla="*/ 291 h 291"/>
                <a:gd name="T30" fmla="*/ 16 w 145"/>
                <a:gd name="T31" fmla="*/ 291 h 291"/>
                <a:gd name="T32" fmla="*/ 6 w 145"/>
                <a:gd name="T33" fmla="*/ 283 h 291"/>
                <a:gd name="T34" fmla="*/ 4 w 145"/>
                <a:gd name="T35" fmla="*/ 277 h 291"/>
                <a:gd name="T36" fmla="*/ 6 w 145"/>
                <a:gd name="T37" fmla="*/ 267 h 291"/>
                <a:gd name="T38" fmla="*/ 6 w 145"/>
                <a:gd name="T39" fmla="*/ 250 h 291"/>
                <a:gd name="T40" fmla="*/ 4 w 145"/>
                <a:gd name="T41" fmla="*/ 240 h 291"/>
                <a:gd name="T42" fmla="*/ 4 w 145"/>
                <a:gd name="T43" fmla="*/ 238 h 291"/>
                <a:gd name="T44" fmla="*/ 6 w 145"/>
                <a:gd name="T45" fmla="*/ 232 h 291"/>
                <a:gd name="T46" fmla="*/ 0 w 145"/>
                <a:gd name="T47" fmla="*/ 203 h 291"/>
                <a:gd name="T48" fmla="*/ 2 w 145"/>
                <a:gd name="T49" fmla="*/ 187 h 291"/>
                <a:gd name="T50" fmla="*/ 8 w 145"/>
                <a:gd name="T51" fmla="*/ 177 h 291"/>
                <a:gd name="T52" fmla="*/ 8 w 145"/>
                <a:gd name="T53" fmla="*/ 164 h 291"/>
                <a:gd name="T54" fmla="*/ 10 w 145"/>
                <a:gd name="T55" fmla="*/ 154 h 291"/>
                <a:gd name="T56" fmla="*/ 8 w 145"/>
                <a:gd name="T57" fmla="*/ 130 h 291"/>
                <a:gd name="T58" fmla="*/ 18 w 145"/>
                <a:gd name="T59" fmla="*/ 115 h 291"/>
                <a:gd name="T60" fmla="*/ 31 w 145"/>
                <a:gd name="T61" fmla="*/ 101 h 291"/>
                <a:gd name="T62" fmla="*/ 37 w 145"/>
                <a:gd name="T63" fmla="*/ 91 h 291"/>
                <a:gd name="T64" fmla="*/ 37 w 145"/>
                <a:gd name="T65" fmla="*/ 84 h 291"/>
                <a:gd name="T66" fmla="*/ 35 w 145"/>
                <a:gd name="T67" fmla="*/ 80 h 291"/>
                <a:gd name="T68" fmla="*/ 27 w 145"/>
                <a:gd name="T69" fmla="*/ 70 h 291"/>
                <a:gd name="T70" fmla="*/ 33 w 145"/>
                <a:gd name="T71" fmla="*/ 50 h 291"/>
                <a:gd name="T72" fmla="*/ 29 w 145"/>
                <a:gd name="T73" fmla="*/ 39 h 291"/>
                <a:gd name="T74" fmla="*/ 29 w 145"/>
                <a:gd name="T75" fmla="*/ 33 h 291"/>
                <a:gd name="T76" fmla="*/ 33 w 145"/>
                <a:gd name="T77" fmla="*/ 19 h 291"/>
                <a:gd name="T78" fmla="*/ 33 w 145"/>
                <a:gd name="T79" fmla="*/ 15 h 291"/>
                <a:gd name="T80" fmla="*/ 39 w 145"/>
                <a:gd name="T81" fmla="*/ 7 h 291"/>
                <a:gd name="T82" fmla="*/ 53 w 145"/>
                <a:gd name="T83" fmla="*/ 2 h 291"/>
                <a:gd name="T84" fmla="*/ 57 w 145"/>
                <a:gd name="T85" fmla="*/ 13 h 291"/>
                <a:gd name="T86" fmla="*/ 66 w 145"/>
                <a:gd name="T87" fmla="*/ 39 h 291"/>
                <a:gd name="T88" fmla="*/ 76 w 145"/>
                <a:gd name="T89" fmla="*/ 66 h 291"/>
                <a:gd name="T90" fmla="*/ 84 w 145"/>
                <a:gd name="T91" fmla="*/ 93 h 291"/>
                <a:gd name="T92" fmla="*/ 92 w 145"/>
                <a:gd name="T93" fmla="*/ 119 h 291"/>
                <a:gd name="T94" fmla="*/ 100 w 145"/>
                <a:gd name="T95" fmla="*/ 146 h 291"/>
                <a:gd name="T96" fmla="*/ 111 w 145"/>
                <a:gd name="T97" fmla="*/ 173 h 291"/>
                <a:gd name="T98" fmla="*/ 113 w 145"/>
                <a:gd name="T99" fmla="*/ 183 h 291"/>
                <a:gd name="T100" fmla="*/ 115 w 145"/>
                <a:gd name="T101" fmla="*/ 187 h 291"/>
                <a:gd name="T102" fmla="*/ 115 w 145"/>
                <a:gd name="T103" fmla="*/ 193 h 291"/>
                <a:gd name="T104" fmla="*/ 127 w 145"/>
                <a:gd name="T105" fmla="*/ 203 h 291"/>
                <a:gd name="T106" fmla="*/ 131 w 145"/>
                <a:gd name="T107" fmla="*/ 207 h 291"/>
                <a:gd name="T108" fmla="*/ 135 w 145"/>
                <a:gd name="T10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5" h="291">
                  <a:moveTo>
                    <a:pt x="141" y="220"/>
                  </a:moveTo>
                  <a:lnTo>
                    <a:pt x="141" y="222"/>
                  </a:lnTo>
                  <a:lnTo>
                    <a:pt x="143" y="222"/>
                  </a:lnTo>
                  <a:lnTo>
                    <a:pt x="143" y="220"/>
                  </a:lnTo>
                  <a:lnTo>
                    <a:pt x="145" y="222"/>
                  </a:lnTo>
                  <a:lnTo>
                    <a:pt x="145" y="222"/>
                  </a:lnTo>
                  <a:lnTo>
                    <a:pt x="145" y="224"/>
                  </a:lnTo>
                  <a:lnTo>
                    <a:pt x="145" y="224"/>
                  </a:lnTo>
                  <a:lnTo>
                    <a:pt x="143" y="226"/>
                  </a:lnTo>
                  <a:lnTo>
                    <a:pt x="141" y="234"/>
                  </a:lnTo>
                  <a:lnTo>
                    <a:pt x="141" y="238"/>
                  </a:lnTo>
                  <a:lnTo>
                    <a:pt x="141" y="240"/>
                  </a:lnTo>
                  <a:lnTo>
                    <a:pt x="141" y="242"/>
                  </a:lnTo>
                  <a:lnTo>
                    <a:pt x="139" y="244"/>
                  </a:lnTo>
                  <a:lnTo>
                    <a:pt x="137" y="244"/>
                  </a:lnTo>
                  <a:lnTo>
                    <a:pt x="133" y="242"/>
                  </a:lnTo>
                  <a:lnTo>
                    <a:pt x="133" y="242"/>
                  </a:lnTo>
                  <a:lnTo>
                    <a:pt x="133" y="244"/>
                  </a:lnTo>
                  <a:lnTo>
                    <a:pt x="125" y="248"/>
                  </a:lnTo>
                  <a:lnTo>
                    <a:pt x="125" y="250"/>
                  </a:lnTo>
                  <a:lnTo>
                    <a:pt x="125" y="250"/>
                  </a:lnTo>
                  <a:lnTo>
                    <a:pt x="123" y="253"/>
                  </a:lnTo>
                  <a:lnTo>
                    <a:pt x="123" y="253"/>
                  </a:lnTo>
                  <a:lnTo>
                    <a:pt x="123" y="253"/>
                  </a:lnTo>
                  <a:lnTo>
                    <a:pt x="121" y="255"/>
                  </a:lnTo>
                  <a:lnTo>
                    <a:pt x="121" y="255"/>
                  </a:lnTo>
                  <a:lnTo>
                    <a:pt x="121" y="255"/>
                  </a:lnTo>
                  <a:lnTo>
                    <a:pt x="119" y="255"/>
                  </a:lnTo>
                  <a:lnTo>
                    <a:pt x="119" y="255"/>
                  </a:lnTo>
                  <a:lnTo>
                    <a:pt x="117" y="255"/>
                  </a:lnTo>
                  <a:lnTo>
                    <a:pt x="117" y="255"/>
                  </a:lnTo>
                  <a:lnTo>
                    <a:pt x="117" y="257"/>
                  </a:lnTo>
                  <a:lnTo>
                    <a:pt x="117" y="257"/>
                  </a:lnTo>
                  <a:lnTo>
                    <a:pt x="117" y="257"/>
                  </a:lnTo>
                  <a:lnTo>
                    <a:pt x="115" y="259"/>
                  </a:lnTo>
                  <a:lnTo>
                    <a:pt x="115" y="261"/>
                  </a:lnTo>
                  <a:lnTo>
                    <a:pt x="115" y="261"/>
                  </a:lnTo>
                  <a:lnTo>
                    <a:pt x="115" y="263"/>
                  </a:lnTo>
                  <a:lnTo>
                    <a:pt x="115" y="263"/>
                  </a:lnTo>
                  <a:lnTo>
                    <a:pt x="113" y="265"/>
                  </a:lnTo>
                  <a:lnTo>
                    <a:pt x="113" y="265"/>
                  </a:lnTo>
                  <a:lnTo>
                    <a:pt x="111" y="265"/>
                  </a:lnTo>
                  <a:lnTo>
                    <a:pt x="111" y="267"/>
                  </a:lnTo>
                  <a:lnTo>
                    <a:pt x="111" y="269"/>
                  </a:lnTo>
                  <a:lnTo>
                    <a:pt x="109" y="269"/>
                  </a:lnTo>
                  <a:lnTo>
                    <a:pt x="109" y="271"/>
                  </a:lnTo>
                  <a:lnTo>
                    <a:pt x="107" y="271"/>
                  </a:lnTo>
                  <a:lnTo>
                    <a:pt x="107" y="271"/>
                  </a:lnTo>
                  <a:lnTo>
                    <a:pt x="100" y="273"/>
                  </a:lnTo>
                  <a:lnTo>
                    <a:pt x="94" y="273"/>
                  </a:lnTo>
                  <a:lnTo>
                    <a:pt x="88" y="275"/>
                  </a:lnTo>
                  <a:lnTo>
                    <a:pt x="84" y="275"/>
                  </a:lnTo>
                  <a:lnTo>
                    <a:pt x="78" y="277"/>
                  </a:lnTo>
                  <a:lnTo>
                    <a:pt x="72" y="279"/>
                  </a:lnTo>
                  <a:lnTo>
                    <a:pt x="66" y="279"/>
                  </a:lnTo>
                  <a:lnTo>
                    <a:pt x="61" y="281"/>
                  </a:lnTo>
                  <a:lnTo>
                    <a:pt x="55" y="283"/>
                  </a:lnTo>
                  <a:lnTo>
                    <a:pt x="49" y="283"/>
                  </a:lnTo>
                  <a:lnTo>
                    <a:pt x="43" y="285"/>
                  </a:lnTo>
                  <a:lnTo>
                    <a:pt x="39" y="285"/>
                  </a:lnTo>
                  <a:lnTo>
                    <a:pt x="33" y="287"/>
                  </a:lnTo>
                  <a:lnTo>
                    <a:pt x="27" y="289"/>
                  </a:lnTo>
                  <a:lnTo>
                    <a:pt x="20" y="289"/>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6" y="291"/>
                  </a:lnTo>
                  <a:lnTo>
                    <a:pt x="14" y="287"/>
                  </a:lnTo>
                  <a:lnTo>
                    <a:pt x="12" y="287"/>
                  </a:lnTo>
                  <a:lnTo>
                    <a:pt x="8" y="283"/>
                  </a:lnTo>
                  <a:lnTo>
                    <a:pt x="6" y="283"/>
                  </a:lnTo>
                  <a:lnTo>
                    <a:pt x="6" y="281"/>
                  </a:lnTo>
                  <a:lnTo>
                    <a:pt x="6" y="281"/>
                  </a:lnTo>
                  <a:lnTo>
                    <a:pt x="4" y="279"/>
                  </a:lnTo>
                  <a:lnTo>
                    <a:pt x="4" y="277"/>
                  </a:lnTo>
                  <a:lnTo>
                    <a:pt x="4" y="277"/>
                  </a:lnTo>
                  <a:lnTo>
                    <a:pt x="4" y="275"/>
                  </a:lnTo>
                  <a:lnTo>
                    <a:pt x="6" y="273"/>
                  </a:lnTo>
                  <a:lnTo>
                    <a:pt x="4" y="269"/>
                  </a:lnTo>
                  <a:lnTo>
                    <a:pt x="4" y="267"/>
                  </a:lnTo>
                  <a:lnTo>
                    <a:pt x="6" y="267"/>
                  </a:lnTo>
                  <a:lnTo>
                    <a:pt x="8" y="265"/>
                  </a:lnTo>
                  <a:lnTo>
                    <a:pt x="8" y="263"/>
                  </a:lnTo>
                  <a:lnTo>
                    <a:pt x="6" y="259"/>
                  </a:lnTo>
                  <a:lnTo>
                    <a:pt x="6" y="253"/>
                  </a:lnTo>
                  <a:lnTo>
                    <a:pt x="6" y="250"/>
                  </a:lnTo>
                  <a:lnTo>
                    <a:pt x="6" y="246"/>
                  </a:lnTo>
                  <a:lnTo>
                    <a:pt x="4" y="246"/>
                  </a:lnTo>
                  <a:lnTo>
                    <a:pt x="4" y="242"/>
                  </a:lnTo>
                  <a:lnTo>
                    <a:pt x="4" y="240"/>
                  </a:lnTo>
                  <a:lnTo>
                    <a:pt x="4" y="240"/>
                  </a:lnTo>
                  <a:lnTo>
                    <a:pt x="4" y="240"/>
                  </a:lnTo>
                  <a:lnTo>
                    <a:pt x="4" y="238"/>
                  </a:lnTo>
                  <a:lnTo>
                    <a:pt x="4" y="238"/>
                  </a:lnTo>
                  <a:lnTo>
                    <a:pt x="4" y="238"/>
                  </a:lnTo>
                  <a:lnTo>
                    <a:pt x="4" y="238"/>
                  </a:lnTo>
                  <a:lnTo>
                    <a:pt x="4" y="236"/>
                  </a:lnTo>
                  <a:lnTo>
                    <a:pt x="4" y="236"/>
                  </a:lnTo>
                  <a:lnTo>
                    <a:pt x="4" y="234"/>
                  </a:lnTo>
                  <a:lnTo>
                    <a:pt x="4" y="234"/>
                  </a:lnTo>
                  <a:lnTo>
                    <a:pt x="6" y="232"/>
                  </a:lnTo>
                  <a:lnTo>
                    <a:pt x="4" y="230"/>
                  </a:lnTo>
                  <a:lnTo>
                    <a:pt x="4" y="226"/>
                  </a:lnTo>
                  <a:lnTo>
                    <a:pt x="0" y="207"/>
                  </a:lnTo>
                  <a:lnTo>
                    <a:pt x="0" y="205"/>
                  </a:lnTo>
                  <a:lnTo>
                    <a:pt x="0" y="203"/>
                  </a:lnTo>
                  <a:lnTo>
                    <a:pt x="2" y="199"/>
                  </a:lnTo>
                  <a:lnTo>
                    <a:pt x="2" y="197"/>
                  </a:lnTo>
                  <a:lnTo>
                    <a:pt x="2" y="195"/>
                  </a:lnTo>
                  <a:lnTo>
                    <a:pt x="2" y="191"/>
                  </a:lnTo>
                  <a:lnTo>
                    <a:pt x="2" y="187"/>
                  </a:lnTo>
                  <a:lnTo>
                    <a:pt x="2" y="187"/>
                  </a:lnTo>
                  <a:lnTo>
                    <a:pt x="4" y="185"/>
                  </a:lnTo>
                  <a:lnTo>
                    <a:pt x="4" y="183"/>
                  </a:lnTo>
                  <a:lnTo>
                    <a:pt x="8" y="179"/>
                  </a:lnTo>
                  <a:lnTo>
                    <a:pt x="8" y="177"/>
                  </a:lnTo>
                  <a:lnTo>
                    <a:pt x="8" y="175"/>
                  </a:lnTo>
                  <a:lnTo>
                    <a:pt x="8" y="173"/>
                  </a:lnTo>
                  <a:lnTo>
                    <a:pt x="8" y="171"/>
                  </a:lnTo>
                  <a:lnTo>
                    <a:pt x="8" y="166"/>
                  </a:lnTo>
                  <a:lnTo>
                    <a:pt x="8" y="164"/>
                  </a:lnTo>
                  <a:lnTo>
                    <a:pt x="12" y="156"/>
                  </a:lnTo>
                  <a:lnTo>
                    <a:pt x="12" y="156"/>
                  </a:lnTo>
                  <a:lnTo>
                    <a:pt x="10" y="156"/>
                  </a:lnTo>
                  <a:lnTo>
                    <a:pt x="10" y="154"/>
                  </a:lnTo>
                  <a:lnTo>
                    <a:pt x="10" y="154"/>
                  </a:lnTo>
                  <a:lnTo>
                    <a:pt x="10" y="152"/>
                  </a:lnTo>
                  <a:lnTo>
                    <a:pt x="12" y="146"/>
                  </a:lnTo>
                  <a:lnTo>
                    <a:pt x="12" y="142"/>
                  </a:lnTo>
                  <a:lnTo>
                    <a:pt x="10" y="138"/>
                  </a:lnTo>
                  <a:lnTo>
                    <a:pt x="8" y="130"/>
                  </a:lnTo>
                  <a:lnTo>
                    <a:pt x="8" y="123"/>
                  </a:lnTo>
                  <a:lnTo>
                    <a:pt x="8" y="119"/>
                  </a:lnTo>
                  <a:lnTo>
                    <a:pt x="10" y="117"/>
                  </a:lnTo>
                  <a:lnTo>
                    <a:pt x="14" y="115"/>
                  </a:lnTo>
                  <a:lnTo>
                    <a:pt x="18" y="115"/>
                  </a:lnTo>
                  <a:lnTo>
                    <a:pt x="20" y="113"/>
                  </a:lnTo>
                  <a:lnTo>
                    <a:pt x="23" y="113"/>
                  </a:lnTo>
                  <a:lnTo>
                    <a:pt x="23" y="109"/>
                  </a:lnTo>
                  <a:lnTo>
                    <a:pt x="25" y="107"/>
                  </a:lnTo>
                  <a:lnTo>
                    <a:pt x="31" y="101"/>
                  </a:lnTo>
                  <a:lnTo>
                    <a:pt x="31" y="101"/>
                  </a:lnTo>
                  <a:lnTo>
                    <a:pt x="33" y="99"/>
                  </a:lnTo>
                  <a:lnTo>
                    <a:pt x="33" y="97"/>
                  </a:lnTo>
                  <a:lnTo>
                    <a:pt x="35" y="95"/>
                  </a:lnTo>
                  <a:lnTo>
                    <a:pt x="37" y="91"/>
                  </a:lnTo>
                  <a:lnTo>
                    <a:pt x="35" y="91"/>
                  </a:lnTo>
                  <a:lnTo>
                    <a:pt x="35" y="89"/>
                  </a:lnTo>
                  <a:lnTo>
                    <a:pt x="35" y="87"/>
                  </a:lnTo>
                  <a:lnTo>
                    <a:pt x="35" y="84"/>
                  </a:lnTo>
                  <a:lnTo>
                    <a:pt x="37" y="84"/>
                  </a:lnTo>
                  <a:lnTo>
                    <a:pt x="37" y="84"/>
                  </a:lnTo>
                  <a:lnTo>
                    <a:pt x="37" y="82"/>
                  </a:lnTo>
                  <a:lnTo>
                    <a:pt x="37" y="82"/>
                  </a:lnTo>
                  <a:lnTo>
                    <a:pt x="37" y="80"/>
                  </a:lnTo>
                  <a:lnTo>
                    <a:pt x="35" y="80"/>
                  </a:lnTo>
                  <a:lnTo>
                    <a:pt x="31" y="74"/>
                  </a:lnTo>
                  <a:lnTo>
                    <a:pt x="31" y="74"/>
                  </a:lnTo>
                  <a:lnTo>
                    <a:pt x="31" y="72"/>
                  </a:lnTo>
                  <a:lnTo>
                    <a:pt x="29" y="70"/>
                  </a:lnTo>
                  <a:lnTo>
                    <a:pt x="27" y="70"/>
                  </a:lnTo>
                  <a:lnTo>
                    <a:pt x="27" y="66"/>
                  </a:lnTo>
                  <a:lnTo>
                    <a:pt x="29" y="62"/>
                  </a:lnTo>
                  <a:lnTo>
                    <a:pt x="31" y="58"/>
                  </a:lnTo>
                  <a:lnTo>
                    <a:pt x="33" y="52"/>
                  </a:lnTo>
                  <a:lnTo>
                    <a:pt x="33" y="50"/>
                  </a:lnTo>
                  <a:lnTo>
                    <a:pt x="31" y="48"/>
                  </a:lnTo>
                  <a:lnTo>
                    <a:pt x="31" y="46"/>
                  </a:lnTo>
                  <a:lnTo>
                    <a:pt x="29" y="43"/>
                  </a:lnTo>
                  <a:lnTo>
                    <a:pt x="29" y="41"/>
                  </a:lnTo>
                  <a:lnTo>
                    <a:pt x="29" y="39"/>
                  </a:lnTo>
                  <a:lnTo>
                    <a:pt x="31" y="39"/>
                  </a:lnTo>
                  <a:lnTo>
                    <a:pt x="31" y="39"/>
                  </a:lnTo>
                  <a:lnTo>
                    <a:pt x="29" y="37"/>
                  </a:lnTo>
                  <a:lnTo>
                    <a:pt x="29" y="35"/>
                  </a:lnTo>
                  <a:lnTo>
                    <a:pt x="29" y="33"/>
                  </a:lnTo>
                  <a:lnTo>
                    <a:pt x="31" y="29"/>
                  </a:lnTo>
                  <a:lnTo>
                    <a:pt x="31" y="27"/>
                  </a:lnTo>
                  <a:lnTo>
                    <a:pt x="31" y="25"/>
                  </a:lnTo>
                  <a:lnTo>
                    <a:pt x="31" y="23"/>
                  </a:lnTo>
                  <a:lnTo>
                    <a:pt x="33" y="19"/>
                  </a:lnTo>
                  <a:lnTo>
                    <a:pt x="33" y="17"/>
                  </a:lnTo>
                  <a:lnTo>
                    <a:pt x="31" y="17"/>
                  </a:lnTo>
                  <a:lnTo>
                    <a:pt x="29" y="17"/>
                  </a:lnTo>
                  <a:lnTo>
                    <a:pt x="29" y="15"/>
                  </a:lnTo>
                  <a:lnTo>
                    <a:pt x="33" y="15"/>
                  </a:lnTo>
                  <a:lnTo>
                    <a:pt x="33" y="13"/>
                  </a:lnTo>
                  <a:lnTo>
                    <a:pt x="35" y="9"/>
                  </a:lnTo>
                  <a:lnTo>
                    <a:pt x="35" y="9"/>
                  </a:lnTo>
                  <a:lnTo>
                    <a:pt x="37" y="7"/>
                  </a:lnTo>
                  <a:lnTo>
                    <a:pt x="39" y="7"/>
                  </a:lnTo>
                  <a:lnTo>
                    <a:pt x="45" y="9"/>
                  </a:lnTo>
                  <a:lnTo>
                    <a:pt x="47" y="9"/>
                  </a:lnTo>
                  <a:lnTo>
                    <a:pt x="49" y="9"/>
                  </a:lnTo>
                  <a:lnTo>
                    <a:pt x="51" y="7"/>
                  </a:lnTo>
                  <a:lnTo>
                    <a:pt x="53" y="2"/>
                  </a:lnTo>
                  <a:lnTo>
                    <a:pt x="53" y="2"/>
                  </a:lnTo>
                  <a:lnTo>
                    <a:pt x="53" y="0"/>
                  </a:lnTo>
                  <a:lnTo>
                    <a:pt x="53" y="0"/>
                  </a:lnTo>
                  <a:lnTo>
                    <a:pt x="55" y="7"/>
                  </a:lnTo>
                  <a:lnTo>
                    <a:pt x="57" y="13"/>
                  </a:lnTo>
                  <a:lnTo>
                    <a:pt x="59" y="17"/>
                  </a:lnTo>
                  <a:lnTo>
                    <a:pt x="61" y="23"/>
                  </a:lnTo>
                  <a:lnTo>
                    <a:pt x="63" y="27"/>
                  </a:lnTo>
                  <a:lnTo>
                    <a:pt x="66" y="33"/>
                  </a:lnTo>
                  <a:lnTo>
                    <a:pt x="66" y="39"/>
                  </a:lnTo>
                  <a:lnTo>
                    <a:pt x="68" y="43"/>
                  </a:lnTo>
                  <a:lnTo>
                    <a:pt x="70" y="50"/>
                  </a:lnTo>
                  <a:lnTo>
                    <a:pt x="72" y="54"/>
                  </a:lnTo>
                  <a:lnTo>
                    <a:pt x="74" y="60"/>
                  </a:lnTo>
                  <a:lnTo>
                    <a:pt x="76" y="66"/>
                  </a:lnTo>
                  <a:lnTo>
                    <a:pt x="76" y="70"/>
                  </a:lnTo>
                  <a:lnTo>
                    <a:pt x="78" y="76"/>
                  </a:lnTo>
                  <a:lnTo>
                    <a:pt x="80" y="80"/>
                  </a:lnTo>
                  <a:lnTo>
                    <a:pt x="82" y="87"/>
                  </a:lnTo>
                  <a:lnTo>
                    <a:pt x="84" y="93"/>
                  </a:lnTo>
                  <a:lnTo>
                    <a:pt x="86" y="97"/>
                  </a:lnTo>
                  <a:lnTo>
                    <a:pt x="88" y="103"/>
                  </a:lnTo>
                  <a:lnTo>
                    <a:pt x="88" y="107"/>
                  </a:lnTo>
                  <a:lnTo>
                    <a:pt x="90" y="113"/>
                  </a:lnTo>
                  <a:lnTo>
                    <a:pt x="92" y="119"/>
                  </a:lnTo>
                  <a:lnTo>
                    <a:pt x="94" y="123"/>
                  </a:lnTo>
                  <a:lnTo>
                    <a:pt x="96" y="130"/>
                  </a:lnTo>
                  <a:lnTo>
                    <a:pt x="98" y="136"/>
                  </a:lnTo>
                  <a:lnTo>
                    <a:pt x="100" y="140"/>
                  </a:lnTo>
                  <a:lnTo>
                    <a:pt x="100" y="146"/>
                  </a:lnTo>
                  <a:lnTo>
                    <a:pt x="102" y="150"/>
                  </a:lnTo>
                  <a:lnTo>
                    <a:pt x="104" y="156"/>
                  </a:lnTo>
                  <a:lnTo>
                    <a:pt x="107" y="162"/>
                  </a:lnTo>
                  <a:lnTo>
                    <a:pt x="109" y="166"/>
                  </a:lnTo>
                  <a:lnTo>
                    <a:pt x="111" y="173"/>
                  </a:lnTo>
                  <a:lnTo>
                    <a:pt x="111" y="175"/>
                  </a:lnTo>
                  <a:lnTo>
                    <a:pt x="113" y="179"/>
                  </a:lnTo>
                  <a:lnTo>
                    <a:pt x="113" y="181"/>
                  </a:lnTo>
                  <a:lnTo>
                    <a:pt x="113" y="181"/>
                  </a:lnTo>
                  <a:lnTo>
                    <a:pt x="113" y="183"/>
                  </a:lnTo>
                  <a:lnTo>
                    <a:pt x="113" y="183"/>
                  </a:lnTo>
                  <a:lnTo>
                    <a:pt x="113" y="183"/>
                  </a:lnTo>
                  <a:lnTo>
                    <a:pt x="113" y="185"/>
                  </a:lnTo>
                  <a:lnTo>
                    <a:pt x="115" y="187"/>
                  </a:lnTo>
                  <a:lnTo>
                    <a:pt x="115" y="187"/>
                  </a:lnTo>
                  <a:lnTo>
                    <a:pt x="115" y="191"/>
                  </a:lnTo>
                  <a:lnTo>
                    <a:pt x="115" y="191"/>
                  </a:lnTo>
                  <a:lnTo>
                    <a:pt x="115" y="191"/>
                  </a:lnTo>
                  <a:lnTo>
                    <a:pt x="115" y="193"/>
                  </a:lnTo>
                  <a:lnTo>
                    <a:pt x="115" y="193"/>
                  </a:lnTo>
                  <a:lnTo>
                    <a:pt x="115" y="195"/>
                  </a:lnTo>
                  <a:lnTo>
                    <a:pt x="117" y="195"/>
                  </a:lnTo>
                  <a:lnTo>
                    <a:pt x="119" y="197"/>
                  </a:lnTo>
                  <a:lnTo>
                    <a:pt x="123" y="199"/>
                  </a:lnTo>
                  <a:lnTo>
                    <a:pt x="127" y="203"/>
                  </a:lnTo>
                  <a:lnTo>
                    <a:pt x="129" y="203"/>
                  </a:lnTo>
                  <a:lnTo>
                    <a:pt x="131" y="205"/>
                  </a:lnTo>
                  <a:lnTo>
                    <a:pt x="131" y="205"/>
                  </a:lnTo>
                  <a:lnTo>
                    <a:pt x="131" y="207"/>
                  </a:lnTo>
                  <a:lnTo>
                    <a:pt x="131" y="207"/>
                  </a:lnTo>
                  <a:lnTo>
                    <a:pt x="131" y="207"/>
                  </a:lnTo>
                  <a:lnTo>
                    <a:pt x="131" y="212"/>
                  </a:lnTo>
                  <a:lnTo>
                    <a:pt x="133" y="214"/>
                  </a:lnTo>
                  <a:lnTo>
                    <a:pt x="133" y="214"/>
                  </a:lnTo>
                  <a:lnTo>
                    <a:pt x="135" y="216"/>
                  </a:lnTo>
                  <a:lnTo>
                    <a:pt x="137" y="218"/>
                  </a:lnTo>
                  <a:lnTo>
                    <a:pt x="141" y="220"/>
                  </a:lnTo>
                  <a:lnTo>
                    <a:pt x="141" y="220"/>
                  </a:lnTo>
                  <a:close/>
                </a:path>
              </a:pathLst>
            </a:custGeom>
            <a:solidFill>
              <a:schemeClr val="bg1">
                <a:lumMod val="75000"/>
              </a:schemeClr>
            </a:solidFill>
            <a:ln w="3175" cap="rnd">
              <a:solidFill>
                <a:schemeClr val="bg1"/>
              </a:solidFill>
              <a:prstDash val="solid"/>
              <a:round/>
              <a:headEnd/>
              <a:tailEnd/>
            </a:ln>
          </p:spPr>
          <p:txBody>
            <a:bodyPr vert="horz" wrap="square" lIns="0" tIns="0" rIns="0" bIns="96000" numCol="1" anchor="b"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NH</a:t>
              </a:r>
            </a:p>
          </p:txBody>
        </p:sp>
      </p:grpSp>
      <p:sp>
        <p:nvSpPr>
          <p:cNvPr id="116" name="TextBox 115">
            <a:extLst>
              <a:ext uri="{FF2B5EF4-FFF2-40B4-BE49-F238E27FC236}">
                <a16:creationId xmlns:a16="http://schemas.microsoft.com/office/drawing/2014/main" id="{198D4A08-CC5E-47EF-CB62-9C89B1D9308A}"/>
              </a:ext>
            </a:extLst>
          </p:cNvPr>
          <p:cNvSpPr txBox="1"/>
          <p:nvPr/>
        </p:nvSpPr>
        <p:spPr>
          <a:xfrm>
            <a:off x="1131876" y="3012244"/>
            <a:ext cx="1662422" cy="268207"/>
          </a:xfrm>
          <a:prstGeom prst="roundRect">
            <a:avLst>
              <a:gd name="adj" fmla="val 50000"/>
            </a:avLst>
          </a:prstGeom>
          <a:solidFill>
            <a:schemeClr val="tx1"/>
          </a:solidFill>
        </p:spPr>
        <p:txBody>
          <a:bodyPr wrap="square" lIns="96000" tIns="0" rIns="0" bIns="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200" b="1" noProof="0" dirty="0">
                <a:solidFill>
                  <a:srgbClr val="FFFFFF"/>
                </a:solidFill>
                <a:latin typeface="Arial" panose="020B0604020202020204" pitchFamily="34" charset="0"/>
              </a:rPr>
              <a:t>25</a:t>
            </a: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29.9%</a:t>
            </a:r>
          </a:p>
        </p:txBody>
      </p:sp>
      <p:sp>
        <p:nvSpPr>
          <p:cNvPr id="117" name="TextBox 116">
            <a:extLst>
              <a:ext uri="{FF2B5EF4-FFF2-40B4-BE49-F238E27FC236}">
                <a16:creationId xmlns:a16="http://schemas.microsoft.com/office/drawing/2014/main" id="{61024D9D-B7B2-C95E-5F57-B2F71A16BB2A}"/>
              </a:ext>
            </a:extLst>
          </p:cNvPr>
          <p:cNvSpPr txBox="1"/>
          <p:nvPr/>
        </p:nvSpPr>
        <p:spPr>
          <a:xfrm>
            <a:off x="1131876" y="2119929"/>
            <a:ext cx="1662422" cy="268207"/>
          </a:xfrm>
          <a:prstGeom prst="roundRect">
            <a:avLst>
              <a:gd name="adj" fmla="val 50000"/>
            </a:avLst>
          </a:prstGeom>
          <a:solidFill>
            <a:schemeClr val="bg1">
              <a:lumMod val="75000"/>
            </a:schemeClr>
          </a:solidFill>
        </p:spPr>
        <p:txBody>
          <a:bodyPr wrap="square" lIns="96000" tIns="0" rIns="0" bIns="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10–14.9%</a:t>
            </a:r>
          </a:p>
        </p:txBody>
      </p:sp>
      <p:sp>
        <p:nvSpPr>
          <p:cNvPr id="118" name="TextBox 117">
            <a:extLst>
              <a:ext uri="{FF2B5EF4-FFF2-40B4-BE49-F238E27FC236}">
                <a16:creationId xmlns:a16="http://schemas.microsoft.com/office/drawing/2014/main" id="{37741CE5-BA45-AC89-7AA5-0D53D014240D}"/>
              </a:ext>
            </a:extLst>
          </p:cNvPr>
          <p:cNvSpPr txBox="1"/>
          <p:nvPr/>
        </p:nvSpPr>
        <p:spPr>
          <a:xfrm>
            <a:off x="1131876" y="2420936"/>
            <a:ext cx="1662422" cy="268207"/>
          </a:xfrm>
          <a:prstGeom prst="roundRect">
            <a:avLst>
              <a:gd name="adj" fmla="val 50000"/>
            </a:avLst>
          </a:prstGeom>
          <a:solidFill>
            <a:schemeClr val="accent1">
              <a:lumMod val="60000"/>
              <a:lumOff val="40000"/>
            </a:schemeClr>
          </a:solidFill>
        </p:spPr>
        <p:txBody>
          <a:bodyPr wrap="square" lIns="96000" tIns="0" rIns="0" bIns="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15–19.9%</a:t>
            </a:r>
          </a:p>
        </p:txBody>
      </p:sp>
      <p:sp>
        <p:nvSpPr>
          <p:cNvPr id="119" name="TextBox 118">
            <a:extLst>
              <a:ext uri="{FF2B5EF4-FFF2-40B4-BE49-F238E27FC236}">
                <a16:creationId xmlns:a16="http://schemas.microsoft.com/office/drawing/2014/main" id="{B47EE141-8C75-BA9A-B0BB-3B8EB972C6D8}"/>
              </a:ext>
            </a:extLst>
          </p:cNvPr>
          <p:cNvSpPr txBox="1"/>
          <p:nvPr/>
        </p:nvSpPr>
        <p:spPr>
          <a:xfrm>
            <a:off x="1131876" y="2721943"/>
            <a:ext cx="1662422" cy="268207"/>
          </a:xfrm>
          <a:prstGeom prst="roundRect">
            <a:avLst>
              <a:gd name="adj" fmla="val 50000"/>
            </a:avLst>
          </a:prstGeom>
          <a:solidFill>
            <a:schemeClr val="accent1"/>
          </a:solidFill>
        </p:spPr>
        <p:txBody>
          <a:bodyPr wrap="square" lIns="96000" tIns="0" rIns="0" bIns="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20–24.9%</a:t>
            </a:r>
          </a:p>
        </p:txBody>
      </p:sp>
      <p:sp>
        <p:nvSpPr>
          <p:cNvPr id="13" name="Rounded Rectangle 39">
            <a:extLst>
              <a:ext uri="{FF2B5EF4-FFF2-40B4-BE49-F238E27FC236}">
                <a16:creationId xmlns:a16="http://schemas.microsoft.com/office/drawing/2014/main" id="{B5A5A999-BECC-0028-46A9-A59A1D6CCCDF}"/>
              </a:ext>
            </a:extLst>
          </p:cNvPr>
          <p:cNvSpPr/>
          <p:nvPr/>
        </p:nvSpPr>
        <p:spPr bwMode="gray">
          <a:xfrm>
            <a:off x="2873071" y="5454748"/>
            <a:ext cx="6472118" cy="591210"/>
          </a:xfrm>
          <a:prstGeom prst="roundRect">
            <a:avLst>
              <a:gd name="adj" fmla="val 50000"/>
            </a:avLst>
          </a:prstGeom>
          <a:solidFill>
            <a:schemeClr val="accent1"/>
          </a:solidFill>
          <a:ln w="3175" algn="ctr">
            <a:noFill/>
            <a:miter lim="800000"/>
            <a:headEnd/>
            <a:tailEnd/>
          </a:ln>
        </p:spPr>
        <p:txBody>
          <a:bodyPr wrap="square" lIns="0" tIns="0" rIns="0" bIns="0" rtlCol="0" anchor="ctr"/>
          <a:lstStyle/>
          <a:p>
            <a:pPr algn="ctr"/>
            <a:r>
              <a:rPr lang="en-US" sz="1600" noProof="0" dirty="0">
                <a:solidFill>
                  <a:schemeClr val="bg1"/>
                </a:solidFill>
              </a:rPr>
              <a:t>If obesity trends hold, </a:t>
            </a:r>
            <a:r>
              <a:rPr lang="en-US" sz="1600" b="1" noProof="0" dirty="0">
                <a:solidFill>
                  <a:schemeClr val="bg1"/>
                </a:solidFill>
              </a:rPr>
              <a:t>57%</a:t>
            </a:r>
            <a:r>
              <a:rPr lang="en-US" sz="1600" noProof="0" dirty="0">
                <a:solidFill>
                  <a:schemeClr val="bg1"/>
                </a:solidFill>
              </a:rPr>
              <a:t> of children aged 2–19 years will have </a:t>
            </a:r>
            <a:br>
              <a:rPr lang="en-US" sz="1600" noProof="0" dirty="0">
                <a:solidFill>
                  <a:schemeClr val="bg1"/>
                </a:solidFill>
              </a:rPr>
            </a:br>
            <a:r>
              <a:rPr lang="en-US" sz="1600" noProof="0" dirty="0">
                <a:solidFill>
                  <a:schemeClr val="bg1"/>
                </a:solidFill>
              </a:rPr>
              <a:t>obesity by the time they are 35 years of age, in 2050</a:t>
            </a:r>
            <a:r>
              <a:rPr lang="en-US" sz="1600" baseline="30000" noProof="0" dirty="0">
                <a:solidFill>
                  <a:schemeClr val="bg1"/>
                </a:solidFill>
              </a:rPr>
              <a:t>2</a:t>
            </a:r>
          </a:p>
        </p:txBody>
      </p:sp>
    </p:spTree>
    <p:extLst>
      <p:ext uri="{BB962C8B-B14F-4D97-AF65-F5344CB8AC3E}">
        <p14:creationId xmlns:p14="http://schemas.microsoft.com/office/powerpoint/2010/main" val="3794397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Divider1&quot;:{&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240.0,&quot;Top&quot;:216.0,&quot;Width&quot;:700.0,&quot;Height&quot;:108.0,&quot;Rotation&quot;:-1.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1965&quot;,&quot;TextFrameTextRangeFontBold&quot;:0,&quot;TextFrameTextRangeFontItalic&quot;:0,&quot;TextFrameTextRangeFontUnderline&quot;:0,&quot;TextFrameVerticalAnchor&quot;:1,&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115.2,&quot;Top&quot;:216.0,&quot;Width&quot;:81.0,&quot;Height&quot;:81.0,&quot;Rotation&quot;:-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tru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240.0,&quot;Top&quot;:331.0,&quot;Width&quot;:700.0,&quot;Height&quot;:0.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quot;TableOfContent4&quot;:{&quot;MarginLeft&quot;:76.8,&quot;MarginRight&quot;:76.8,&quot;MarginTop&quot;:86.4,&quot;MarginBottom&quot;:21.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CalloutType&quot;:1,&quot;CalloutAngle&quot;:2,&quot;CalloutGap&quot;:-3.40282347E+38,&quot;Visible&quot;:-1,&quot;LockAspectRatio&quot;:0,&quot;CanUpdateAdjustments&quot;:fals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1_FORWARD Master Template">
  <a:themeElements>
    <a:clrScheme name="Custom 6">
      <a:dk1>
        <a:srgbClr val="001965"/>
      </a:dk1>
      <a:lt1>
        <a:srgbClr val="FFFFFF"/>
      </a:lt1>
      <a:dk2>
        <a:srgbClr val="001965"/>
      </a:dk2>
      <a:lt2>
        <a:srgbClr val="BEC0D0"/>
      </a:lt2>
      <a:accent1>
        <a:srgbClr val="2A918B"/>
      </a:accent1>
      <a:accent2>
        <a:srgbClr val="939AA7"/>
      </a:accent2>
      <a:accent3>
        <a:srgbClr val="3B97DE"/>
      </a:accent3>
      <a:accent4>
        <a:srgbClr val="005AD2"/>
      </a:accent4>
      <a:accent5>
        <a:srgbClr val="CCC5BD"/>
      </a:accent5>
      <a:accent6>
        <a:srgbClr val="EEA7BF"/>
      </a:accent6>
      <a:hlink>
        <a:srgbClr val="001965"/>
      </a:hlink>
      <a:folHlink>
        <a:srgbClr val="0019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AD8D124E0800B41AC6992D4AE29DBB9" ma:contentTypeVersion="7" ma:contentTypeDescription="Create a new document." ma:contentTypeScope="" ma:versionID="5d1d173a3691fe61260de076dd751b80">
  <xsd:schema xmlns:xsd="http://www.w3.org/2001/XMLSchema" xmlns:xs="http://www.w3.org/2001/XMLSchema" xmlns:p="http://schemas.microsoft.com/office/2006/metadata/properties" xmlns:ns2="3d6b1136-a40e-46b2-9d95-1587dba324ed" targetNamespace="http://schemas.microsoft.com/office/2006/metadata/properties" ma:root="true" ma:fieldsID="89cc7d38506f89590cf77008d27c2bf6" ns2:_="">
    <xsd:import namespace="3d6b1136-a40e-46b2-9d95-1587dba324e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6b1136-a40e-46b2-9d95-1587dba324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9786B1F-88E1-45A0-82F9-20D7FD34F087}">
  <ds:schemaRefs>
    <ds:schemaRef ds:uri="1ff868c5-2c61-4494-a6ef-a5fad2181b1a"/>
    <ds:schemaRef ds:uri="40bcddbf-5152-4ba4-91ea-bc5d864a028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C469AA4-81C2-44F1-9371-A6B9F8576E80}"/>
</file>

<file path=customXml/itemProps3.xml><?xml version="1.0" encoding="utf-8"?>
<ds:datastoreItem xmlns:ds="http://schemas.openxmlformats.org/officeDocument/2006/customXml" ds:itemID="{9BA78137-979B-4722-9C51-24558B5218AB}">
  <ds:schemaRefs>
    <ds:schemaRef ds:uri="http://schemas.microsoft.com/sharepoint/v3/contenttype/forms"/>
  </ds:schemaRefs>
</ds:datastoreItem>
</file>

<file path=docMetadata/LabelInfo.xml><?xml version="1.0" encoding="utf-8"?>
<clbl:labelList xmlns:clbl="http://schemas.microsoft.com/office/2020/mipLabelMetadata">
  <clbl:label id="{f743b317-4758-44cb-8b65-8b43e4619766}" enabled="1" method="Standard" siteId="{fdfed7bd-9f6a-44a1-b694-6e39c468c150}" removed="0"/>
</clbl:labelList>
</file>

<file path=docProps/app.xml><?xml version="1.0" encoding="utf-8"?>
<Properties xmlns="http://schemas.openxmlformats.org/officeDocument/2006/extended-properties" xmlns:vt="http://schemas.openxmlformats.org/officeDocument/2006/docPropsVTypes">
  <Template/>
  <TotalTime>1094</TotalTime>
  <Words>4494</Words>
  <Application>Microsoft Office PowerPoint</Application>
  <PresentationFormat>Widescreen</PresentationFormat>
  <Paragraphs>340</Paragraphs>
  <Slides>24</Slides>
  <Notes>2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pis For Office</vt:lpstr>
      <vt:lpstr>Arial</vt:lpstr>
      <vt:lpstr>Arial</vt:lpstr>
      <vt:lpstr>Arial Nova Light</vt:lpstr>
      <vt:lpstr>Calibri</vt:lpstr>
      <vt:lpstr>Verdana</vt:lpstr>
      <vt:lpstr>1_FORWARD Master Template</vt:lpstr>
      <vt:lpstr>Acrobat Document</vt:lpstr>
      <vt:lpstr>PowerPoint Presentation</vt:lpstr>
      <vt:lpstr>PowerPoint Presentation</vt:lpstr>
      <vt:lpstr>Learning  outcomes</vt:lpstr>
      <vt:lpstr>Childhood obesity is a disease and an ongoing health issue</vt:lpstr>
      <vt:lpstr>Overweight and obesity are defined by BMI percentiles,  not BMI as used with adults</vt:lpstr>
      <vt:lpstr>Overweight and obesity defined by BMI z-scores</vt:lpstr>
      <vt:lpstr>BMI z-scores and BMI percentiles</vt:lpstr>
      <vt:lpstr>Prevalence of overweight and obesity in US</vt:lpstr>
      <vt:lpstr>Obesity prevalence rates in US by state in 2022–20231</vt:lpstr>
      <vt:lpstr>Risk factors for pediatric obesity are complex  and multifactorial</vt:lpstr>
      <vt:lpstr>Genetic factors</vt:lpstr>
      <vt:lpstr>External causes</vt:lpstr>
      <vt:lpstr>Endocrine factors</vt:lpstr>
      <vt:lpstr>Obesity treatment options for children</vt:lpstr>
      <vt:lpstr>Multicomponent lifestyle and dietary interventions  in children aged 2 years and older with obesity1–3</vt:lpstr>
      <vt:lpstr>Dietary recommendations</vt:lpstr>
      <vt:lpstr>Physical activity recommendations</vt:lpstr>
      <vt:lpstr>Family-centered interventions</vt:lpstr>
      <vt:lpstr>Other guideline recommendations</vt:lpstr>
      <vt:lpstr>Recommendations for pharmacotherapy  in children with obesity</vt:lpstr>
      <vt:lpstr>Recommendations for bariatric surgery in children</vt:lpstr>
      <vt:lpstr>Communicating with caregivers</vt:lpstr>
      <vt:lpstr>Key  takeaways</vt:lpstr>
      <vt:lpstr>Assess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esity</dc:title>
  <dc:creator>Robin Edwards</dc:creator>
  <cp:lastModifiedBy>Melissa Lohmann</cp:lastModifiedBy>
  <cp:revision>69</cp:revision>
  <dcterms:created xsi:type="dcterms:W3CDTF">2022-03-01T17:08:55Z</dcterms:created>
  <dcterms:modified xsi:type="dcterms:W3CDTF">2025-11-25T21:4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D8D124E0800B41AC6992D4AE29DBB9</vt:lpwstr>
  </property>
  <property fmtid="{D5CDD505-2E9C-101B-9397-08002B2CF9AE}" pid="3" name="MediaServiceImageTags">
    <vt:lpwstr/>
  </property>
</Properties>
</file>